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media/image8.jpg" ContentType="image/jpg"/>
  <Override PartName="/ppt/media/image9.jpg" ContentType="image/jpg"/>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 id="2147483674" r:id="rId5"/>
  </p:sldMasterIdLst>
  <p:notesMasterIdLst>
    <p:notesMasterId r:id="rId31"/>
  </p:notesMasterIdLst>
  <p:sldIdLst>
    <p:sldId id="256" r:id="rId6"/>
    <p:sldId id="305" r:id="rId7"/>
    <p:sldId id="361" r:id="rId8"/>
    <p:sldId id="372" r:id="rId9"/>
    <p:sldId id="347" r:id="rId10"/>
    <p:sldId id="2146849870" r:id="rId11"/>
    <p:sldId id="348" r:id="rId12"/>
    <p:sldId id="2146849871" r:id="rId13"/>
    <p:sldId id="2146849872" r:id="rId14"/>
    <p:sldId id="2146849873" r:id="rId15"/>
    <p:sldId id="2146849874" r:id="rId16"/>
    <p:sldId id="2146849875" r:id="rId17"/>
    <p:sldId id="2146849876" r:id="rId18"/>
    <p:sldId id="2146849877" r:id="rId19"/>
    <p:sldId id="2146849878" r:id="rId20"/>
    <p:sldId id="2146849879" r:id="rId21"/>
    <p:sldId id="2146849887" r:id="rId22"/>
    <p:sldId id="2146849880" r:id="rId23"/>
    <p:sldId id="2146849883" r:id="rId24"/>
    <p:sldId id="2146849881" r:id="rId25"/>
    <p:sldId id="2146849886" r:id="rId26"/>
    <p:sldId id="2146849882" r:id="rId27"/>
    <p:sldId id="2146849884" r:id="rId28"/>
    <p:sldId id="2146849885" r:id="rId29"/>
    <p:sldId id="269" r:id="rId30"/>
  </p:sldIdLst>
  <p:sldSz cx="12192000" cy="6858000"/>
  <p:notesSz cx="12192000" cy="6858000"/>
  <p:embeddedFontLst>
    <p:embeddedFont>
      <p:font typeface="Cambria" panose="02040503050406030204" pitchFamily="18" charset="0"/>
      <p:regular r:id="rId32"/>
      <p:bold r:id="rId33"/>
      <p:italic r:id="rId34"/>
      <p:boldItalic r:id="rId35"/>
    </p:embeddedFont>
    <p:embeddedFont>
      <p:font typeface="Hepta Slab SemiBold" panose="020B0604020202020204" charset="-18"/>
      <p:regular r:id="rId36"/>
      <p:bold r:id="rId37"/>
    </p:embeddedFont>
    <p:embeddedFont>
      <p:font typeface="Montserrat" panose="00000500000000000000" pitchFamily="2" charset="-18"/>
      <p:regular r:id="rId38"/>
      <p:bold r:id="rId39"/>
      <p:italic r:id="rId40"/>
      <p:boldItalic r:id="rId41"/>
    </p:embeddedFont>
    <p:embeddedFont>
      <p:font typeface="Muli Medium" panose="020B0604020202020204" charset="-18"/>
      <p:regular r:id="rId42"/>
      <p:bold r:id="rId43"/>
      <p:italic r:id="rId44"/>
      <p:boldItalic r:id="rId45"/>
    </p:embeddedFont>
    <p:embeddedFont>
      <p:font typeface="Open Sans" panose="020B0606030504020204" pitchFamily="34" charset="0"/>
      <p:regular r:id="rId46"/>
      <p:bold r:id="rId47"/>
      <p:italic r:id="rId48"/>
      <p:boldItalic r:id="rId49"/>
    </p:embeddedFont>
    <p:embeddedFont>
      <p:font typeface="Verdana" panose="020B0604030504040204" pitchFamily="34" charset="0"/>
      <p:regular r:id="rId50"/>
      <p:bold r:id="rId51"/>
      <p:italic r:id="rId52"/>
      <p:boldItalic r:id="rId53"/>
    </p:embeddedFont>
  </p:embeddedFontLst>
  <p:defaultTextStyle>
    <a:defPPr>
      <a:defRPr lang="en-US"/>
    </a:defPPr>
    <a:lvl1pPr lvl="0" algn="l" rtl="0">
      <a:defRPr lang="en-US" sz="1800" dirty="0">
        <a:solidFill>
          <a:schemeClr val="tx1"/>
        </a:solidFill>
        <a:latin typeface="+mn-lt"/>
      </a:defRPr>
    </a:lvl1pPr>
    <a:lvl2pPr marL="457200" lvl="1" algn="l" rtl="0">
      <a:defRPr lang="en-US" sz="1800" dirty="0">
        <a:solidFill>
          <a:schemeClr val="tx1"/>
        </a:solidFill>
        <a:latin typeface="+mn-lt"/>
      </a:defRPr>
    </a:lvl2pPr>
    <a:lvl3pPr marL="914400" lvl="2" algn="l" rtl="0">
      <a:defRPr lang="en-US" sz="1800" dirty="0">
        <a:solidFill>
          <a:schemeClr val="tx1"/>
        </a:solidFill>
        <a:latin typeface="+mn-lt"/>
      </a:defRPr>
    </a:lvl3pPr>
    <a:lvl4pPr marL="1371600" lvl="3" algn="l" rtl="0">
      <a:defRPr lang="en-US" sz="1800" dirty="0">
        <a:solidFill>
          <a:schemeClr val="tx1"/>
        </a:solidFill>
        <a:latin typeface="+mn-lt"/>
      </a:defRPr>
    </a:lvl4pPr>
    <a:lvl5pPr marL="1828800" lvl="4" algn="l" rtl="0">
      <a:defRPr lang="en-US" sz="1800" dirty="0">
        <a:solidFill>
          <a:schemeClr val="tx1"/>
        </a:solidFill>
        <a:latin typeface="+mn-lt"/>
      </a:defRPr>
    </a:lvl5pPr>
    <a:lvl6pPr marL="2286000" lvl="5" algn="l" rtl="0">
      <a:defRPr lang="en-US" sz="1800" dirty="0">
        <a:solidFill>
          <a:schemeClr val="tx1"/>
        </a:solidFill>
        <a:latin typeface="+mn-lt"/>
      </a:defRPr>
    </a:lvl6pPr>
    <a:lvl7pPr marL="2743200" lvl="6" algn="l" rtl="0">
      <a:defRPr lang="en-US" sz="1800" dirty="0">
        <a:solidFill>
          <a:schemeClr val="tx1"/>
        </a:solidFill>
        <a:latin typeface="+mn-lt"/>
      </a:defRPr>
    </a:lvl7pPr>
    <a:lvl8pPr marL="3200400" lvl="7" algn="l" rtl="0">
      <a:defRPr lang="en-US" sz="1800" dirty="0">
        <a:solidFill>
          <a:schemeClr val="tx1"/>
        </a:solidFill>
        <a:latin typeface="+mn-lt"/>
      </a:defRPr>
    </a:lvl8pPr>
    <a:lvl9pPr marL="3657600" lvl="8" algn="l" rtl="0">
      <a:defRPr lang="en-US" sz="1800" dirty="0">
        <a:solidFill>
          <a:schemeClr val="tx1"/>
        </a:solidFill>
        <a:latin typeface="+mn-lt"/>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E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 pośredni 2 — Ak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Styl pośredni 3 — Ak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Styl pośredni 3 — Ak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18603FDC-E32A-4AB5-989C-0864C3EAD2B8}" styleName="Styl z motywem 2 — Ak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73A0DAA-6AF3-43AB-8588-CEC1D06C72B9}" styleName="Styl pośredni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Bez stylu, siatka tabeli">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Bez stylu, bez siatki">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Styl jasny 1 — Ak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54"/>
    <p:restoredTop sz="94860"/>
  </p:normalViewPr>
  <p:slideViewPr>
    <p:cSldViewPr>
      <p:cViewPr varScale="1">
        <p:scale>
          <a:sx n="80" d="100"/>
          <a:sy n="80" d="100"/>
        </p:scale>
        <p:origin x="859" y="67"/>
      </p:cViewPr>
      <p:guideLst>
        <p:guide orient="horz" pos="2160"/>
        <p:guide pos="2880"/>
      </p:guideLst>
    </p:cSldViewPr>
  </p:slid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8.fntdata"/><Relationship Id="rId21" Type="http://schemas.openxmlformats.org/officeDocument/2006/relationships/slide" Target="slides/slide16.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font" Target="fonts/font16.fntdata"/><Relationship Id="rId50" Type="http://schemas.openxmlformats.org/officeDocument/2006/relationships/font" Target="fonts/font19.fntdata"/><Relationship Id="rId55"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font" Target="fonts/font15.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10.fntdata"/><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font" Target="fonts/font14.fntdata"/><Relationship Id="rId53" Type="http://schemas.openxmlformats.org/officeDocument/2006/relationships/font" Target="fonts/font22.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5.fntdata"/><Relationship Id="rId49" Type="http://schemas.openxmlformats.org/officeDocument/2006/relationships/font" Target="fonts/font18.fntdata"/><Relationship Id="rId57"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4" Type="http://schemas.openxmlformats.org/officeDocument/2006/relationships/font" Target="fonts/font13.fntdata"/><Relationship Id="rId52" Type="http://schemas.openxmlformats.org/officeDocument/2006/relationships/font" Target="fonts/font21.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font" Target="fonts/font17.fntdata"/><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font" Target="fonts/font20.fntdata"/><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78010414323209587"/>
          <c:y val="0.2898550724637681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accent1"/>
              </a:solidFill>
              <a:latin typeface="+mj-lt"/>
              <a:ea typeface="+mn-ea"/>
              <a:cs typeface="+mn-cs"/>
            </a:defRPr>
          </a:pPr>
          <a:endParaRPr lang="pl-PL"/>
        </a:p>
      </c:txPr>
    </c:title>
    <c:autoTitleDeleted val="0"/>
    <c:plotArea>
      <c:layout/>
      <c:pieChart>
        <c:varyColors val="1"/>
        <c:ser>
          <c:idx val="0"/>
          <c:order val="0"/>
          <c:tx>
            <c:strRef>
              <c:f>Arkusz1!$B$1</c:f>
              <c:strCache>
                <c:ptCount val="1"/>
                <c:pt idx="0">
                  <c:v>Sprzedaż</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178-49A1-8BBA-C0D32D166B2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178-49A1-8BBA-C0D32D166B2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178-49A1-8BBA-C0D32D166B2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178-49A1-8BBA-C0D32D166B24}"/>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B178-49A1-8BBA-C0D32D166B24}"/>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B178-49A1-8BBA-C0D32D166B24}"/>
              </c:ext>
            </c:extLst>
          </c:dPt>
          <c:cat>
            <c:strRef>
              <c:f>Arkusz1!$A$2:$A$7</c:f>
              <c:strCache>
                <c:ptCount val="6"/>
                <c:pt idx="0">
                  <c:v>1. kwartał</c:v>
                </c:pt>
                <c:pt idx="1">
                  <c:v>2. kwartał</c:v>
                </c:pt>
                <c:pt idx="2">
                  <c:v>3. kwartał</c:v>
                </c:pt>
                <c:pt idx="3">
                  <c:v>4. kwartał</c:v>
                </c:pt>
                <c:pt idx="4">
                  <c:v>5. kwartał</c:v>
                </c:pt>
                <c:pt idx="5">
                  <c:v>6. kwartał</c:v>
                </c:pt>
              </c:strCache>
            </c:strRef>
          </c:cat>
          <c:val>
            <c:numRef>
              <c:f>Arkusz1!$B$2:$B$7</c:f>
              <c:numCache>
                <c:formatCode>General</c:formatCode>
                <c:ptCount val="6"/>
                <c:pt idx="0">
                  <c:v>8.1999999999999993</c:v>
                </c:pt>
                <c:pt idx="1">
                  <c:v>3.2</c:v>
                </c:pt>
                <c:pt idx="2">
                  <c:v>1.4</c:v>
                </c:pt>
                <c:pt idx="3">
                  <c:v>1.2</c:v>
                </c:pt>
                <c:pt idx="4">
                  <c:v>1</c:v>
                </c:pt>
                <c:pt idx="5">
                  <c:v>1.1000000000000001</c:v>
                </c:pt>
              </c:numCache>
            </c:numRef>
          </c:val>
          <c:extLst>
            <c:ext xmlns:c16="http://schemas.microsoft.com/office/drawing/2014/chart" uri="{C3380CC4-5D6E-409C-BE32-E72D297353CC}">
              <c16:uniqueId val="{00000000-51E0-49E8-A4CA-E3DFE493F52F}"/>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77791535433070869"/>
          <c:y val="0.39050173076191563"/>
          <c:w val="9.2322740907386583E-2"/>
          <c:h val="0.3760013693940431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l-P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nchor="ctr" anchorCtr="0"/>
    <a:lstStyle/>
    <a:p>
      <a:pPr>
        <a:defRPr/>
      </a:pPr>
      <a:endParaRPr lang="pl-P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accent1"/>
              </a:solidFill>
              <a:latin typeface="+mj-lt"/>
              <a:ea typeface="+mn-ea"/>
              <a:cs typeface="+mn-cs"/>
            </a:defRPr>
          </a:pPr>
          <a:endParaRPr lang="pl-PL"/>
        </a:p>
      </c:txPr>
    </c:title>
    <c:autoTitleDeleted val="0"/>
    <c:plotArea>
      <c:layout/>
      <c:barChart>
        <c:barDir val="col"/>
        <c:grouping val="clustered"/>
        <c:varyColors val="0"/>
        <c:ser>
          <c:idx val="0"/>
          <c:order val="0"/>
          <c:tx>
            <c:strRef>
              <c:f>Arkusz1!$B$1</c:f>
              <c:strCache>
                <c:ptCount val="1"/>
                <c:pt idx="0">
                  <c:v>Sprzedaż</c:v>
                </c:pt>
              </c:strCache>
            </c:strRef>
          </c:tx>
          <c:spPr>
            <a:solidFill>
              <a:schemeClr val="accent1"/>
            </a:solidFill>
            <a:ln w="19050">
              <a:solidFill>
                <a:schemeClr val="lt1"/>
              </a:solidFill>
            </a:ln>
            <a:effectLst/>
          </c:spPr>
          <c:invertIfNegative val="0"/>
          <c:dPt>
            <c:idx val="0"/>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1-3B06-4E1D-99C3-A8761ABB5FFD}"/>
              </c:ext>
            </c:extLst>
          </c:dPt>
          <c:dPt>
            <c:idx val="1"/>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3-3B06-4E1D-99C3-A8761ABB5FFD}"/>
              </c:ext>
            </c:extLst>
          </c:dPt>
          <c:dPt>
            <c:idx val="2"/>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5-3B06-4E1D-99C3-A8761ABB5FFD}"/>
              </c:ext>
            </c:extLst>
          </c:dPt>
          <c:dPt>
            <c:idx val="3"/>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7-3B06-4E1D-99C3-A8761ABB5FFD}"/>
              </c:ext>
            </c:extLst>
          </c:dPt>
          <c:dPt>
            <c:idx val="4"/>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9-3B06-4E1D-99C3-A8761ABB5FFD}"/>
              </c:ext>
            </c:extLst>
          </c:dPt>
          <c:dPt>
            <c:idx val="5"/>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B-3B06-4E1D-99C3-A8761ABB5FFD}"/>
              </c:ext>
            </c:extLst>
          </c:dPt>
          <c:cat>
            <c:strRef>
              <c:f>Arkusz1!$A$2:$A$7</c:f>
              <c:strCache>
                <c:ptCount val="6"/>
                <c:pt idx="0">
                  <c:v>1. kwartał</c:v>
                </c:pt>
                <c:pt idx="1">
                  <c:v>2. kwartał</c:v>
                </c:pt>
                <c:pt idx="2">
                  <c:v>3. kwartał</c:v>
                </c:pt>
                <c:pt idx="3">
                  <c:v>4. kwartał</c:v>
                </c:pt>
                <c:pt idx="4">
                  <c:v>5. kwartał</c:v>
                </c:pt>
                <c:pt idx="5">
                  <c:v>6. kwartał</c:v>
                </c:pt>
              </c:strCache>
            </c:strRef>
          </c:cat>
          <c:val>
            <c:numRef>
              <c:f>Arkusz1!$B$2:$B$7</c:f>
              <c:numCache>
                <c:formatCode>General</c:formatCode>
                <c:ptCount val="6"/>
                <c:pt idx="0">
                  <c:v>8.1999999999999993</c:v>
                </c:pt>
                <c:pt idx="1">
                  <c:v>3.2</c:v>
                </c:pt>
                <c:pt idx="2">
                  <c:v>1.4</c:v>
                </c:pt>
                <c:pt idx="3">
                  <c:v>1.2</c:v>
                </c:pt>
                <c:pt idx="4">
                  <c:v>1</c:v>
                </c:pt>
                <c:pt idx="5">
                  <c:v>1.1000000000000001</c:v>
                </c:pt>
              </c:numCache>
            </c:numRef>
          </c:val>
          <c:extLst>
            <c:ext xmlns:c16="http://schemas.microsoft.com/office/drawing/2014/chart" uri="{C3380CC4-5D6E-409C-BE32-E72D297353CC}">
              <c16:uniqueId val="{00000000-51E0-49E8-A4CA-E3DFE493F52F}"/>
            </c:ext>
          </c:extLst>
        </c:ser>
        <c:dLbls>
          <c:showLegendKey val="0"/>
          <c:showVal val="0"/>
          <c:showCatName val="0"/>
          <c:showSerName val="0"/>
          <c:showPercent val="0"/>
          <c:showBubbleSize val="0"/>
        </c:dLbls>
        <c:gapWidth val="75"/>
        <c:overlap val="-25"/>
        <c:axId val="680395576"/>
        <c:axId val="680396888"/>
      </c:barChart>
      <c:catAx>
        <c:axId val="680395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l-PL"/>
          </a:p>
        </c:txPr>
        <c:crossAx val="680396888"/>
        <c:crosses val="autoZero"/>
        <c:auto val="1"/>
        <c:lblAlgn val="ctr"/>
        <c:lblOffset val="100"/>
        <c:noMultiLvlLbl val="0"/>
      </c:catAx>
      <c:valAx>
        <c:axId val="6803968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l-PL"/>
          </a:p>
        </c:txPr>
        <c:crossAx val="6803955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l-P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nchor="ctr" anchorCtr="0"/>
    <a:lstStyle/>
    <a:p>
      <a:pPr>
        <a:defRPr/>
      </a:pPr>
      <a:endParaRPr lang="pl-P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B65459-4C01-9248-BDAA-F28591FAF6F5}" type="datetimeFigureOut">
              <a:rPr lang="en-US" smtClean="0"/>
              <a:t>3/2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327042-6B61-B148-8485-8BBBFAA13D24}" type="slidenum">
              <a:rPr lang="en-US" smtClean="0"/>
              <a:t>‹#›</a:t>
            </a:fld>
            <a:endParaRPr lang="en-US"/>
          </a:p>
        </p:txBody>
      </p:sp>
    </p:spTree>
    <p:extLst>
      <p:ext uri="{BB962C8B-B14F-4D97-AF65-F5344CB8AC3E}">
        <p14:creationId xmlns:p14="http://schemas.microsoft.com/office/powerpoint/2010/main" val="10803211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1</a:t>
            </a:fld>
            <a:endParaRPr lang="en-US"/>
          </a:p>
        </p:txBody>
      </p:sp>
    </p:spTree>
    <p:extLst>
      <p:ext uri="{BB962C8B-B14F-4D97-AF65-F5344CB8AC3E}">
        <p14:creationId xmlns:p14="http://schemas.microsoft.com/office/powerpoint/2010/main" val="15172896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10</a:t>
            </a:fld>
            <a:endParaRPr lang="en-US"/>
          </a:p>
        </p:txBody>
      </p:sp>
    </p:spTree>
    <p:extLst>
      <p:ext uri="{BB962C8B-B14F-4D97-AF65-F5344CB8AC3E}">
        <p14:creationId xmlns:p14="http://schemas.microsoft.com/office/powerpoint/2010/main" val="26074704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11</a:t>
            </a:fld>
            <a:endParaRPr lang="en-US"/>
          </a:p>
        </p:txBody>
      </p:sp>
    </p:spTree>
    <p:extLst>
      <p:ext uri="{BB962C8B-B14F-4D97-AF65-F5344CB8AC3E}">
        <p14:creationId xmlns:p14="http://schemas.microsoft.com/office/powerpoint/2010/main" val="36793326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12</a:t>
            </a:fld>
            <a:endParaRPr lang="en-US"/>
          </a:p>
        </p:txBody>
      </p:sp>
    </p:spTree>
    <p:extLst>
      <p:ext uri="{BB962C8B-B14F-4D97-AF65-F5344CB8AC3E}">
        <p14:creationId xmlns:p14="http://schemas.microsoft.com/office/powerpoint/2010/main" val="28199764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13</a:t>
            </a:fld>
            <a:endParaRPr lang="en-US"/>
          </a:p>
        </p:txBody>
      </p:sp>
    </p:spTree>
    <p:extLst>
      <p:ext uri="{BB962C8B-B14F-4D97-AF65-F5344CB8AC3E}">
        <p14:creationId xmlns:p14="http://schemas.microsoft.com/office/powerpoint/2010/main" val="27120819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14</a:t>
            </a:fld>
            <a:endParaRPr lang="en-US"/>
          </a:p>
        </p:txBody>
      </p:sp>
    </p:spTree>
    <p:extLst>
      <p:ext uri="{BB962C8B-B14F-4D97-AF65-F5344CB8AC3E}">
        <p14:creationId xmlns:p14="http://schemas.microsoft.com/office/powerpoint/2010/main" val="34931714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15</a:t>
            </a:fld>
            <a:endParaRPr lang="en-US"/>
          </a:p>
        </p:txBody>
      </p:sp>
    </p:spTree>
    <p:extLst>
      <p:ext uri="{BB962C8B-B14F-4D97-AF65-F5344CB8AC3E}">
        <p14:creationId xmlns:p14="http://schemas.microsoft.com/office/powerpoint/2010/main" val="12127563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16</a:t>
            </a:fld>
            <a:endParaRPr lang="en-US"/>
          </a:p>
        </p:txBody>
      </p:sp>
    </p:spTree>
    <p:extLst>
      <p:ext uri="{BB962C8B-B14F-4D97-AF65-F5344CB8AC3E}">
        <p14:creationId xmlns:p14="http://schemas.microsoft.com/office/powerpoint/2010/main" val="31151575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17</a:t>
            </a:fld>
            <a:endParaRPr lang="en-US"/>
          </a:p>
        </p:txBody>
      </p:sp>
    </p:spTree>
    <p:extLst>
      <p:ext uri="{BB962C8B-B14F-4D97-AF65-F5344CB8AC3E}">
        <p14:creationId xmlns:p14="http://schemas.microsoft.com/office/powerpoint/2010/main" val="18327074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18</a:t>
            </a:fld>
            <a:endParaRPr lang="en-US"/>
          </a:p>
        </p:txBody>
      </p:sp>
    </p:spTree>
    <p:extLst>
      <p:ext uri="{BB962C8B-B14F-4D97-AF65-F5344CB8AC3E}">
        <p14:creationId xmlns:p14="http://schemas.microsoft.com/office/powerpoint/2010/main" val="27235197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19</a:t>
            </a:fld>
            <a:endParaRPr lang="en-US"/>
          </a:p>
        </p:txBody>
      </p:sp>
    </p:spTree>
    <p:extLst>
      <p:ext uri="{BB962C8B-B14F-4D97-AF65-F5344CB8AC3E}">
        <p14:creationId xmlns:p14="http://schemas.microsoft.com/office/powerpoint/2010/main" val="30123812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2</a:t>
            </a:fld>
            <a:endParaRPr lang="en-US"/>
          </a:p>
        </p:txBody>
      </p:sp>
    </p:spTree>
    <p:extLst>
      <p:ext uri="{BB962C8B-B14F-4D97-AF65-F5344CB8AC3E}">
        <p14:creationId xmlns:p14="http://schemas.microsoft.com/office/powerpoint/2010/main" val="9561306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20</a:t>
            </a:fld>
            <a:endParaRPr lang="en-US"/>
          </a:p>
        </p:txBody>
      </p:sp>
    </p:spTree>
    <p:extLst>
      <p:ext uri="{BB962C8B-B14F-4D97-AF65-F5344CB8AC3E}">
        <p14:creationId xmlns:p14="http://schemas.microsoft.com/office/powerpoint/2010/main" val="20507133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21</a:t>
            </a:fld>
            <a:endParaRPr lang="en-US"/>
          </a:p>
        </p:txBody>
      </p:sp>
    </p:spTree>
    <p:extLst>
      <p:ext uri="{BB962C8B-B14F-4D97-AF65-F5344CB8AC3E}">
        <p14:creationId xmlns:p14="http://schemas.microsoft.com/office/powerpoint/2010/main" val="30268778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22</a:t>
            </a:fld>
            <a:endParaRPr lang="en-US"/>
          </a:p>
        </p:txBody>
      </p:sp>
    </p:spTree>
    <p:extLst>
      <p:ext uri="{BB962C8B-B14F-4D97-AF65-F5344CB8AC3E}">
        <p14:creationId xmlns:p14="http://schemas.microsoft.com/office/powerpoint/2010/main" val="1638868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23</a:t>
            </a:fld>
            <a:endParaRPr lang="en-US"/>
          </a:p>
        </p:txBody>
      </p:sp>
    </p:spTree>
    <p:extLst>
      <p:ext uri="{BB962C8B-B14F-4D97-AF65-F5344CB8AC3E}">
        <p14:creationId xmlns:p14="http://schemas.microsoft.com/office/powerpoint/2010/main" val="5286420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24</a:t>
            </a:fld>
            <a:endParaRPr lang="en-US"/>
          </a:p>
        </p:txBody>
      </p:sp>
    </p:spTree>
    <p:extLst>
      <p:ext uri="{BB962C8B-B14F-4D97-AF65-F5344CB8AC3E}">
        <p14:creationId xmlns:p14="http://schemas.microsoft.com/office/powerpoint/2010/main" val="3969828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3</a:t>
            </a:fld>
            <a:endParaRPr lang="en-US"/>
          </a:p>
        </p:txBody>
      </p:sp>
    </p:spTree>
    <p:extLst>
      <p:ext uri="{BB962C8B-B14F-4D97-AF65-F5344CB8AC3E}">
        <p14:creationId xmlns:p14="http://schemas.microsoft.com/office/powerpoint/2010/main" val="2555681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4</a:t>
            </a:fld>
            <a:endParaRPr lang="en-US"/>
          </a:p>
        </p:txBody>
      </p:sp>
    </p:spTree>
    <p:extLst>
      <p:ext uri="{BB962C8B-B14F-4D97-AF65-F5344CB8AC3E}">
        <p14:creationId xmlns:p14="http://schemas.microsoft.com/office/powerpoint/2010/main" val="3024508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81BF975-AA5D-424C-B259-1BB0C7806E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41201731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6</a:t>
            </a:fld>
            <a:endParaRPr lang="en-US"/>
          </a:p>
        </p:txBody>
      </p:sp>
    </p:spTree>
    <p:extLst>
      <p:ext uri="{BB962C8B-B14F-4D97-AF65-F5344CB8AC3E}">
        <p14:creationId xmlns:p14="http://schemas.microsoft.com/office/powerpoint/2010/main" val="37200996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81BF975-AA5D-424C-B259-1BB0C7806E29}" type="slidenum">
              <a:rPr lang="en-US" smtClean="0"/>
              <a:t>7</a:t>
            </a:fld>
            <a:endParaRPr lang="en-US" dirty="0"/>
          </a:p>
        </p:txBody>
      </p:sp>
    </p:spTree>
    <p:extLst>
      <p:ext uri="{BB962C8B-B14F-4D97-AF65-F5344CB8AC3E}">
        <p14:creationId xmlns:p14="http://schemas.microsoft.com/office/powerpoint/2010/main" val="14131483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8</a:t>
            </a:fld>
            <a:endParaRPr lang="en-US"/>
          </a:p>
        </p:txBody>
      </p:sp>
    </p:spTree>
    <p:extLst>
      <p:ext uri="{BB962C8B-B14F-4D97-AF65-F5344CB8AC3E}">
        <p14:creationId xmlns:p14="http://schemas.microsoft.com/office/powerpoint/2010/main" val="3905813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69327042-6B61-B148-8485-8BBBFAA13D24}" type="slidenum">
              <a:rPr lang="en-US" smtClean="0"/>
              <a:t>9</a:t>
            </a:fld>
            <a:endParaRPr lang="en-US"/>
          </a:p>
        </p:txBody>
      </p:sp>
    </p:spTree>
    <p:extLst>
      <p:ext uri="{BB962C8B-B14F-4D97-AF65-F5344CB8AC3E}">
        <p14:creationId xmlns:p14="http://schemas.microsoft.com/office/powerpoint/2010/main" val="4611441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0.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3.svg"/><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12.png"/><Relationship Id="rId5" Type="http://schemas.openxmlformats.org/officeDocument/2006/relationships/hyperlink" Target="https://thermofisher.sharepoint.com/sites/functions/Marketing/Pages/Customer-Value-Proposition.aspx" TargetMode="External"/><Relationship Id="rId4" Type="http://schemas.openxmlformats.org/officeDocument/2006/relationships/image" Target="../media/image10.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Master" Target="../slideMasters/slideMaster2.xml"/><Relationship Id="rId7" Type="http://schemas.openxmlformats.org/officeDocument/2006/relationships/image" Target="../media/image16.png"/><Relationship Id="rId12" Type="http://schemas.openxmlformats.org/officeDocument/2006/relationships/image" Target="../media/image11.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0.emf"/><Relationship Id="rId10" Type="http://schemas.openxmlformats.org/officeDocument/2006/relationships/image" Target="../media/image19.png"/><Relationship Id="rId4" Type="http://schemas.openxmlformats.org/officeDocument/2006/relationships/oleObject" Target="../embeddings/oleObject5.bin"/><Relationship Id="rId9" Type="http://schemas.openxmlformats.org/officeDocument/2006/relationships/image" Target="../media/image18.pn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oleObject" Target="../embeddings/oleObject14.bin"/><Relationship Id="rId7" Type="http://schemas.openxmlformats.org/officeDocument/2006/relationships/image" Target="../media/image17.png"/><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22.png"/><Relationship Id="rId5" Type="http://schemas.openxmlformats.org/officeDocument/2006/relationships/image" Target="../media/image21.png"/><Relationship Id="rId10" Type="http://schemas.openxmlformats.org/officeDocument/2006/relationships/image" Target="../media/image23.png"/><Relationship Id="rId4" Type="http://schemas.openxmlformats.org/officeDocument/2006/relationships/image" Target="../media/image10.emf"/><Relationship Id="rId9" Type="http://schemas.openxmlformats.org/officeDocument/2006/relationships/image" Target="../media/image19.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oleObject" Target="../embeddings/oleObject15.bin"/><Relationship Id="rId7" Type="http://schemas.openxmlformats.org/officeDocument/2006/relationships/image" Target="../media/image17.png"/><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22.png"/><Relationship Id="rId5" Type="http://schemas.openxmlformats.org/officeDocument/2006/relationships/image" Target="../media/image21.png"/><Relationship Id="rId10" Type="http://schemas.openxmlformats.org/officeDocument/2006/relationships/image" Target="../media/image23.png"/><Relationship Id="rId4" Type="http://schemas.openxmlformats.org/officeDocument/2006/relationships/image" Target="../media/image10.emf"/><Relationship Id="rId9" Type="http://schemas.openxmlformats.org/officeDocument/2006/relationships/image" Target="../media/image19.pn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16.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ajd tytułow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Podtytuł 2">
            <a:extLst>
              <a:ext uri="{FF2B5EF4-FFF2-40B4-BE49-F238E27FC236}">
                <a16:creationId xmlns:a16="http://schemas.microsoft.com/office/drawing/2014/main" id="{4364FB9A-A05E-3D4D-A76A-D6ACCD237EB4}"/>
              </a:ext>
            </a:extLst>
          </p:cNvPr>
          <p:cNvSpPr>
            <a:spLocks noGrp="1"/>
          </p:cNvSpPr>
          <p:nvPr>
            <p:ph type="subTitle" idx="1"/>
          </p:nvPr>
        </p:nvSpPr>
        <p:spPr>
          <a:xfrm>
            <a:off x="815009" y="4277496"/>
            <a:ext cx="8176591" cy="1569307"/>
          </a:xfrm>
        </p:spPr>
        <p:txBody>
          <a:bodyPr>
            <a:normAutofit/>
          </a:bodyPr>
          <a:lstStyle>
            <a:lvl1pPr marL="0" indent="0" algn="l">
              <a:buNone/>
              <a:defRPr sz="2200" b="0" i="0">
                <a:latin typeface="+mn-lt"/>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l-PL" dirty="0"/>
              <a:t>Kliknij, aby edytować styl wzorca podtytułu</a:t>
            </a:r>
          </a:p>
        </p:txBody>
      </p:sp>
      <p:sp>
        <p:nvSpPr>
          <p:cNvPr id="9" name="Symbol zastępczy daty 3">
            <a:extLst>
              <a:ext uri="{FF2B5EF4-FFF2-40B4-BE49-F238E27FC236}">
                <a16:creationId xmlns:a16="http://schemas.microsoft.com/office/drawing/2014/main" id="{51BF4557-AC91-6F45-B7A7-A57BEC58D276}"/>
              </a:ext>
            </a:extLst>
          </p:cNvPr>
          <p:cNvSpPr>
            <a:spLocks noGrp="1"/>
          </p:cNvSpPr>
          <p:nvPr>
            <p:ph type="dt" sz="half" idx="10"/>
          </p:nvPr>
        </p:nvSpPr>
        <p:spPr>
          <a:xfrm>
            <a:off x="838200" y="6245137"/>
            <a:ext cx="2743200" cy="365125"/>
          </a:xfrm>
        </p:spPr>
        <p:txBody>
          <a:bodyPr/>
          <a:lstStyle>
            <a:lvl1pPr>
              <a:defRPr b="0" i="0">
                <a:solidFill>
                  <a:schemeClr val="bg1"/>
                </a:solidFill>
                <a:latin typeface="Muli Medium" pitchFamily="2" charset="0"/>
              </a:defRPr>
            </a:lvl1pPr>
          </a:lstStyle>
          <a:p>
            <a:fld id="{D405CD0F-4183-864E-B06D-D7C4F36323AD}" type="datetimeFigureOut">
              <a:rPr lang="pl-PL" smtClean="0"/>
              <a:pPr/>
              <a:t>21.03.2024</a:t>
            </a:fld>
            <a:endParaRPr lang="pl-PL" dirty="0"/>
          </a:p>
        </p:txBody>
      </p:sp>
      <p:pic>
        <p:nvPicPr>
          <p:cNvPr id="3" name="Obraz 2" descr="Obraz zawierający tekst&#10;&#10;Opis wygenerowany automatycznie">
            <a:extLst>
              <a:ext uri="{FF2B5EF4-FFF2-40B4-BE49-F238E27FC236}">
                <a16:creationId xmlns:a16="http://schemas.microsoft.com/office/drawing/2014/main" id="{363A36C1-0413-3145-A9B8-FAE7636672E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5009" y="1295400"/>
            <a:ext cx="2626396" cy="600135"/>
          </a:xfrm>
          <a:prstGeom prst="rect">
            <a:avLst/>
          </a:prstGeom>
        </p:spPr>
      </p:pic>
      <p:cxnSp>
        <p:nvCxnSpPr>
          <p:cNvPr id="6" name="Łącznik prosty 5">
            <a:extLst>
              <a:ext uri="{FF2B5EF4-FFF2-40B4-BE49-F238E27FC236}">
                <a16:creationId xmlns:a16="http://schemas.microsoft.com/office/drawing/2014/main" id="{B2B3CD60-F49E-7844-9CFB-14081A6689DA}"/>
              </a:ext>
            </a:extLst>
          </p:cNvPr>
          <p:cNvCxnSpPr>
            <a:cxnSpLocks/>
          </p:cNvCxnSpPr>
          <p:nvPr userDrawn="1"/>
        </p:nvCxnSpPr>
        <p:spPr>
          <a:xfrm>
            <a:off x="0" y="2362200"/>
            <a:ext cx="1524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ytuł 1">
            <a:extLst>
              <a:ext uri="{FF2B5EF4-FFF2-40B4-BE49-F238E27FC236}">
                <a16:creationId xmlns:a16="http://schemas.microsoft.com/office/drawing/2014/main" id="{10BDAE21-38CF-46EF-8375-CCBAFB8D7393}"/>
              </a:ext>
            </a:extLst>
          </p:cNvPr>
          <p:cNvSpPr>
            <a:spLocks noGrp="1"/>
          </p:cNvSpPr>
          <p:nvPr>
            <p:ph type="title" idx="11"/>
          </p:nvPr>
        </p:nvSpPr>
        <p:spPr>
          <a:xfrm>
            <a:off x="815009" y="2209800"/>
            <a:ext cx="8176591" cy="1907053"/>
          </a:xfrm>
          <a:prstGeom prst="rect">
            <a:avLst/>
          </a:prstGeom>
        </p:spPr>
        <p:txBody>
          <a:bodyPr vert="horz" rtlCol="0" anchor="b">
            <a:normAutofit/>
          </a:bodyPr>
          <a:lstStyle>
            <a:lvl1pPr lvl="0" algn="l">
              <a:defRPr lang="en-US" sz="4000" b="1" i="0" dirty="0">
                <a:solidFill>
                  <a:schemeClr val="accent1"/>
                </a:solidFill>
                <a:latin typeface="+mj-lt"/>
              </a:defRPr>
            </a:lvl1pPr>
          </a:lstStyle>
          <a:p>
            <a:r>
              <a:rPr lang="en-US" dirty="0"/>
              <a:t>Kliknij, aby edytować styl</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ytuł i zawartoś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ytuł 1"/>
          <p:cNvSpPr>
            <a:spLocks noGrp="1"/>
          </p:cNvSpPr>
          <p:nvPr>
            <p:ph type="title" idx="10"/>
          </p:nvPr>
        </p:nvSpPr>
        <p:spPr>
          <a:xfrm>
            <a:off x="838199" y="668214"/>
            <a:ext cx="5111263" cy="1008186"/>
          </a:xfrm>
          <a:prstGeom prst="rect">
            <a:avLst/>
          </a:prstGeom>
        </p:spPr>
        <p:txBody>
          <a:bodyPr vert="horz" rtlCol="0" anchor="t">
            <a:normAutofit/>
          </a:bodyPr>
          <a:lstStyle>
            <a:lvl1pPr lvl="0">
              <a:defRPr lang="en-US" sz="3000" b="1" i="0" dirty="0">
                <a:solidFill>
                  <a:schemeClr val="accent1"/>
                </a:solidFill>
                <a:latin typeface="+mj-lt"/>
              </a:defRPr>
            </a:lvl1pPr>
          </a:lstStyle>
          <a:p>
            <a:r>
              <a:rPr lang="en-US" dirty="0"/>
              <a:t>Kliknij, aby edytować styl</a:t>
            </a:r>
          </a:p>
        </p:txBody>
      </p:sp>
      <p:sp>
        <p:nvSpPr>
          <p:cNvPr id="4" name="Prostokąt z zaokrąglonym rogiem 10"/>
          <p:cNvSpPr/>
          <p:nvPr userDrawn="1"/>
        </p:nvSpPr>
        <p:spPr>
          <a:xfrm>
            <a:off x="8074854" y="-586155"/>
            <a:ext cx="1758462" cy="1758462"/>
          </a:xfrm>
          <a:prstGeom prst="round1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en-US" dirty="0"/>
          </a:p>
        </p:txBody>
      </p:sp>
      <p:sp>
        <p:nvSpPr>
          <p:cNvPr id="5" name="Prostokąt z zaokrąglonym rogiem 18"/>
          <p:cNvSpPr/>
          <p:nvPr userDrawn="1"/>
        </p:nvSpPr>
        <p:spPr>
          <a:xfrm>
            <a:off x="6147585" y="668214"/>
            <a:ext cx="5111263" cy="5111263"/>
          </a:xfrm>
          <a:prstGeom prst="round1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en-US" dirty="0"/>
          </a:p>
        </p:txBody>
      </p:sp>
      <p:sp>
        <p:nvSpPr>
          <p:cNvPr id="7" name="Symbol zastępczy tekstu 11">
            <a:extLst>
              <a:ext uri="{FF2B5EF4-FFF2-40B4-BE49-F238E27FC236}">
                <a16:creationId xmlns:a16="http://schemas.microsoft.com/office/drawing/2014/main" id="{7D7DFAD6-60E5-3148-8978-093F9C92E65E}"/>
              </a:ext>
            </a:extLst>
          </p:cNvPr>
          <p:cNvSpPr>
            <a:spLocks noGrp="1"/>
          </p:cNvSpPr>
          <p:nvPr>
            <p:ph type="body" sz="quarter" idx="13"/>
          </p:nvPr>
        </p:nvSpPr>
        <p:spPr>
          <a:xfrm>
            <a:off x="838200" y="1817076"/>
            <a:ext cx="5111262" cy="3962401"/>
          </a:xfrm>
        </p:spPr>
        <p:txBody>
          <a:bodyPr>
            <a:normAutofit/>
          </a:bodyPr>
          <a:lstStyle>
            <a:lvl1pPr marL="0" indent="0">
              <a:lnSpc>
                <a:spcPct val="100000"/>
              </a:lnSpc>
              <a:buFontTx/>
              <a:buNone/>
              <a:defRPr sz="2200" b="0" i="0">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pl-PL" dirty="0"/>
              <a:t>Kliknij, aby edytować style wzorca tekstu</a:t>
            </a:r>
          </a:p>
        </p:txBody>
      </p:sp>
      <p:sp>
        <p:nvSpPr>
          <p:cNvPr id="12" name="Symbol zastępczy obrazu 11">
            <a:extLst>
              <a:ext uri="{FF2B5EF4-FFF2-40B4-BE49-F238E27FC236}">
                <a16:creationId xmlns:a16="http://schemas.microsoft.com/office/drawing/2014/main" id="{06F0437C-960F-421A-8867-AECE0372CB23}"/>
              </a:ext>
            </a:extLst>
          </p:cNvPr>
          <p:cNvSpPr>
            <a:spLocks noGrp="1"/>
          </p:cNvSpPr>
          <p:nvPr>
            <p:ph type="pic" sz="quarter" idx="14"/>
          </p:nvPr>
        </p:nvSpPr>
        <p:spPr>
          <a:xfrm>
            <a:off x="6624166" y="762001"/>
            <a:ext cx="4648678" cy="4648678"/>
          </a:xfrm>
        </p:spPr>
        <p:txBody>
          <a:bodyPr/>
          <a:lstStyle/>
          <a:p>
            <a:pPr lvl="1"/>
            <a:endParaRPr lang="pl-PL" dirty="0"/>
          </a:p>
        </p:txBody>
      </p:sp>
      <p:sp>
        <p:nvSpPr>
          <p:cNvPr id="13" name="Prostokąt 12">
            <a:extLst>
              <a:ext uri="{FF2B5EF4-FFF2-40B4-BE49-F238E27FC236}">
                <a16:creationId xmlns:a16="http://schemas.microsoft.com/office/drawing/2014/main" id="{02E5E082-10DC-4BF3-93F2-84AB5BF5EA30}"/>
              </a:ext>
            </a:extLst>
          </p:cNvPr>
          <p:cNvSpPr/>
          <p:nvPr userDrawn="1"/>
        </p:nvSpPr>
        <p:spPr>
          <a:xfrm>
            <a:off x="6437076" y="914400"/>
            <a:ext cx="4688123" cy="468812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_Tytuł i zawartoś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5_Tytuł i zawartoś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aphicFrame>
        <p:nvGraphicFramePr>
          <p:cNvPr id="7" name="Wykres 6">
            <a:extLst>
              <a:ext uri="{FF2B5EF4-FFF2-40B4-BE49-F238E27FC236}">
                <a16:creationId xmlns:a16="http://schemas.microsoft.com/office/drawing/2014/main" id="{943A5CA4-E002-4610-A19B-28FB940FEE04}"/>
              </a:ext>
            </a:extLst>
          </p:cNvPr>
          <p:cNvGraphicFramePr>
            <a:graphicFrameLocks/>
          </p:cNvGraphicFramePr>
          <p:nvPr userDrawn="1">
            <p:extLst>
              <p:ext uri="{D42A27DB-BD31-4B8C-83A1-F6EECF244321}">
                <p14:modId xmlns:p14="http://schemas.microsoft.com/office/powerpoint/2010/main" val="122512971"/>
              </p:ext>
            </p:extLst>
          </p:nvPr>
        </p:nvGraphicFramePr>
        <p:xfrm>
          <a:off x="756000" y="457200"/>
          <a:ext cx="10668000" cy="52578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868029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6_Tytuł i zawartoś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aphicFrame>
        <p:nvGraphicFramePr>
          <p:cNvPr id="7" name="Wykres 6">
            <a:extLst>
              <a:ext uri="{FF2B5EF4-FFF2-40B4-BE49-F238E27FC236}">
                <a16:creationId xmlns:a16="http://schemas.microsoft.com/office/drawing/2014/main" id="{943A5CA4-E002-4610-A19B-28FB940FEE04}"/>
              </a:ext>
            </a:extLst>
          </p:cNvPr>
          <p:cNvGraphicFramePr>
            <a:graphicFrameLocks/>
          </p:cNvGraphicFramePr>
          <p:nvPr userDrawn="1">
            <p:extLst>
              <p:ext uri="{D42A27DB-BD31-4B8C-83A1-F6EECF244321}">
                <p14:modId xmlns:p14="http://schemas.microsoft.com/office/powerpoint/2010/main" val="3616828331"/>
              </p:ext>
            </p:extLst>
          </p:nvPr>
        </p:nvGraphicFramePr>
        <p:xfrm>
          <a:off x="756000" y="457200"/>
          <a:ext cx="10668000" cy="5105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452155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Tytuł i zawartoś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Tytuł 1">
            <a:extLst>
              <a:ext uri="{FF2B5EF4-FFF2-40B4-BE49-F238E27FC236}">
                <a16:creationId xmlns:a16="http://schemas.microsoft.com/office/drawing/2014/main" id="{43CAB6E2-F5FC-4D40-BFD4-A203DEB7DFDE}"/>
              </a:ext>
            </a:extLst>
          </p:cNvPr>
          <p:cNvSpPr>
            <a:spLocks noGrp="1"/>
          </p:cNvSpPr>
          <p:nvPr>
            <p:ph type="title" idx="10"/>
          </p:nvPr>
        </p:nvSpPr>
        <p:spPr>
          <a:xfrm>
            <a:off x="838200" y="668214"/>
            <a:ext cx="10515600" cy="1008186"/>
          </a:xfrm>
          <a:prstGeom prst="rect">
            <a:avLst/>
          </a:prstGeom>
        </p:spPr>
        <p:txBody>
          <a:bodyPr vert="horz" rtlCol="0" anchor="t">
            <a:normAutofit/>
          </a:bodyPr>
          <a:lstStyle>
            <a:lvl1pPr lvl="0">
              <a:defRPr lang="en-US" sz="3000" b="1" i="0" dirty="0">
                <a:solidFill>
                  <a:schemeClr val="accent1"/>
                </a:solidFill>
                <a:latin typeface="+mj-lt"/>
              </a:defRPr>
            </a:lvl1pPr>
          </a:lstStyle>
          <a:p>
            <a:r>
              <a:rPr lang="en-US" dirty="0"/>
              <a:t>Kliknij, aby edytować styl</a:t>
            </a:r>
          </a:p>
        </p:txBody>
      </p:sp>
    </p:spTree>
    <p:extLst>
      <p:ext uri="{BB962C8B-B14F-4D97-AF65-F5344CB8AC3E}">
        <p14:creationId xmlns:p14="http://schemas.microsoft.com/office/powerpoint/2010/main" val="11565354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_Tytuł i zawartoś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rostokąt 3">
            <a:extLst>
              <a:ext uri="{FF2B5EF4-FFF2-40B4-BE49-F238E27FC236}">
                <a16:creationId xmlns:a16="http://schemas.microsoft.com/office/drawing/2014/main" id="{2C3BEB63-2A8F-49E6-8F75-D561E16FF7E9}"/>
              </a:ext>
            </a:extLst>
          </p:cNvPr>
          <p:cNvSpPr/>
          <p:nvPr userDrawn="1"/>
        </p:nvSpPr>
        <p:spPr>
          <a:xfrm>
            <a:off x="838200" y="2895600"/>
            <a:ext cx="1752600" cy="1752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6" name="Prostokąt 5">
            <a:extLst>
              <a:ext uri="{FF2B5EF4-FFF2-40B4-BE49-F238E27FC236}">
                <a16:creationId xmlns:a16="http://schemas.microsoft.com/office/drawing/2014/main" id="{A68961A3-00E2-40EC-9905-B0699536FB28}"/>
              </a:ext>
            </a:extLst>
          </p:cNvPr>
          <p:cNvSpPr/>
          <p:nvPr userDrawn="1"/>
        </p:nvSpPr>
        <p:spPr>
          <a:xfrm>
            <a:off x="762000" y="2971800"/>
            <a:ext cx="1752600" cy="17526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7" name="pole tekstowe 6">
            <a:extLst>
              <a:ext uri="{FF2B5EF4-FFF2-40B4-BE49-F238E27FC236}">
                <a16:creationId xmlns:a16="http://schemas.microsoft.com/office/drawing/2014/main" id="{536F50E5-C868-4097-80FC-C96118F96134}"/>
              </a:ext>
            </a:extLst>
          </p:cNvPr>
          <p:cNvSpPr txBox="1"/>
          <p:nvPr userDrawn="1"/>
        </p:nvSpPr>
        <p:spPr>
          <a:xfrm>
            <a:off x="952500" y="3478768"/>
            <a:ext cx="1485900" cy="584775"/>
          </a:xfrm>
          <a:prstGeom prst="rect">
            <a:avLst/>
          </a:prstGeom>
          <a:noFill/>
        </p:spPr>
        <p:txBody>
          <a:bodyPr wrap="square" rtlCol="0">
            <a:spAutoFit/>
          </a:bodyPr>
          <a:lstStyle/>
          <a:p>
            <a:pPr algn="ctr"/>
            <a:r>
              <a:rPr lang="pl-PL" sz="1600" b="1" dirty="0" err="1">
                <a:solidFill>
                  <a:schemeClr val="bg1"/>
                </a:solidFill>
              </a:rPr>
              <a:t>Lorem</a:t>
            </a:r>
            <a:r>
              <a:rPr lang="pl-PL" sz="1600" b="1" dirty="0">
                <a:solidFill>
                  <a:schemeClr val="bg1"/>
                </a:solidFill>
              </a:rPr>
              <a:t> </a:t>
            </a:r>
            <a:r>
              <a:rPr lang="pl-PL" sz="1600" b="1" dirty="0" err="1">
                <a:solidFill>
                  <a:schemeClr val="bg1"/>
                </a:solidFill>
              </a:rPr>
              <a:t>ipsum</a:t>
            </a:r>
            <a:endParaRPr lang="pl-PL" sz="1600" b="1" dirty="0">
              <a:solidFill>
                <a:schemeClr val="bg1"/>
              </a:solidFill>
            </a:endParaRPr>
          </a:p>
        </p:txBody>
      </p:sp>
      <p:sp>
        <p:nvSpPr>
          <p:cNvPr id="9" name="Prostokąt 8">
            <a:extLst>
              <a:ext uri="{FF2B5EF4-FFF2-40B4-BE49-F238E27FC236}">
                <a16:creationId xmlns:a16="http://schemas.microsoft.com/office/drawing/2014/main" id="{0E44CEDB-2199-449B-851F-2F40A47B2F37}"/>
              </a:ext>
            </a:extLst>
          </p:cNvPr>
          <p:cNvSpPr/>
          <p:nvPr userDrawn="1"/>
        </p:nvSpPr>
        <p:spPr>
          <a:xfrm>
            <a:off x="5181600" y="2895600"/>
            <a:ext cx="1752600" cy="1752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1" name="Prostokąt 10">
            <a:extLst>
              <a:ext uri="{FF2B5EF4-FFF2-40B4-BE49-F238E27FC236}">
                <a16:creationId xmlns:a16="http://schemas.microsoft.com/office/drawing/2014/main" id="{8DE092A5-E564-4F33-BC1C-DF8B099DB850}"/>
              </a:ext>
            </a:extLst>
          </p:cNvPr>
          <p:cNvSpPr/>
          <p:nvPr userDrawn="1"/>
        </p:nvSpPr>
        <p:spPr>
          <a:xfrm>
            <a:off x="5105400" y="2971800"/>
            <a:ext cx="1752600" cy="17526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3" name="pole tekstowe 12">
            <a:extLst>
              <a:ext uri="{FF2B5EF4-FFF2-40B4-BE49-F238E27FC236}">
                <a16:creationId xmlns:a16="http://schemas.microsoft.com/office/drawing/2014/main" id="{D8A32DB8-BB1B-4ED4-81DB-C380DA476E22}"/>
              </a:ext>
            </a:extLst>
          </p:cNvPr>
          <p:cNvSpPr txBox="1"/>
          <p:nvPr userDrawn="1"/>
        </p:nvSpPr>
        <p:spPr>
          <a:xfrm>
            <a:off x="5295900" y="3478768"/>
            <a:ext cx="1485900" cy="584775"/>
          </a:xfrm>
          <a:prstGeom prst="rect">
            <a:avLst/>
          </a:prstGeom>
          <a:noFill/>
        </p:spPr>
        <p:txBody>
          <a:bodyPr wrap="square" rtlCol="0">
            <a:spAutoFit/>
          </a:bodyPr>
          <a:lstStyle/>
          <a:p>
            <a:pPr algn="ctr"/>
            <a:r>
              <a:rPr lang="pl-PL" sz="1600" b="1" dirty="0" err="1">
                <a:solidFill>
                  <a:schemeClr val="bg1"/>
                </a:solidFill>
              </a:rPr>
              <a:t>Lorem</a:t>
            </a:r>
            <a:r>
              <a:rPr lang="pl-PL" sz="1600" b="1" dirty="0">
                <a:solidFill>
                  <a:schemeClr val="bg1"/>
                </a:solidFill>
              </a:rPr>
              <a:t> </a:t>
            </a:r>
            <a:r>
              <a:rPr lang="pl-PL" sz="1600" b="1" dirty="0" err="1">
                <a:solidFill>
                  <a:schemeClr val="bg1"/>
                </a:solidFill>
              </a:rPr>
              <a:t>ipsum</a:t>
            </a:r>
            <a:endParaRPr lang="pl-PL" sz="1600" b="1" dirty="0">
              <a:solidFill>
                <a:schemeClr val="bg1"/>
              </a:solidFill>
            </a:endParaRPr>
          </a:p>
        </p:txBody>
      </p:sp>
      <p:sp>
        <p:nvSpPr>
          <p:cNvPr id="15" name="Prostokąt 14">
            <a:extLst>
              <a:ext uri="{FF2B5EF4-FFF2-40B4-BE49-F238E27FC236}">
                <a16:creationId xmlns:a16="http://schemas.microsoft.com/office/drawing/2014/main" id="{C6C2D8AA-B112-4E31-83DF-658308D7BA97}"/>
              </a:ext>
            </a:extLst>
          </p:cNvPr>
          <p:cNvSpPr/>
          <p:nvPr userDrawn="1"/>
        </p:nvSpPr>
        <p:spPr>
          <a:xfrm>
            <a:off x="9525000" y="2895600"/>
            <a:ext cx="1752600" cy="1752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7" name="Prostokąt 16">
            <a:extLst>
              <a:ext uri="{FF2B5EF4-FFF2-40B4-BE49-F238E27FC236}">
                <a16:creationId xmlns:a16="http://schemas.microsoft.com/office/drawing/2014/main" id="{7AC7C200-EC8D-4832-AC88-295E20CADBF6}"/>
              </a:ext>
            </a:extLst>
          </p:cNvPr>
          <p:cNvSpPr/>
          <p:nvPr userDrawn="1"/>
        </p:nvSpPr>
        <p:spPr>
          <a:xfrm>
            <a:off x="9448800" y="2971800"/>
            <a:ext cx="1752600" cy="17526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9" name="pole tekstowe 18">
            <a:extLst>
              <a:ext uri="{FF2B5EF4-FFF2-40B4-BE49-F238E27FC236}">
                <a16:creationId xmlns:a16="http://schemas.microsoft.com/office/drawing/2014/main" id="{F311B30A-B8A9-4C13-B0EB-5729D204C509}"/>
              </a:ext>
            </a:extLst>
          </p:cNvPr>
          <p:cNvSpPr txBox="1"/>
          <p:nvPr userDrawn="1"/>
        </p:nvSpPr>
        <p:spPr>
          <a:xfrm>
            <a:off x="9639300" y="3478768"/>
            <a:ext cx="1485900" cy="584775"/>
          </a:xfrm>
          <a:prstGeom prst="rect">
            <a:avLst/>
          </a:prstGeom>
          <a:noFill/>
        </p:spPr>
        <p:txBody>
          <a:bodyPr wrap="square" rtlCol="0">
            <a:spAutoFit/>
          </a:bodyPr>
          <a:lstStyle/>
          <a:p>
            <a:pPr algn="ctr"/>
            <a:r>
              <a:rPr lang="pl-PL" sz="1600" b="1" dirty="0" err="1">
                <a:solidFill>
                  <a:schemeClr val="bg1"/>
                </a:solidFill>
              </a:rPr>
              <a:t>Lorem</a:t>
            </a:r>
            <a:r>
              <a:rPr lang="pl-PL" sz="1600" b="1" dirty="0">
                <a:solidFill>
                  <a:schemeClr val="bg1"/>
                </a:solidFill>
              </a:rPr>
              <a:t> </a:t>
            </a:r>
            <a:r>
              <a:rPr lang="pl-PL" sz="1600" b="1" dirty="0" err="1">
                <a:solidFill>
                  <a:schemeClr val="bg1"/>
                </a:solidFill>
              </a:rPr>
              <a:t>ipsum</a:t>
            </a:r>
            <a:endParaRPr lang="pl-PL" sz="1600" b="1" dirty="0">
              <a:solidFill>
                <a:schemeClr val="bg1"/>
              </a:solidFill>
            </a:endParaRPr>
          </a:p>
        </p:txBody>
      </p:sp>
      <p:cxnSp>
        <p:nvCxnSpPr>
          <p:cNvPr id="21" name="Łącznik prosty ze strzałką 20">
            <a:extLst>
              <a:ext uri="{FF2B5EF4-FFF2-40B4-BE49-F238E27FC236}">
                <a16:creationId xmlns:a16="http://schemas.microsoft.com/office/drawing/2014/main" id="{A904E0F9-AFDB-4242-ADA3-97F46533F691}"/>
              </a:ext>
            </a:extLst>
          </p:cNvPr>
          <p:cNvCxnSpPr/>
          <p:nvPr userDrawn="1"/>
        </p:nvCxnSpPr>
        <p:spPr>
          <a:xfrm>
            <a:off x="2819400" y="3810000"/>
            <a:ext cx="2057400"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Łącznik prosty ze strzałką 21">
            <a:extLst>
              <a:ext uri="{FF2B5EF4-FFF2-40B4-BE49-F238E27FC236}">
                <a16:creationId xmlns:a16="http://schemas.microsoft.com/office/drawing/2014/main" id="{087FE264-41CB-4C4A-A499-3640C4A5B2FB}"/>
              </a:ext>
            </a:extLst>
          </p:cNvPr>
          <p:cNvCxnSpPr/>
          <p:nvPr userDrawn="1"/>
        </p:nvCxnSpPr>
        <p:spPr>
          <a:xfrm>
            <a:off x="7162800" y="3788229"/>
            <a:ext cx="2057400"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 name="Tytuł 1">
            <a:extLst>
              <a:ext uri="{FF2B5EF4-FFF2-40B4-BE49-F238E27FC236}">
                <a16:creationId xmlns:a16="http://schemas.microsoft.com/office/drawing/2014/main" id="{43CAB6E2-F5FC-4D40-BFD4-A203DEB7DFDE}"/>
              </a:ext>
            </a:extLst>
          </p:cNvPr>
          <p:cNvSpPr>
            <a:spLocks noGrp="1"/>
          </p:cNvSpPr>
          <p:nvPr>
            <p:ph type="title" idx="10"/>
          </p:nvPr>
        </p:nvSpPr>
        <p:spPr>
          <a:xfrm>
            <a:off x="838200" y="668214"/>
            <a:ext cx="10515600" cy="1008186"/>
          </a:xfrm>
          <a:prstGeom prst="rect">
            <a:avLst/>
          </a:prstGeom>
        </p:spPr>
        <p:txBody>
          <a:bodyPr vert="horz" rtlCol="0" anchor="t">
            <a:normAutofit/>
          </a:bodyPr>
          <a:lstStyle>
            <a:lvl1pPr lvl="0">
              <a:defRPr lang="en-US" sz="3000" b="1" i="0" dirty="0">
                <a:solidFill>
                  <a:schemeClr val="accent1"/>
                </a:solidFill>
                <a:latin typeface="+mj-lt"/>
              </a:defRPr>
            </a:lvl1pPr>
          </a:lstStyle>
          <a:p>
            <a:r>
              <a:rPr lang="en-US" dirty="0"/>
              <a:t>Kliknij, aby edytować styl</a:t>
            </a:r>
          </a:p>
        </p:txBody>
      </p:sp>
    </p:spTree>
    <p:extLst>
      <p:ext uri="{BB962C8B-B14F-4D97-AF65-F5344CB8AC3E}">
        <p14:creationId xmlns:p14="http://schemas.microsoft.com/office/powerpoint/2010/main" val="40315170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Tytuł i zawartoś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rostokąt 3">
            <a:extLst>
              <a:ext uri="{FF2B5EF4-FFF2-40B4-BE49-F238E27FC236}">
                <a16:creationId xmlns:a16="http://schemas.microsoft.com/office/drawing/2014/main" id="{2C3BEB63-2A8F-49E6-8F75-D561E16FF7E9}"/>
              </a:ext>
            </a:extLst>
          </p:cNvPr>
          <p:cNvSpPr/>
          <p:nvPr userDrawn="1"/>
        </p:nvSpPr>
        <p:spPr>
          <a:xfrm>
            <a:off x="914400" y="2286000"/>
            <a:ext cx="736092" cy="7360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6" name="Prostokąt 5">
            <a:extLst>
              <a:ext uri="{FF2B5EF4-FFF2-40B4-BE49-F238E27FC236}">
                <a16:creationId xmlns:a16="http://schemas.microsoft.com/office/drawing/2014/main" id="{A68961A3-00E2-40EC-9905-B0699536FB28}"/>
              </a:ext>
            </a:extLst>
          </p:cNvPr>
          <p:cNvSpPr/>
          <p:nvPr userDrawn="1"/>
        </p:nvSpPr>
        <p:spPr>
          <a:xfrm>
            <a:off x="838200" y="2362200"/>
            <a:ext cx="736092" cy="73609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7" name="pole tekstowe 6">
            <a:extLst>
              <a:ext uri="{FF2B5EF4-FFF2-40B4-BE49-F238E27FC236}">
                <a16:creationId xmlns:a16="http://schemas.microsoft.com/office/drawing/2014/main" id="{536F50E5-C868-4097-80FC-C96118F96134}"/>
              </a:ext>
            </a:extLst>
          </p:cNvPr>
          <p:cNvSpPr txBox="1"/>
          <p:nvPr userDrawn="1"/>
        </p:nvSpPr>
        <p:spPr>
          <a:xfrm>
            <a:off x="976122" y="2544615"/>
            <a:ext cx="624077" cy="338554"/>
          </a:xfrm>
          <a:prstGeom prst="rect">
            <a:avLst/>
          </a:prstGeom>
          <a:noFill/>
        </p:spPr>
        <p:txBody>
          <a:bodyPr wrap="square" rtlCol="0">
            <a:spAutoFit/>
          </a:bodyPr>
          <a:lstStyle/>
          <a:p>
            <a:pPr algn="ctr"/>
            <a:r>
              <a:rPr lang="pl-PL" sz="1600" b="1" dirty="0">
                <a:solidFill>
                  <a:schemeClr val="bg1"/>
                </a:solidFill>
              </a:rPr>
              <a:t>1.</a:t>
            </a:r>
          </a:p>
        </p:txBody>
      </p:sp>
      <p:sp>
        <p:nvSpPr>
          <p:cNvPr id="3" name="pole tekstowe 2">
            <a:extLst>
              <a:ext uri="{FF2B5EF4-FFF2-40B4-BE49-F238E27FC236}">
                <a16:creationId xmlns:a16="http://schemas.microsoft.com/office/drawing/2014/main" id="{E6225085-E508-4BB1-96A9-972A39DC4DBD}"/>
              </a:ext>
            </a:extLst>
          </p:cNvPr>
          <p:cNvSpPr txBox="1"/>
          <p:nvPr userDrawn="1"/>
        </p:nvSpPr>
        <p:spPr>
          <a:xfrm>
            <a:off x="838200" y="3444068"/>
            <a:ext cx="2362200" cy="369332"/>
          </a:xfrm>
          <a:prstGeom prst="rect">
            <a:avLst/>
          </a:prstGeom>
          <a:noFill/>
        </p:spPr>
        <p:txBody>
          <a:bodyPr wrap="square" rtlCol="0">
            <a:spAutoFit/>
          </a:bodyPr>
          <a:lstStyle/>
          <a:p>
            <a:r>
              <a:rPr lang="pl-PL" b="1" dirty="0" err="1"/>
              <a:t>Lorem</a:t>
            </a:r>
            <a:r>
              <a:rPr lang="pl-PL" b="1" dirty="0"/>
              <a:t> </a:t>
            </a:r>
            <a:r>
              <a:rPr lang="pl-PL" b="1" dirty="0" err="1"/>
              <a:t>ipsum</a:t>
            </a:r>
            <a:endParaRPr lang="pl-PL" b="1" dirty="0"/>
          </a:p>
        </p:txBody>
      </p:sp>
      <p:sp>
        <p:nvSpPr>
          <p:cNvPr id="5" name="pole tekstowe 4">
            <a:extLst>
              <a:ext uri="{FF2B5EF4-FFF2-40B4-BE49-F238E27FC236}">
                <a16:creationId xmlns:a16="http://schemas.microsoft.com/office/drawing/2014/main" id="{9117E98D-F6E7-47DB-A280-D3B2482979D8}"/>
              </a:ext>
            </a:extLst>
          </p:cNvPr>
          <p:cNvSpPr txBox="1"/>
          <p:nvPr userDrawn="1"/>
        </p:nvSpPr>
        <p:spPr>
          <a:xfrm>
            <a:off x="838200" y="3916870"/>
            <a:ext cx="2362200" cy="1160511"/>
          </a:xfrm>
          <a:prstGeom prst="rect">
            <a:avLst/>
          </a:prstGeom>
          <a:noFill/>
        </p:spPr>
        <p:txBody>
          <a:bodyPr wrap="square" rtlCol="0">
            <a:spAutoFit/>
          </a:bodyPr>
          <a:lstStyle/>
          <a:p>
            <a:pPr>
              <a:lnSpc>
                <a:spcPct val="150000"/>
              </a:lnSpc>
            </a:pPr>
            <a:r>
              <a:rPr lang="pl-PL" sz="1600" b="0" i="0" dirty="0" err="1">
                <a:solidFill>
                  <a:srgbClr val="000000"/>
                </a:solidFill>
                <a:effectLst/>
                <a:latin typeface="Open Sans" panose="020B0606030504020204" pitchFamily="34" charset="0"/>
              </a:rPr>
              <a:t>Sed</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interdum</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tincidunt</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felis</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iaculis</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fringilla</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nisl</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ornare</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tempor</a:t>
            </a:r>
            <a:r>
              <a:rPr lang="pl-PL" sz="1600" b="0" i="0" dirty="0">
                <a:solidFill>
                  <a:srgbClr val="000000"/>
                </a:solidFill>
                <a:effectLst/>
                <a:latin typeface="Open Sans" panose="020B0606030504020204" pitchFamily="34" charset="0"/>
              </a:rPr>
              <a:t>.</a:t>
            </a:r>
            <a:endParaRPr lang="pl-PL" sz="1600" b="0" dirty="0"/>
          </a:p>
        </p:txBody>
      </p:sp>
      <p:sp>
        <p:nvSpPr>
          <p:cNvPr id="20" name="Prostokąt 19">
            <a:extLst>
              <a:ext uri="{FF2B5EF4-FFF2-40B4-BE49-F238E27FC236}">
                <a16:creationId xmlns:a16="http://schemas.microsoft.com/office/drawing/2014/main" id="{409181E6-AA59-4A61-AB8C-D1A204BDD408}"/>
              </a:ext>
            </a:extLst>
          </p:cNvPr>
          <p:cNvSpPr/>
          <p:nvPr userDrawn="1"/>
        </p:nvSpPr>
        <p:spPr>
          <a:xfrm>
            <a:off x="4648200" y="2286000"/>
            <a:ext cx="736092" cy="7360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3" name="Prostokąt 22">
            <a:extLst>
              <a:ext uri="{FF2B5EF4-FFF2-40B4-BE49-F238E27FC236}">
                <a16:creationId xmlns:a16="http://schemas.microsoft.com/office/drawing/2014/main" id="{BF32A5E1-CB30-4326-B3E6-5405520A91F4}"/>
              </a:ext>
            </a:extLst>
          </p:cNvPr>
          <p:cNvSpPr/>
          <p:nvPr userDrawn="1"/>
        </p:nvSpPr>
        <p:spPr>
          <a:xfrm>
            <a:off x="4572000" y="2362200"/>
            <a:ext cx="736092" cy="73609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4" name="pole tekstowe 23">
            <a:extLst>
              <a:ext uri="{FF2B5EF4-FFF2-40B4-BE49-F238E27FC236}">
                <a16:creationId xmlns:a16="http://schemas.microsoft.com/office/drawing/2014/main" id="{37B6FB2F-A097-4908-B232-8164EAC4951E}"/>
              </a:ext>
            </a:extLst>
          </p:cNvPr>
          <p:cNvSpPr txBox="1"/>
          <p:nvPr userDrawn="1"/>
        </p:nvSpPr>
        <p:spPr>
          <a:xfrm>
            <a:off x="4709922" y="2544615"/>
            <a:ext cx="624077" cy="338554"/>
          </a:xfrm>
          <a:prstGeom prst="rect">
            <a:avLst/>
          </a:prstGeom>
          <a:noFill/>
        </p:spPr>
        <p:txBody>
          <a:bodyPr wrap="square" rtlCol="0">
            <a:spAutoFit/>
          </a:bodyPr>
          <a:lstStyle/>
          <a:p>
            <a:pPr algn="ctr"/>
            <a:r>
              <a:rPr lang="pl-PL" sz="1600" b="1" dirty="0">
                <a:solidFill>
                  <a:schemeClr val="bg1"/>
                </a:solidFill>
              </a:rPr>
              <a:t>2.</a:t>
            </a:r>
          </a:p>
        </p:txBody>
      </p:sp>
      <p:sp>
        <p:nvSpPr>
          <p:cNvPr id="25" name="pole tekstowe 24">
            <a:extLst>
              <a:ext uri="{FF2B5EF4-FFF2-40B4-BE49-F238E27FC236}">
                <a16:creationId xmlns:a16="http://schemas.microsoft.com/office/drawing/2014/main" id="{6D882A8B-9D1D-41D9-94E5-8257E2D6477B}"/>
              </a:ext>
            </a:extLst>
          </p:cNvPr>
          <p:cNvSpPr txBox="1"/>
          <p:nvPr userDrawn="1"/>
        </p:nvSpPr>
        <p:spPr>
          <a:xfrm>
            <a:off x="4572000" y="3444068"/>
            <a:ext cx="2362200" cy="369332"/>
          </a:xfrm>
          <a:prstGeom prst="rect">
            <a:avLst/>
          </a:prstGeom>
          <a:noFill/>
        </p:spPr>
        <p:txBody>
          <a:bodyPr wrap="square" rtlCol="0">
            <a:spAutoFit/>
          </a:bodyPr>
          <a:lstStyle/>
          <a:p>
            <a:r>
              <a:rPr lang="pl-PL" b="1" dirty="0" err="1"/>
              <a:t>Lorem</a:t>
            </a:r>
            <a:r>
              <a:rPr lang="pl-PL" b="1" dirty="0"/>
              <a:t> </a:t>
            </a:r>
            <a:r>
              <a:rPr lang="pl-PL" b="1" dirty="0" err="1"/>
              <a:t>ipsum</a:t>
            </a:r>
            <a:endParaRPr lang="pl-PL" b="1" dirty="0"/>
          </a:p>
        </p:txBody>
      </p:sp>
      <p:sp>
        <p:nvSpPr>
          <p:cNvPr id="26" name="pole tekstowe 25">
            <a:extLst>
              <a:ext uri="{FF2B5EF4-FFF2-40B4-BE49-F238E27FC236}">
                <a16:creationId xmlns:a16="http://schemas.microsoft.com/office/drawing/2014/main" id="{349042E5-AE45-4D58-A6C5-3694A49F4E9C}"/>
              </a:ext>
            </a:extLst>
          </p:cNvPr>
          <p:cNvSpPr txBox="1"/>
          <p:nvPr userDrawn="1"/>
        </p:nvSpPr>
        <p:spPr>
          <a:xfrm>
            <a:off x="4572000" y="3916870"/>
            <a:ext cx="2362200" cy="1160511"/>
          </a:xfrm>
          <a:prstGeom prst="rect">
            <a:avLst/>
          </a:prstGeom>
          <a:noFill/>
        </p:spPr>
        <p:txBody>
          <a:bodyPr wrap="square" rtlCol="0">
            <a:spAutoFit/>
          </a:bodyPr>
          <a:lstStyle/>
          <a:p>
            <a:pPr>
              <a:lnSpc>
                <a:spcPct val="150000"/>
              </a:lnSpc>
            </a:pPr>
            <a:r>
              <a:rPr lang="pl-PL" sz="1600" b="0" i="0" dirty="0" err="1">
                <a:solidFill>
                  <a:srgbClr val="000000"/>
                </a:solidFill>
                <a:effectLst/>
                <a:latin typeface="Open Sans" panose="020B0606030504020204" pitchFamily="34" charset="0"/>
              </a:rPr>
              <a:t>Sed</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interdum</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tincidunt</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felis</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iaculis</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fringilla</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nisl</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ornare</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tempor</a:t>
            </a:r>
            <a:r>
              <a:rPr lang="pl-PL" sz="1600" b="0" i="0" dirty="0">
                <a:solidFill>
                  <a:srgbClr val="000000"/>
                </a:solidFill>
                <a:effectLst/>
                <a:latin typeface="Open Sans" panose="020B0606030504020204" pitchFamily="34" charset="0"/>
              </a:rPr>
              <a:t>.</a:t>
            </a:r>
            <a:endParaRPr lang="pl-PL" sz="1600" b="0" dirty="0"/>
          </a:p>
        </p:txBody>
      </p:sp>
      <p:sp>
        <p:nvSpPr>
          <p:cNvPr id="28" name="Prostokąt 27">
            <a:extLst>
              <a:ext uri="{FF2B5EF4-FFF2-40B4-BE49-F238E27FC236}">
                <a16:creationId xmlns:a16="http://schemas.microsoft.com/office/drawing/2014/main" id="{747392AA-AE7B-4F1F-888A-77CFFBF81579}"/>
              </a:ext>
            </a:extLst>
          </p:cNvPr>
          <p:cNvSpPr/>
          <p:nvPr userDrawn="1"/>
        </p:nvSpPr>
        <p:spPr>
          <a:xfrm>
            <a:off x="8458200" y="2286000"/>
            <a:ext cx="736092" cy="7360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9" name="Prostokąt 28">
            <a:extLst>
              <a:ext uri="{FF2B5EF4-FFF2-40B4-BE49-F238E27FC236}">
                <a16:creationId xmlns:a16="http://schemas.microsoft.com/office/drawing/2014/main" id="{A431510E-4A9E-4CC0-A9CC-E60A09B1EB71}"/>
              </a:ext>
            </a:extLst>
          </p:cNvPr>
          <p:cNvSpPr/>
          <p:nvPr userDrawn="1"/>
        </p:nvSpPr>
        <p:spPr>
          <a:xfrm>
            <a:off x="8382000" y="2362200"/>
            <a:ext cx="736092" cy="73609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0" name="pole tekstowe 29">
            <a:extLst>
              <a:ext uri="{FF2B5EF4-FFF2-40B4-BE49-F238E27FC236}">
                <a16:creationId xmlns:a16="http://schemas.microsoft.com/office/drawing/2014/main" id="{32676F8E-C7FD-4300-ACBA-458277E3F693}"/>
              </a:ext>
            </a:extLst>
          </p:cNvPr>
          <p:cNvSpPr txBox="1"/>
          <p:nvPr userDrawn="1"/>
        </p:nvSpPr>
        <p:spPr>
          <a:xfrm>
            <a:off x="8519922" y="2544615"/>
            <a:ext cx="624077" cy="338554"/>
          </a:xfrm>
          <a:prstGeom prst="rect">
            <a:avLst/>
          </a:prstGeom>
          <a:noFill/>
        </p:spPr>
        <p:txBody>
          <a:bodyPr wrap="square" rtlCol="0">
            <a:spAutoFit/>
          </a:bodyPr>
          <a:lstStyle/>
          <a:p>
            <a:pPr algn="ctr"/>
            <a:r>
              <a:rPr lang="pl-PL" sz="1600" b="1" dirty="0">
                <a:solidFill>
                  <a:schemeClr val="bg1"/>
                </a:solidFill>
              </a:rPr>
              <a:t>3.</a:t>
            </a:r>
          </a:p>
        </p:txBody>
      </p:sp>
      <p:sp>
        <p:nvSpPr>
          <p:cNvPr id="31" name="pole tekstowe 30">
            <a:extLst>
              <a:ext uri="{FF2B5EF4-FFF2-40B4-BE49-F238E27FC236}">
                <a16:creationId xmlns:a16="http://schemas.microsoft.com/office/drawing/2014/main" id="{D70ED464-9253-4AC1-84E7-2D6332D9A61A}"/>
              </a:ext>
            </a:extLst>
          </p:cNvPr>
          <p:cNvSpPr txBox="1"/>
          <p:nvPr userDrawn="1"/>
        </p:nvSpPr>
        <p:spPr>
          <a:xfrm>
            <a:off x="8382000" y="3444068"/>
            <a:ext cx="2362200" cy="369332"/>
          </a:xfrm>
          <a:prstGeom prst="rect">
            <a:avLst/>
          </a:prstGeom>
          <a:noFill/>
        </p:spPr>
        <p:txBody>
          <a:bodyPr wrap="square" rtlCol="0">
            <a:spAutoFit/>
          </a:bodyPr>
          <a:lstStyle/>
          <a:p>
            <a:r>
              <a:rPr lang="pl-PL" b="1" dirty="0" err="1"/>
              <a:t>Lorem</a:t>
            </a:r>
            <a:r>
              <a:rPr lang="pl-PL" b="1" dirty="0"/>
              <a:t> </a:t>
            </a:r>
            <a:r>
              <a:rPr lang="pl-PL" b="1" dirty="0" err="1"/>
              <a:t>ipsum</a:t>
            </a:r>
            <a:endParaRPr lang="pl-PL" b="1" dirty="0"/>
          </a:p>
        </p:txBody>
      </p:sp>
      <p:sp>
        <p:nvSpPr>
          <p:cNvPr id="32" name="pole tekstowe 31">
            <a:extLst>
              <a:ext uri="{FF2B5EF4-FFF2-40B4-BE49-F238E27FC236}">
                <a16:creationId xmlns:a16="http://schemas.microsoft.com/office/drawing/2014/main" id="{EEDBF896-1A96-491F-B9D1-6E1B4BDEB3BD}"/>
              </a:ext>
            </a:extLst>
          </p:cNvPr>
          <p:cNvSpPr txBox="1"/>
          <p:nvPr userDrawn="1"/>
        </p:nvSpPr>
        <p:spPr>
          <a:xfrm>
            <a:off x="8382000" y="3916870"/>
            <a:ext cx="2362200" cy="1160511"/>
          </a:xfrm>
          <a:prstGeom prst="rect">
            <a:avLst/>
          </a:prstGeom>
          <a:noFill/>
        </p:spPr>
        <p:txBody>
          <a:bodyPr wrap="square" rtlCol="0">
            <a:spAutoFit/>
          </a:bodyPr>
          <a:lstStyle/>
          <a:p>
            <a:pPr>
              <a:lnSpc>
                <a:spcPct val="150000"/>
              </a:lnSpc>
            </a:pPr>
            <a:r>
              <a:rPr lang="pl-PL" sz="1600" b="0" i="0" dirty="0" err="1">
                <a:solidFill>
                  <a:srgbClr val="000000"/>
                </a:solidFill>
                <a:effectLst/>
                <a:latin typeface="Open Sans" panose="020B0606030504020204" pitchFamily="34" charset="0"/>
              </a:rPr>
              <a:t>Sed</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interdum</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tincidunt</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felis</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iaculis</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fringilla</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nisl</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ornare</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tempor</a:t>
            </a:r>
            <a:r>
              <a:rPr lang="pl-PL" sz="1600" b="0" i="0" dirty="0">
                <a:solidFill>
                  <a:srgbClr val="000000"/>
                </a:solidFill>
                <a:effectLst/>
                <a:latin typeface="Open Sans" panose="020B0606030504020204" pitchFamily="34" charset="0"/>
              </a:rPr>
              <a:t>.</a:t>
            </a:r>
            <a:endParaRPr lang="pl-PL" sz="1600" b="0" dirty="0"/>
          </a:p>
        </p:txBody>
      </p:sp>
      <p:cxnSp>
        <p:nvCxnSpPr>
          <p:cNvPr id="12" name="Łącznik prosty ze strzałką 11">
            <a:extLst>
              <a:ext uri="{FF2B5EF4-FFF2-40B4-BE49-F238E27FC236}">
                <a16:creationId xmlns:a16="http://schemas.microsoft.com/office/drawing/2014/main" id="{4B1995EC-EA37-4AC1-968F-C48074EEBDF7}"/>
              </a:ext>
            </a:extLst>
          </p:cNvPr>
          <p:cNvCxnSpPr/>
          <p:nvPr userDrawn="1"/>
        </p:nvCxnSpPr>
        <p:spPr>
          <a:xfrm flipV="1">
            <a:off x="1828800" y="2713892"/>
            <a:ext cx="2514600" cy="1635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3" name="Łącznik prosty ze strzałką 32">
            <a:extLst>
              <a:ext uri="{FF2B5EF4-FFF2-40B4-BE49-F238E27FC236}">
                <a16:creationId xmlns:a16="http://schemas.microsoft.com/office/drawing/2014/main" id="{D275B38A-2081-4FFE-B823-005113790516}"/>
              </a:ext>
            </a:extLst>
          </p:cNvPr>
          <p:cNvCxnSpPr/>
          <p:nvPr userDrawn="1"/>
        </p:nvCxnSpPr>
        <p:spPr>
          <a:xfrm flipV="1">
            <a:off x="5625846" y="2718328"/>
            <a:ext cx="2514600" cy="1635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5" name="Tytuł 1">
            <a:extLst>
              <a:ext uri="{FF2B5EF4-FFF2-40B4-BE49-F238E27FC236}">
                <a16:creationId xmlns:a16="http://schemas.microsoft.com/office/drawing/2014/main" id="{87110D12-4737-44A7-8F42-377D17B85338}"/>
              </a:ext>
            </a:extLst>
          </p:cNvPr>
          <p:cNvSpPr>
            <a:spLocks noGrp="1"/>
          </p:cNvSpPr>
          <p:nvPr>
            <p:ph type="title" idx="10"/>
          </p:nvPr>
        </p:nvSpPr>
        <p:spPr>
          <a:xfrm>
            <a:off x="838200" y="668214"/>
            <a:ext cx="10515600" cy="1008186"/>
          </a:xfrm>
          <a:prstGeom prst="rect">
            <a:avLst/>
          </a:prstGeom>
        </p:spPr>
        <p:txBody>
          <a:bodyPr vert="horz" rtlCol="0" anchor="t">
            <a:normAutofit/>
          </a:bodyPr>
          <a:lstStyle>
            <a:lvl1pPr lvl="0">
              <a:defRPr lang="en-US" sz="3000" b="1" i="0" dirty="0">
                <a:solidFill>
                  <a:schemeClr val="accent1"/>
                </a:solidFill>
                <a:latin typeface="+mj-lt"/>
              </a:defRPr>
            </a:lvl1pPr>
          </a:lstStyle>
          <a:p>
            <a:r>
              <a:rPr lang="en-US" dirty="0"/>
              <a:t>Kliknij, aby edytować styl</a:t>
            </a:r>
          </a:p>
        </p:txBody>
      </p:sp>
    </p:spTree>
    <p:extLst>
      <p:ext uri="{BB962C8B-B14F-4D97-AF65-F5344CB8AC3E}">
        <p14:creationId xmlns:p14="http://schemas.microsoft.com/office/powerpoint/2010/main" val="18789677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Tytuł i zawartoś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ytuł 1"/>
          <p:cNvSpPr>
            <a:spLocks noGrp="1"/>
          </p:cNvSpPr>
          <p:nvPr>
            <p:ph type="title" idx="10"/>
          </p:nvPr>
        </p:nvSpPr>
        <p:spPr>
          <a:xfrm>
            <a:off x="838200" y="668214"/>
            <a:ext cx="10515600" cy="1008186"/>
          </a:xfrm>
          <a:prstGeom prst="rect">
            <a:avLst/>
          </a:prstGeom>
        </p:spPr>
        <p:txBody>
          <a:bodyPr vert="horz" rtlCol="0" anchor="t">
            <a:normAutofit/>
          </a:bodyPr>
          <a:lstStyle>
            <a:lvl1pPr lvl="0">
              <a:defRPr lang="en-US" sz="3000" b="1" i="0" dirty="0">
                <a:solidFill>
                  <a:schemeClr val="accent1"/>
                </a:solidFill>
                <a:latin typeface="+mj-lt"/>
              </a:defRPr>
            </a:lvl1pPr>
          </a:lstStyle>
          <a:p>
            <a:r>
              <a:rPr lang="en-US" dirty="0"/>
              <a:t>Kliknij, aby edytować styl</a:t>
            </a:r>
          </a:p>
        </p:txBody>
      </p:sp>
      <p:sp>
        <p:nvSpPr>
          <p:cNvPr id="4" name="Prostokąt 3">
            <a:extLst>
              <a:ext uri="{FF2B5EF4-FFF2-40B4-BE49-F238E27FC236}">
                <a16:creationId xmlns:a16="http://schemas.microsoft.com/office/drawing/2014/main" id="{2C3BEB63-2A8F-49E6-8F75-D561E16FF7E9}"/>
              </a:ext>
            </a:extLst>
          </p:cNvPr>
          <p:cNvSpPr/>
          <p:nvPr userDrawn="1"/>
        </p:nvSpPr>
        <p:spPr>
          <a:xfrm>
            <a:off x="914400" y="2286000"/>
            <a:ext cx="736092" cy="7360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6" name="Prostokąt 5">
            <a:extLst>
              <a:ext uri="{FF2B5EF4-FFF2-40B4-BE49-F238E27FC236}">
                <a16:creationId xmlns:a16="http://schemas.microsoft.com/office/drawing/2014/main" id="{A68961A3-00E2-40EC-9905-B0699536FB28}"/>
              </a:ext>
            </a:extLst>
          </p:cNvPr>
          <p:cNvSpPr/>
          <p:nvPr userDrawn="1"/>
        </p:nvSpPr>
        <p:spPr>
          <a:xfrm>
            <a:off x="838200" y="2362200"/>
            <a:ext cx="736092" cy="73609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7" name="pole tekstowe 6">
            <a:extLst>
              <a:ext uri="{FF2B5EF4-FFF2-40B4-BE49-F238E27FC236}">
                <a16:creationId xmlns:a16="http://schemas.microsoft.com/office/drawing/2014/main" id="{536F50E5-C868-4097-80FC-C96118F96134}"/>
              </a:ext>
            </a:extLst>
          </p:cNvPr>
          <p:cNvSpPr txBox="1"/>
          <p:nvPr userDrawn="1"/>
        </p:nvSpPr>
        <p:spPr>
          <a:xfrm>
            <a:off x="976122" y="2544615"/>
            <a:ext cx="624077" cy="338554"/>
          </a:xfrm>
          <a:prstGeom prst="rect">
            <a:avLst/>
          </a:prstGeom>
          <a:noFill/>
        </p:spPr>
        <p:txBody>
          <a:bodyPr wrap="square" rtlCol="0">
            <a:spAutoFit/>
          </a:bodyPr>
          <a:lstStyle/>
          <a:p>
            <a:pPr algn="ctr"/>
            <a:r>
              <a:rPr lang="pl-PL" sz="1600" b="1" dirty="0">
                <a:solidFill>
                  <a:schemeClr val="bg1"/>
                </a:solidFill>
              </a:rPr>
              <a:t>1.</a:t>
            </a:r>
          </a:p>
        </p:txBody>
      </p:sp>
      <p:sp>
        <p:nvSpPr>
          <p:cNvPr id="3" name="pole tekstowe 2">
            <a:extLst>
              <a:ext uri="{FF2B5EF4-FFF2-40B4-BE49-F238E27FC236}">
                <a16:creationId xmlns:a16="http://schemas.microsoft.com/office/drawing/2014/main" id="{E6225085-E508-4BB1-96A9-972A39DC4DBD}"/>
              </a:ext>
            </a:extLst>
          </p:cNvPr>
          <p:cNvSpPr txBox="1"/>
          <p:nvPr userDrawn="1"/>
        </p:nvSpPr>
        <p:spPr>
          <a:xfrm>
            <a:off x="838200" y="3444068"/>
            <a:ext cx="2362200" cy="369332"/>
          </a:xfrm>
          <a:prstGeom prst="rect">
            <a:avLst/>
          </a:prstGeom>
          <a:noFill/>
        </p:spPr>
        <p:txBody>
          <a:bodyPr wrap="square" rtlCol="0">
            <a:spAutoFit/>
          </a:bodyPr>
          <a:lstStyle/>
          <a:p>
            <a:r>
              <a:rPr lang="pl-PL" b="1" dirty="0" err="1"/>
              <a:t>Lorem</a:t>
            </a:r>
            <a:r>
              <a:rPr lang="pl-PL" b="1" dirty="0"/>
              <a:t> </a:t>
            </a:r>
            <a:r>
              <a:rPr lang="pl-PL" b="1" dirty="0" err="1"/>
              <a:t>ipsum</a:t>
            </a:r>
            <a:endParaRPr lang="pl-PL" b="1" dirty="0"/>
          </a:p>
        </p:txBody>
      </p:sp>
      <p:sp>
        <p:nvSpPr>
          <p:cNvPr id="5" name="pole tekstowe 4">
            <a:extLst>
              <a:ext uri="{FF2B5EF4-FFF2-40B4-BE49-F238E27FC236}">
                <a16:creationId xmlns:a16="http://schemas.microsoft.com/office/drawing/2014/main" id="{9117E98D-F6E7-47DB-A280-D3B2482979D8}"/>
              </a:ext>
            </a:extLst>
          </p:cNvPr>
          <p:cNvSpPr txBox="1"/>
          <p:nvPr userDrawn="1"/>
        </p:nvSpPr>
        <p:spPr>
          <a:xfrm>
            <a:off x="838200" y="3916870"/>
            <a:ext cx="2362200" cy="1529842"/>
          </a:xfrm>
          <a:prstGeom prst="rect">
            <a:avLst/>
          </a:prstGeom>
          <a:noFill/>
        </p:spPr>
        <p:txBody>
          <a:bodyPr wrap="square" rtlCol="0">
            <a:spAutoFit/>
          </a:bodyPr>
          <a:lstStyle/>
          <a:p>
            <a:pPr marL="285750" indent="-285750">
              <a:lnSpc>
                <a:spcPct val="150000"/>
              </a:lnSpc>
              <a:buClr>
                <a:schemeClr val="accent1"/>
              </a:buClr>
              <a:buFont typeface="Wingdings" panose="05000000000000000000" pitchFamily="2" charset="2"/>
              <a:buChar char="§"/>
            </a:pPr>
            <a:r>
              <a:rPr lang="pl-PL" sz="1600" b="0" i="0" dirty="0" err="1">
                <a:solidFill>
                  <a:srgbClr val="000000"/>
                </a:solidFill>
                <a:effectLst/>
                <a:latin typeface="Open Sans" panose="020B0606030504020204" pitchFamily="34" charset="0"/>
              </a:rPr>
              <a:t>Sed</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interdum</a:t>
            </a:r>
            <a:endParaRPr lang="pl-PL" sz="1600" b="0" i="0" dirty="0">
              <a:solidFill>
                <a:srgbClr val="000000"/>
              </a:solidFill>
              <a:effectLst/>
              <a:latin typeface="Open Sans" panose="020B0606030504020204" pitchFamily="34" charset="0"/>
            </a:endParaRPr>
          </a:p>
          <a:p>
            <a:pPr marL="285750" indent="-285750">
              <a:lnSpc>
                <a:spcPct val="150000"/>
              </a:lnSpc>
              <a:buClr>
                <a:schemeClr val="accent1"/>
              </a:buClr>
              <a:buFont typeface="Wingdings" panose="05000000000000000000" pitchFamily="2" charset="2"/>
              <a:buChar char="§"/>
            </a:pPr>
            <a:r>
              <a:rPr lang="pl-PL" sz="1600" b="0" i="0" dirty="0" err="1">
                <a:solidFill>
                  <a:srgbClr val="000000"/>
                </a:solidFill>
                <a:effectLst/>
                <a:latin typeface="Open Sans" panose="020B0606030504020204" pitchFamily="34" charset="0"/>
              </a:rPr>
              <a:t>tincidunt</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felis</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iaculis</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fringilla</a:t>
            </a:r>
            <a:r>
              <a:rPr lang="pl-PL" sz="1600" b="0" i="0" dirty="0">
                <a:solidFill>
                  <a:srgbClr val="000000"/>
                </a:solidFill>
                <a:effectLst/>
                <a:latin typeface="Open Sans" panose="020B0606030504020204" pitchFamily="34" charset="0"/>
              </a:rPr>
              <a:t> </a:t>
            </a:r>
          </a:p>
          <a:p>
            <a:pPr marL="285750" indent="-285750">
              <a:lnSpc>
                <a:spcPct val="150000"/>
              </a:lnSpc>
              <a:buClr>
                <a:schemeClr val="accent1"/>
              </a:buClr>
              <a:buFont typeface="Wingdings" panose="05000000000000000000" pitchFamily="2" charset="2"/>
              <a:buChar char="§"/>
            </a:pPr>
            <a:r>
              <a:rPr lang="pl-PL" sz="1600" b="0" i="0" dirty="0" err="1">
                <a:solidFill>
                  <a:srgbClr val="000000"/>
                </a:solidFill>
                <a:effectLst/>
                <a:latin typeface="Open Sans" panose="020B0606030504020204" pitchFamily="34" charset="0"/>
              </a:rPr>
              <a:t>nisl</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ornare</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tempor</a:t>
            </a:r>
            <a:r>
              <a:rPr lang="pl-PL" sz="1600" b="0" i="0" dirty="0">
                <a:solidFill>
                  <a:srgbClr val="000000"/>
                </a:solidFill>
                <a:effectLst/>
                <a:latin typeface="Open Sans" panose="020B0606030504020204" pitchFamily="34" charset="0"/>
              </a:rPr>
              <a:t>.</a:t>
            </a:r>
            <a:endParaRPr lang="pl-PL" sz="1600" b="0" dirty="0"/>
          </a:p>
        </p:txBody>
      </p:sp>
      <p:sp>
        <p:nvSpPr>
          <p:cNvPr id="20" name="Prostokąt 19">
            <a:extLst>
              <a:ext uri="{FF2B5EF4-FFF2-40B4-BE49-F238E27FC236}">
                <a16:creationId xmlns:a16="http://schemas.microsoft.com/office/drawing/2014/main" id="{409181E6-AA59-4A61-AB8C-D1A204BDD408}"/>
              </a:ext>
            </a:extLst>
          </p:cNvPr>
          <p:cNvSpPr/>
          <p:nvPr userDrawn="1"/>
        </p:nvSpPr>
        <p:spPr>
          <a:xfrm>
            <a:off x="4648200" y="2286000"/>
            <a:ext cx="736092" cy="7360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3" name="Prostokąt 22">
            <a:extLst>
              <a:ext uri="{FF2B5EF4-FFF2-40B4-BE49-F238E27FC236}">
                <a16:creationId xmlns:a16="http://schemas.microsoft.com/office/drawing/2014/main" id="{BF32A5E1-CB30-4326-B3E6-5405520A91F4}"/>
              </a:ext>
            </a:extLst>
          </p:cNvPr>
          <p:cNvSpPr/>
          <p:nvPr userDrawn="1"/>
        </p:nvSpPr>
        <p:spPr>
          <a:xfrm>
            <a:off x="4572000" y="2362200"/>
            <a:ext cx="736092" cy="73609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4" name="pole tekstowe 23">
            <a:extLst>
              <a:ext uri="{FF2B5EF4-FFF2-40B4-BE49-F238E27FC236}">
                <a16:creationId xmlns:a16="http://schemas.microsoft.com/office/drawing/2014/main" id="{37B6FB2F-A097-4908-B232-8164EAC4951E}"/>
              </a:ext>
            </a:extLst>
          </p:cNvPr>
          <p:cNvSpPr txBox="1"/>
          <p:nvPr userDrawn="1"/>
        </p:nvSpPr>
        <p:spPr>
          <a:xfrm>
            <a:off x="4709922" y="2544615"/>
            <a:ext cx="624077" cy="338554"/>
          </a:xfrm>
          <a:prstGeom prst="rect">
            <a:avLst/>
          </a:prstGeom>
          <a:noFill/>
        </p:spPr>
        <p:txBody>
          <a:bodyPr wrap="square" rtlCol="0">
            <a:spAutoFit/>
          </a:bodyPr>
          <a:lstStyle/>
          <a:p>
            <a:pPr algn="ctr"/>
            <a:r>
              <a:rPr lang="pl-PL" sz="1600" b="1" dirty="0">
                <a:solidFill>
                  <a:schemeClr val="bg1"/>
                </a:solidFill>
              </a:rPr>
              <a:t>2.</a:t>
            </a:r>
          </a:p>
        </p:txBody>
      </p:sp>
      <p:sp>
        <p:nvSpPr>
          <p:cNvPr id="25" name="pole tekstowe 24">
            <a:extLst>
              <a:ext uri="{FF2B5EF4-FFF2-40B4-BE49-F238E27FC236}">
                <a16:creationId xmlns:a16="http://schemas.microsoft.com/office/drawing/2014/main" id="{6D882A8B-9D1D-41D9-94E5-8257E2D6477B}"/>
              </a:ext>
            </a:extLst>
          </p:cNvPr>
          <p:cNvSpPr txBox="1"/>
          <p:nvPr userDrawn="1"/>
        </p:nvSpPr>
        <p:spPr>
          <a:xfrm>
            <a:off x="4572000" y="3444068"/>
            <a:ext cx="2362200" cy="369332"/>
          </a:xfrm>
          <a:prstGeom prst="rect">
            <a:avLst/>
          </a:prstGeom>
          <a:noFill/>
        </p:spPr>
        <p:txBody>
          <a:bodyPr wrap="square" rtlCol="0">
            <a:spAutoFit/>
          </a:bodyPr>
          <a:lstStyle/>
          <a:p>
            <a:r>
              <a:rPr lang="pl-PL" b="1" dirty="0" err="1"/>
              <a:t>Lorem</a:t>
            </a:r>
            <a:r>
              <a:rPr lang="pl-PL" b="1" dirty="0"/>
              <a:t> </a:t>
            </a:r>
            <a:r>
              <a:rPr lang="pl-PL" b="1" dirty="0" err="1"/>
              <a:t>ipsum</a:t>
            </a:r>
            <a:endParaRPr lang="pl-PL" b="1" dirty="0"/>
          </a:p>
        </p:txBody>
      </p:sp>
      <p:sp>
        <p:nvSpPr>
          <p:cNvPr id="28" name="Prostokąt 27">
            <a:extLst>
              <a:ext uri="{FF2B5EF4-FFF2-40B4-BE49-F238E27FC236}">
                <a16:creationId xmlns:a16="http://schemas.microsoft.com/office/drawing/2014/main" id="{747392AA-AE7B-4F1F-888A-77CFFBF81579}"/>
              </a:ext>
            </a:extLst>
          </p:cNvPr>
          <p:cNvSpPr/>
          <p:nvPr userDrawn="1"/>
        </p:nvSpPr>
        <p:spPr>
          <a:xfrm>
            <a:off x="8458200" y="2286000"/>
            <a:ext cx="736092" cy="7360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9" name="Prostokąt 28">
            <a:extLst>
              <a:ext uri="{FF2B5EF4-FFF2-40B4-BE49-F238E27FC236}">
                <a16:creationId xmlns:a16="http://schemas.microsoft.com/office/drawing/2014/main" id="{A431510E-4A9E-4CC0-A9CC-E60A09B1EB71}"/>
              </a:ext>
            </a:extLst>
          </p:cNvPr>
          <p:cNvSpPr/>
          <p:nvPr userDrawn="1"/>
        </p:nvSpPr>
        <p:spPr>
          <a:xfrm>
            <a:off x="8382000" y="2362200"/>
            <a:ext cx="736092" cy="73609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0" name="pole tekstowe 29">
            <a:extLst>
              <a:ext uri="{FF2B5EF4-FFF2-40B4-BE49-F238E27FC236}">
                <a16:creationId xmlns:a16="http://schemas.microsoft.com/office/drawing/2014/main" id="{32676F8E-C7FD-4300-ACBA-458277E3F693}"/>
              </a:ext>
            </a:extLst>
          </p:cNvPr>
          <p:cNvSpPr txBox="1"/>
          <p:nvPr userDrawn="1"/>
        </p:nvSpPr>
        <p:spPr>
          <a:xfrm>
            <a:off x="8519922" y="2544615"/>
            <a:ext cx="624077" cy="338554"/>
          </a:xfrm>
          <a:prstGeom prst="rect">
            <a:avLst/>
          </a:prstGeom>
          <a:noFill/>
        </p:spPr>
        <p:txBody>
          <a:bodyPr wrap="square" rtlCol="0">
            <a:spAutoFit/>
          </a:bodyPr>
          <a:lstStyle/>
          <a:p>
            <a:pPr algn="ctr"/>
            <a:r>
              <a:rPr lang="pl-PL" sz="1600" b="1" dirty="0">
                <a:solidFill>
                  <a:schemeClr val="bg1"/>
                </a:solidFill>
              </a:rPr>
              <a:t>3.</a:t>
            </a:r>
          </a:p>
        </p:txBody>
      </p:sp>
      <p:sp>
        <p:nvSpPr>
          <p:cNvPr id="31" name="pole tekstowe 30">
            <a:extLst>
              <a:ext uri="{FF2B5EF4-FFF2-40B4-BE49-F238E27FC236}">
                <a16:creationId xmlns:a16="http://schemas.microsoft.com/office/drawing/2014/main" id="{D70ED464-9253-4AC1-84E7-2D6332D9A61A}"/>
              </a:ext>
            </a:extLst>
          </p:cNvPr>
          <p:cNvSpPr txBox="1"/>
          <p:nvPr userDrawn="1"/>
        </p:nvSpPr>
        <p:spPr>
          <a:xfrm>
            <a:off x="8382000" y="3444068"/>
            <a:ext cx="2362200" cy="369332"/>
          </a:xfrm>
          <a:prstGeom prst="rect">
            <a:avLst/>
          </a:prstGeom>
          <a:noFill/>
        </p:spPr>
        <p:txBody>
          <a:bodyPr wrap="square" rtlCol="0">
            <a:spAutoFit/>
          </a:bodyPr>
          <a:lstStyle/>
          <a:p>
            <a:r>
              <a:rPr lang="pl-PL" b="1" dirty="0" err="1"/>
              <a:t>Lorem</a:t>
            </a:r>
            <a:r>
              <a:rPr lang="pl-PL" b="1" dirty="0"/>
              <a:t> </a:t>
            </a:r>
            <a:r>
              <a:rPr lang="pl-PL" b="1" dirty="0" err="1"/>
              <a:t>ipsum</a:t>
            </a:r>
            <a:endParaRPr lang="pl-PL" b="1" dirty="0"/>
          </a:p>
        </p:txBody>
      </p:sp>
      <p:cxnSp>
        <p:nvCxnSpPr>
          <p:cNvPr id="12" name="Łącznik prosty ze strzałką 11">
            <a:extLst>
              <a:ext uri="{FF2B5EF4-FFF2-40B4-BE49-F238E27FC236}">
                <a16:creationId xmlns:a16="http://schemas.microsoft.com/office/drawing/2014/main" id="{4B1995EC-EA37-4AC1-968F-C48074EEBDF7}"/>
              </a:ext>
            </a:extLst>
          </p:cNvPr>
          <p:cNvCxnSpPr/>
          <p:nvPr userDrawn="1"/>
        </p:nvCxnSpPr>
        <p:spPr>
          <a:xfrm flipV="1">
            <a:off x="1828800" y="2713892"/>
            <a:ext cx="2514600" cy="1635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3" name="Łącznik prosty ze strzałką 32">
            <a:extLst>
              <a:ext uri="{FF2B5EF4-FFF2-40B4-BE49-F238E27FC236}">
                <a16:creationId xmlns:a16="http://schemas.microsoft.com/office/drawing/2014/main" id="{D275B38A-2081-4FFE-B823-005113790516}"/>
              </a:ext>
            </a:extLst>
          </p:cNvPr>
          <p:cNvCxnSpPr/>
          <p:nvPr userDrawn="1"/>
        </p:nvCxnSpPr>
        <p:spPr>
          <a:xfrm flipV="1">
            <a:off x="5625846" y="2718328"/>
            <a:ext cx="2514600" cy="1635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8" name="pole tekstowe 7">
            <a:extLst>
              <a:ext uri="{FF2B5EF4-FFF2-40B4-BE49-F238E27FC236}">
                <a16:creationId xmlns:a16="http://schemas.microsoft.com/office/drawing/2014/main" id="{BC154625-824B-4CD4-9937-3EB2D9B7E1A7}"/>
              </a:ext>
            </a:extLst>
          </p:cNvPr>
          <p:cNvSpPr txBox="1"/>
          <p:nvPr userDrawn="1"/>
        </p:nvSpPr>
        <p:spPr>
          <a:xfrm>
            <a:off x="4550493" y="3923009"/>
            <a:ext cx="2362200" cy="1529842"/>
          </a:xfrm>
          <a:prstGeom prst="rect">
            <a:avLst/>
          </a:prstGeom>
        </p:spPr>
        <p:txBody>
          <a:bodyPr wrap="square" rtlCol="0">
            <a:spAutoFit/>
          </a:bodyPr>
          <a:lstStyle/>
          <a:p>
            <a:pPr marL="285750" indent="-285750">
              <a:lnSpc>
                <a:spcPct val="150000"/>
              </a:lnSpc>
              <a:buClr>
                <a:schemeClr val="accent1"/>
              </a:buClr>
              <a:buFont typeface="Wingdings" panose="05000000000000000000" pitchFamily="2" charset="2"/>
              <a:buChar char="§"/>
            </a:pPr>
            <a:r>
              <a:rPr lang="pl-PL" sz="1600" b="0" i="0" dirty="0" err="1">
                <a:solidFill>
                  <a:srgbClr val="000000"/>
                </a:solidFill>
                <a:effectLst/>
                <a:latin typeface="Open Sans" panose="020B0606030504020204" pitchFamily="34" charset="0"/>
              </a:rPr>
              <a:t>Sed</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interdum</a:t>
            </a:r>
            <a:endParaRPr lang="pl-PL" sz="1600" b="0" i="0" dirty="0">
              <a:solidFill>
                <a:srgbClr val="000000"/>
              </a:solidFill>
              <a:effectLst/>
              <a:latin typeface="Open Sans" panose="020B0606030504020204" pitchFamily="34" charset="0"/>
            </a:endParaRPr>
          </a:p>
          <a:p>
            <a:pPr marL="285750" indent="-285750">
              <a:lnSpc>
                <a:spcPct val="150000"/>
              </a:lnSpc>
              <a:buClr>
                <a:schemeClr val="accent1"/>
              </a:buClr>
              <a:buFont typeface="Wingdings" panose="05000000000000000000" pitchFamily="2" charset="2"/>
              <a:buChar char="§"/>
            </a:pPr>
            <a:r>
              <a:rPr lang="pl-PL" sz="1600" b="0" i="0" dirty="0" err="1">
                <a:solidFill>
                  <a:srgbClr val="000000"/>
                </a:solidFill>
                <a:effectLst/>
                <a:latin typeface="Open Sans" panose="020B0606030504020204" pitchFamily="34" charset="0"/>
              </a:rPr>
              <a:t>tincidunt</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felis</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iaculis</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fringilla</a:t>
            </a:r>
            <a:r>
              <a:rPr lang="pl-PL" sz="1600" b="0" i="0" dirty="0">
                <a:solidFill>
                  <a:srgbClr val="000000"/>
                </a:solidFill>
                <a:effectLst/>
                <a:latin typeface="Open Sans" panose="020B0606030504020204" pitchFamily="34" charset="0"/>
              </a:rPr>
              <a:t> </a:t>
            </a:r>
          </a:p>
          <a:p>
            <a:pPr marL="285750" indent="-285750">
              <a:lnSpc>
                <a:spcPct val="150000"/>
              </a:lnSpc>
              <a:buClr>
                <a:schemeClr val="accent1"/>
              </a:buClr>
              <a:buFont typeface="Wingdings" panose="05000000000000000000" pitchFamily="2" charset="2"/>
              <a:buChar char="§"/>
            </a:pPr>
            <a:r>
              <a:rPr lang="pl-PL" sz="1600" b="0" i="0" dirty="0" err="1">
                <a:solidFill>
                  <a:srgbClr val="000000"/>
                </a:solidFill>
                <a:effectLst/>
                <a:latin typeface="Open Sans" panose="020B0606030504020204" pitchFamily="34" charset="0"/>
              </a:rPr>
              <a:t>nisl</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ornare</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tempor</a:t>
            </a:r>
            <a:r>
              <a:rPr lang="pl-PL" sz="1600" b="0" i="0" dirty="0">
                <a:solidFill>
                  <a:srgbClr val="000000"/>
                </a:solidFill>
                <a:effectLst/>
                <a:latin typeface="Open Sans" panose="020B0606030504020204" pitchFamily="34" charset="0"/>
              </a:rPr>
              <a:t>.</a:t>
            </a:r>
            <a:endParaRPr lang="pl-PL" sz="1600" b="0" dirty="0"/>
          </a:p>
        </p:txBody>
      </p:sp>
      <p:sp>
        <p:nvSpPr>
          <p:cNvPr id="9" name="pole tekstowe 8">
            <a:extLst>
              <a:ext uri="{FF2B5EF4-FFF2-40B4-BE49-F238E27FC236}">
                <a16:creationId xmlns:a16="http://schemas.microsoft.com/office/drawing/2014/main" id="{932A2852-E3D2-4C20-9F43-5BFA4DDD864F}"/>
              </a:ext>
            </a:extLst>
          </p:cNvPr>
          <p:cNvSpPr txBox="1"/>
          <p:nvPr userDrawn="1"/>
        </p:nvSpPr>
        <p:spPr>
          <a:xfrm>
            <a:off x="8382000" y="3916870"/>
            <a:ext cx="2362200" cy="1529842"/>
          </a:xfrm>
          <a:prstGeom prst="rect">
            <a:avLst/>
          </a:prstGeom>
          <a:noFill/>
        </p:spPr>
        <p:txBody>
          <a:bodyPr wrap="square" rtlCol="0">
            <a:spAutoFit/>
          </a:bodyPr>
          <a:lstStyle/>
          <a:p>
            <a:pPr marL="285750" indent="-285750">
              <a:lnSpc>
                <a:spcPct val="150000"/>
              </a:lnSpc>
              <a:buClr>
                <a:schemeClr val="accent1"/>
              </a:buClr>
              <a:buFont typeface="Wingdings" panose="05000000000000000000" pitchFamily="2" charset="2"/>
              <a:buChar char="§"/>
            </a:pPr>
            <a:r>
              <a:rPr lang="pl-PL" sz="1600" b="0" i="0" dirty="0" err="1">
                <a:solidFill>
                  <a:srgbClr val="000000"/>
                </a:solidFill>
                <a:effectLst/>
                <a:latin typeface="Open Sans" panose="020B0606030504020204" pitchFamily="34" charset="0"/>
              </a:rPr>
              <a:t>Sed</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interdum</a:t>
            </a:r>
            <a:endParaRPr lang="pl-PL" sz="1600" b="0" i="0" dirty="0">
              <a:solidFill>
                <a:srgbClr val="000000"/>
              </a:solidFill>
              <a:effectLst/>
              <a:latin typeface="Open Sans" panose="020B0606030504020204" pitchFamily="34" charset="0"/>
            </a:endParaRPr>
          </a:p>
          <a:p>
            <a:pPr marL="285750" indent="-285750">
              <a:lnSpc>
                <a:spcPct val="150000"/>
              </a:lnSpc>
              <a:buClr>
                <a:schemeClr val="accent1"/>
              </a:buClr>
              <a:buFont typeface="Wingdings" panose="05000000000000000000" pitchFamily="2" charset="2"/>
              <a:buChar char="§"/>
            </a:pPr>
            <a:r>
              <a:rPr lang="pl-PL" sz="1600" b="0" i="0" dirty="0" err="1">
                <a:solidFill>
                  <a:srgbClr val="000000"/>
                </a:solidFill>
                <a:effectLst/>
                <a:latin typeface="Open Sans" panose="020B0606030504020204" pitchFamily="34" charset="0"/>
              </a:rPr>
              <a:t>tincidunt</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felis</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iaculis</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fringilla</a:t>
            </a:r>
            <a:r>
              <a:rPr lang="pl-PL" sz="1600" b="0" i="0" dirty="0">
                <a:solidFill>
                  <a:srgbClr val="000000"/>
                </a:solidFill>
                <a:effectLst/>
                <a:latin typeface="Open Sans" panose="020B0606030504020204" pitchFamily="34" charset="0"/>
              </a:rPr>
              <a:t> </a:t>
            </a:r>
          </a:p>
          <a:p>
            <a:pPr marL="285750" indent="-285750">
              <a:lnSpc>
                <a:spcPct val="150000"/>
              </a:lnSpc>
              <a:buClr>
                <a:schemeClr val="accent1"/>
              </a:buClr>
              <a:buFont typeface="Wingdings" panose="05000000000000000000" pitchFamily="2" charset="2"/>
              <a:buChar char="§"/>
            </a:pPr>
            <a:r>
              <a:rPr lang="pl-PL" sz="1600" b="0" i="0" dirty="0" err="1">
                <a:solidFill>
                  <a:srgbClr val="000000"/>
                </a:solidFill>
                <a:effectLst/>
                <a:latin typeface="Open Sans" panose="020B0606030504020204" pitchFamily="34" charset="0"/>
              </a:rPr>
              <a:t>nisl</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ornare</a:t>
            </a:r>
            <a:r>
              <a:rPr lang="pl-PL" sz="1600" b="0" i="0" dirty="0">
                <a:solidFill>
                  <a:srgbClr val="000000"/>
                </a:solidFill>
                <a:effectLst/>
                <a:latin typeface="Open Sans" panose="020B0606030504020204" pitchFamily="34" charset="0"/>
              </a:rPr>
              <a:t> </a:t>
            </a:r>
            <a:r>
              <a:rPr lang="pl-PL" sz="1600" b="0" i="0" dirty="0" err="1">
                <a:solidFill>
                  <a:srgbClr val="000000"/>
                </a:solidFill>
                <a:effectLst/>
                <a:latin typeface="Open Sans" panose="020B0606030504020204" pitchFamily="34" charset="0"/>
              </a:rPr>
              <a:t>tempor</a:t>
            </a:r>
            <a:r>
              <a:rPr lang="pl-PL" sz="1600" b="0" i="0" dirty="0">
                <a:solidFill>
                  <a:srgbClr val="000000"/>
                </a:solidFill>
                <a:effectLst/>
                <a:latin typeface="Open Sans" panose="020B0606030504020204" pitchFamily="34" charset="0"/>
              </a:rPr>
              <a:t>.</a:t>
            </a:r>
            <a:endParaRPr lang="pl-PL" sz="1600" b="0" dirty="0"/>
          </a:p>
        </p:txBody>
      </p:sp>
    </p:spTree>
    <p:extLst>
      <p:ext uri="{BB962C8B-B14F-4D97-AF65-F5344CB8AC3E}">
        <p14:creationId xmlns:p14="http://schemas.microsoft.com/office/powerpoint/2010/main" val="2982449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Tytuł i zawartoś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rostokąt 3">
            <a:extLst>
              <a:ext uri="{FF2B5EF4-FFF2-40B4-BE49-F238E27FC236}">
                <a16:creationId xmlns:a16="http://schemas.microsoft.com/office/drawing/2014/main" id="{2C3BEB63-2A8F-49E6-8F75-D561E16FF7E9}"/>
              </a:ext>
            </a:extLst>
          </p:cNvPr>
          <p:cNvSpPr/>
          <p:nvPr userDrawn="1"/>
        </p:nvSpPr>
        <p:spPr>
          <a:xfrm>
            <a:off x="914400" y="1548109"/>
            <a:ext cx="1524000" cy="152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6" name="Prostokąt 5">
            <a:extLst>
              <a:ext uri="{FF2B5EF4-FFF2-40B4-BE49-F238E27FC236}">
                <a16:creationId xmlns:a16="http://schemas.microsoft.com/office/drawing/2014/main" id="{A68961A3-00E2-40EC-9905-B0699536FB28}"/>
              </a:ext>
            </a:extLst>
          </p:cNvPr>
          <p:cNvSpPr/>
          <p:nvPr userDrawn="1"/>
        </p:nvSpPr>
        <p:spPr>
          <a:xfrm>
            <a:off x="838200" y="1624309"/>
            <a:ext cx="1524000" cy="15240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7" name="pole tekstowe 6">
            <a:extLst>
              <a:ext uri="{FF2B5EF4-FFF2-40B4-BE49-F238E27FC236}">
                <a16:creationId xmlns:a16="http://schemas.microsoft.com/office/drawing/2014/main" id="{536F50E5-C868-4097-80FC-C96118F96134}"/>
              </a:ext>
            </a:extLst>
          </p:cNvPr>
          <p:cNvSpPr txBox="1"/>
          <p:nvPr userDrawn="1"/>
        </p:nvSpPr>
        <p:spPr>
          <a:xfrm>
            <a:off x="914400" y="2093921"/>
            <a:ext cx="1406387" cy="584775"/>
          </a:xfrm>
          <a:prstGeom prst="rect">
            <a:avLst/>
          </a:prstGeom>
          <a:noFill/>
        </p:spPr>
        <p:txBody>
          <a:bodyPr wrap="square" rtlCol="0">
            <a:spAutoFit/>
          </a:bodyPr>
          <a:lstStyle/>
          <a:p>
            <a:pPr algn="ctr"/>
            <a:r>
              <a:rPr lang="pl-PL" sz="1600" b="0" dirty="0" err="1">
                <a:solidFill>
                  <a:schemeClr val="bg1"/>
                </a:solidFill>
              </a:rPr>
              <a:t>Lorem</a:t>
            </a:r>
            <a:r>
              <a:rPr lang="pl-PL" sz="1600" b="0" dirty="0">
                <a:solidFill>
                  <a:schemeClr val="bg1"/>
                </a:solidFill>
              </a:rPr>
              <a:t> </a:t>
            </a:r>
            <a:r>
              <a:rPr lang="pl-PL" sz="1600" b="0" dirty="0" err="1">
                <a:solidFill>
                  <a:schemeClr val="bg1"/>
                </a:solidFill>
              </a:rPr>
              <a:t>ipsum</a:t>
            </a:r>
            <a:endParaRPr lang="pl-PL" sz="1600" b="0" dirty="0">
              <a:solidFill>
                <a:schemeClr val="bg1"/>
              </a:solidFill>
            </a:endParaRPr>
          </a:p>
        </p:txBody>
      </p:sp>
      <p:cxnSp>
        <p:nvCxnSpPr>
          <p:cNvPr id="21" name="Łącznik prosty ze strzałką 20">
            <a:extLst>
              <a:ext uri="{FF2B5EF4-FFF2-40B4-BE49-F238E27FC236}">
                <a16:creationId xmlns:a16="http://schemas.microsoft.com/office/drawing/2014/main" id="{A904E0F9-AFDB-4242-ADA3-97F46533F691}"/>
              </a:ext>
            </a:extLst>
          </p:cNvPr>
          <p:cNvCxnSpPr>
            <a:cxnSpLocks/>
          </p:cNvCxnSpPr>
          <p:nvPr userDrawn="1"/>
        </p:nvCxnSpPr>
        <p:spPr>
          <a:xfrm flipV="1">
            <a:off x="2740276" y="4080616"/>
            <a:ext cx="2003196" cy="73168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Łącznik prosty ze strzałką 21">
            <a:extLst>
              <a:ext uri="{FF2B5EF4-FFF2-40B4-BE49-F238E27FC236}">
                <a16:creationId xmlns:a16="http://schemas.microsoft.com/office/drawing/2014/main" id="{087FE264-41CB-4C4A-A499-3640C4A5B2FB}"/>
              </a:ext>
            </a:extLst>
          </p:cNvPr>
          <p:cNvCxnSpPr>
            <a:cxnSpLocks/>
          </p:cNvCxnSpPr>
          <p:nvPr userDrawn="1"/>
        </p:nvCxnSpPr>
        <p:spPr>
          <a:xfrm>
            <a:off x="2781300" y="2667000"/>
            <a:ext cx="1943100" cy="68580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 name="Tytuł 1">
            <a:extLst>
              <a:ext uri="{FF2B5EF4-FFF2-40B4-BE49-F238E27FC236}">
                <a16:creationId xmlns:a16="http://schemas.microsoft.com/office/drawing/2014/main" id="{43CAB6E2-F5FC-4D40-BFD4-A203DEB7DFDE}"/>
              </a:ext>
            </a:extLst>
          </p:cNvPr>
          <p:cNvSpPr>
            <a:spLocks noGrp="1"/>
          </p:cNvSpPr>
          <p:nvPr>
            <p:ph type="title" idx="10"/>
          </p:nvPr>
        </p:nvSpPr>
        <p:spPr>
          <a:xfrm>
            <a:off x="838200" y="668214"/>
            <a:ext cx="10515600" cy="593024"/>
          </a:xfrm>
          <a:prstGeom prst="rect">
            <a:avLst/>
          </a:prstGeom>
        </p:spPr>
        <p:txBody>
          <a:bodyPr vert="horz" rtlCol="0" anchor="t">
            <a:normAutofit/>
          </a:bodyPr>
          <a:lstStyle>
            <a:lvl1pPr lvl="0">
              <a:defRPr lang="en-US" sz="3000" b="1" i="0" dirty="0">
                <a:solidFill>
                  <a:schemeClr val="accent1"/>
                </a:solidFill>
                <a:latin typeface="+mj-lt"/>
              </a:defRPr>
            </a:lvl1pPr>
          </a:lstStyle>
          <a:p>
            <a:r>
              <a:rPr lang="en-US" dirty="0"/>
              <a:t>Kliknij, aby edytować styl</a:t>
            </a:r>
          </a:p>
        </p:txBody>
      </p:sp>
      <p:sp>
        <p:nvSpPr>
          <p:cNvPr id="2" name="Owal 1">
            <a:extLst>
              <a:ext uri="{FF2B5EF4-FFF2-40B4-BE49-F238E27FC236}">
                <a16:creationId xmlns:a16="http://schemas.microsoft.com/office/drawing/2014/main" id="{BD3A8EE3-5FAF-494F-BE8D-56536D4E6D21}"/>
              </a:ext>
            </a:extLst>
          </p:cNvPr>
          <p:cNvSpPr/>
          <p:nvPr userDrawn="1"/>
        </p:nvSpPr>
        <p:spPr>
          <a:xfrm>
            <a:off x="5257822" y="2895600"/>
            <a:ext cx="1828778" cy="182877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 name="Owal 2">
            <a:extLst>
              <a:ext uri="{FF2B5EF4-FFF2-40B4-BE49-F238E27FC236}">
                <a16:creationId xmlns:a16="http://schemas.microsoft.com/office/drawing/2014/main" id="{F8A2A421-272E-4F80-8B76-E5A8C3CE6603}"/>
              </a:ext>
            </a:extLst>
          </p:cNvPr>
          <p:cNvSpPr/>
          <p:nvPr userDrawn="1"/>
        </p:nvSpPr>
        <p:spPr>
          <a:xfrm>
            <a:off x="5181622" y="2971800"/>
            <a:ext cx="1828778" cy="182877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 name="pole tekstowe 4">
            <a:extLst>
              <a:ext uri="{FF2B5EF4-FFF2-40B4-BE49-F238E27FC236}">
                <a16:creationId xmlns:a16="http://schemas.microsoft.com/office/drawing/2014/main" id="{10D40A56-EB5E-4786-985F-B87D606C812F}"/>
              </a:ext>
            </a:extLst>
          </p:cNvPr>
          <p:cNvSpPr txBox="1"/>
          <p:nvPr userDrawn="1"/>
        </p:nvSpPr>
        <p:spPr>
          <a:xfrm>
            <a:off x="5410222" y="3495841"/>
            <a:ext cx="1485900" cy="584775"/>
          </a:xfrm>
          <a:prstGeom prst="rect">
            <a:avLst/>
          </a:prstGeom>
          <a:noFill/>
        </p:spPr>
        <p:txBody>
          <a:bodyPr wrap="square" rtlCol="0">
            <a:spAutoFit/>
          </a:bodyPr>
          <a:lstStyle/>
          <a:p>
            <a:pPr algn="ctr"/>
            <a:r>
              <a:rPr lang="pl-PL" sz="1600" b="1" dirty="0" err="1">
                <a:solidFill>
                  <a:schemeClr val="bg1"/>
                </a:solidFill>
              </a:rPr>
              <a:t>Lorem</a:t>
            </a:r>
            <a:r>
              <a:rPr lang="pl-PL" sz="1600" b="1" dirty="0">
                <a:solidFill>
                  <a:schemeClr val="bg1"/>
                </a:solidFill>
              </a:rPr>
              <a:t> </a:t>
            </a:r>
            <a:r>
              <a:rPr lang="pl-PL" sz="1600" b="1" dirty="0" err="1">
                <a:solidFill>
                  <a:schemeClr val="bg1"/>
                </a:solidFill>
              </a:rPr>
              <a:t>ipsum</a:t>
            </a:r>
            <a:endParaRPr lang="pl-PL" sz="1600" b="1" dirty="0">
              <a:solidFill>
                <a:schemeClr val="bg1"/>
              </a:solidFill>
            </a:endParaRPr>
          </a:p>
        </p:txBody>
      </p:sp>
      <p:sp>
        <p:nvSpPr>
          <p:cNvPr id="8" name="Prostokąt 7">
            <a:extLst>
              <a:ext uri="{FF2B5EF4-FFF2-40B4-BE49-F238E27FC236}">
                <a16:creationId xmlns:a16="http://schemas.microsoft.com/office/drawing/2014/main" id="{4B44ECA8-7831-40D2-B194-6DEAD87B879F}"/>
              </a:ext>
            </a:extLst>
          </p:cNvPr>
          <p:cNvSpPr/>
          <p:nvPr userDrawn="1"/>
        </p:nvSpPr>
        <p:spPr>
          <a:xfrm>
            <a:off x="914400" y="3757909"/>
            <a:ext cx="1524000" cy="1524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pl-PL"/>
          </a:p>
        </p:txBody>
      </p:sp>
      <p:sp>
        <p:nvSpPr>
          <p:cNvPr id="10" name="Prostokąt 9">
            <a:extLst>
              <a:ext uri="{FF2B5EF4-FFF2-40B4-BE49-F238E27FC236}">
                <a16:creationId xmlns:a16="http://schemas.microsoft.com/office/drawing/2014/main" id="{F329AE54-EAAF-4F80-B6AF-90D41BFB9735}"/>
              </a:ext>
            </a:extLst>
          </p:cNvPr>
          <p:cNvSpPr/>
          <p:nvPr userDrawn="1"/>
        </p:nvSpPr>
        <p:spPr>
          <a:xfrm>
            <a:off x="838200" y="3834109"/>
            <a:ext cx="1524000" cy="15240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2" name="pole tekstowe 11">
            <a:extLst>
              <a:ext uri="{FF2B5EF4-FFF2-40B4-BE49-F238E27FC236}">
                <a16:creationId xmlns:a16="http://schemas.microsoft.com/office/drawing/2014/main" id="{B0AB4BCA-C322-4CD4-A7EA-F020EE1AF342}"/>
              </a:ext>
            </a:extLst>
          </p:cNvPr>
          <p:cNvSpPr txBox="1"/>
          <p:nvPr userDrawn="1"/>
        </p:nvSpPr>
        <p:spPr>
          <a:xfrm>
            <a:off x="914400" y="4227521"/>
            <a:ext cx="1406387" cy="584775"/>
          </a:xfrm>
          <a:prstGeom prst="rect">
            <a:avLst/>
          </a:prstGeom>
          <a:noFill/>
        </p:spPr>
        <p:txBody>
          <a:bodyPr wrap="square" rtlCol="0">
            <a:spAutoFit/>
          </a:bodyPr>
          <a:lstStyle/>
          <a:p>
            <a:pPr algn="ctr"/>
            <a:r>
              <a:rPr lang="pl-PL" sz="1600" b="0" dirty="0" err="1">
                <a:solidFill>
                  <a:schemeClr val="bg1"/>
                </a:solidFill>
              </a:rPr>
              <a:t>Lorem</a:t>
            </a:r>
            <a:r>
              <a:rPr lang="pl-PL" sz="1600" b="0" dirty="0">
                <a:solidFill>
                  <a:schemeClr val="bg1"/>
                </a:solidFill>
              </a:rPr>
              <a:t> </a:t>
            </a:r>
            <a:r>
              <a:rPr lang="pl-PL" sz="1600" b="0" dirty="0" err="1">
                <a:solidFill>
                  <a:schemeClr val="bg1"/>
                </a:solidFill>
              </a:rPr>
              <a:t>ipsum</a:t>
            </a:r>
            <a:endParaRPr lang="pl-PL" sz="1600" b="0" dirty="0">
              <a:solidFill>
                <a:schemeClr val="bg1"/>
              </a:solidFill>
            </a:endParaRPr>
          </a:p>
        </p:txBody>
      </p:sp>
      <p:sp>
        <p:nvSpPr>
          <p:cNvPr id="31" name="Prostokąt 30">
            <a:extLst>
              <a:ext uri="{FF2B5EF4-FFF2-40B4-BE49-F238E27FC236}">
                <a16:creationId xmlns:a16="http://schemas.microsoft.com/office/drawing/2014/main" id="{B0727782-3B84-49DE-BCA1-04B98C5B31F0}"/>
              </a:ext>
            </a:extLst>
          </p:cNvPr>
          <p:cNvSpPr/>
          <p:nvPr userDrawn="1"/>
        </p:nvSpPr>
        <p:spPr>
          <a:xfrm>
            <a:off x="9716278" y="1551973"/>
            <a:ext cx="1524000" cy="1524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pl-PL"/>
          </a:p>
        </p:txBody>
      </p:sp>
      <p:sp>
        <p:nvSpPr>
          <p:cNvPr id="33" name="Prostokąt 32">
            <a:extLst>
              <a:ext uri="{FF2B5EF4-FFF2-40B4-BE49-F238E27FC236}">
                <a16:creationId xmlns:a16="http://schemas.microsoft.com/office/drawing/2014/main" id="{DC7823B8-8DE2-4DA7-9000-A40E9EF45942}"/>
              </a:ext>
            </a:extLst>
          </p:cNvPr>
          <p:cNvSpPr/>
          <p:nvPr userDrawn="1"/>
        </p:nvSpPr>
        <p:spPr>
          <a:xfrm>
            <a:off x="9640078" y="1628173"/>
            <a:ext cx="1524000" cy="15240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ole tekstowe 34">
            <a:extLst>
              <a:ext uri="{FF2B5EF4-FFF2-40B4-BE49-F238E27FC236}">
                <a16:creationId xmlns:a16="http://schemas.microsoft.com/office/drawing/2014/main" id="{88E7FD20-9B5D-442C-87E6-C01F04622598}"/>
              </a:ext>
            </a:extLst>
          </p:cNvPr>
          <p:cNvSpPr txBox="1"/>
          <p:nvPr userDrawn="1"/>
        </p:nvSpPr>
        <p:spPr>
          <a:xfrm>
            <a:off x="9716278" y="2097785"/>
            <a:ext cx="1406387" cy="584775"/>
          </a:xfrm>
          <a:prstGeom prst="rect">
            <a:avLst/>
          </a:prstGeom>
          <a:noFill/>
        </p:spPr>
        <p:txBody>
          <a:bodyPr wrap="square" rtlCol="0">
            <a:spAutoFit/>
          </a:bodyPr>
          <a:lstStyle/>
          <a:p>
            <a:pPr algn="ctr"/>
            <a:r>
              <a:rPr lang="pl-PL" sz="1600" b="0" dirty="0" err="1">
                <a:solidFill>
                  <a:schemeClr val="bg1"/>
                </a:solidFill>
              </a:rPr>
              <a:t>Lorem</a:t>
            </a:r>
            <a:r>
              <a:rPr lang="pl-PL" sz="1600" b="0" dirty="0">
                <a:solidFill>
                  <a:schemeClr val="bg1"/>
                </a:solidFill>
              </a:rPr>
              <a:t> </a:t>
            </a:r>
            <a:r>
              <a:rPr lang="pl-PL" sz="1600" b="0" dirty="0" err="1">
                <a:solidFill>
                  <a:schemeClr val="bg1"/>
                </a:solidFill>
              </a:rPr>
              <a:t>ipsum</a:t>
            </a:r>
            <a:endParaRPr lang="pl-PL" sz="1600" b="0" dirty="0">
              <a:solidFill>
                <a:schemeClr val="bg1"/>
              </a:solidFill>
            </a:endParaRPr>
          </a:p>
        </p:txBody>
      </p:sp>
      <p:sp>
        <p:nvSpPr>
          <p:cNvPr id="37" name="Prostokąt 36">
            <a:extLst>
              <a:ext uri="{FF2B5EF4-FFF2-40B4-BE49-F238E27FC236}">
                <a16:creationId xmlns:a16="http://schemas.microsoft.com/office/drawing/2014/main" id="{41804327-CF09-4846-BA5C-5F3E645005AD}"/>
              </a:ext>
            </a:extLst>
          </p:cNvPr>
          <p:cNvSpPr/>
          <p:nvPr userDrawn="1"/>
        </p:nvSpPr>
        <p:spPr>
          <a:xfrm>
            <a:off x="9716278" y="3761773"/>
            <a:ext cx="1524000" cy="1524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pl-PL"/>
          </a:p>
        </p:txBody>
      </p:sp>
      <p:sp>
        <p:nvSpPr>
          <p:cNvPr id="39" name="Prostokąt 38">
            <a:extLst>
              <a:ext uri="{FF2B5EF4-FFF2-40B4-BE49-F238E27FC236}">
                <a16:creationId xmlns:a16="http://schemas.microsoft.com/office/drawing/2014/main" id="{17692142-C0C6-4D7B-A800-7045BCA1F0B2}"/>
              </a:ext>
            </a:extLst>
          </p:cNvPr>
          <p:cNvSpPr/>
          <p:nvPr userDrawn="1"/>
        </p:nvSpPr>
        <p:spPr>
          <a:xfrm>
            <a:off x="9640078" y="3837973"/>
            <a:ext cx="1524000" cy="15240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1" name="pole tekstowe 40">
            <a:extLst>
              <a:ext uri="{FF2B5EF4-FFF2-40B4-BE49-F238E27FC236}">
                <a16:creationId xmlns:a16="http://schemas.microsoft.com/office/drawing/2014/main" id="{E48AC2B9-9BA1-4730-B638-F615D1129682}"/>
              </a:ext>
            </a:extLst>
          </p:cNvPr>
          <p:cNvSpPr txBox="1"/>
          <p:nvPr userDrawn="1"/>
        </p:nvSpPr>
        <p:spPr>
          <a:xfrm>
            <a:off x="9716278" y="4231385"/>
            <a:ext cx="1406387" cy="584775"/>
          </a:xfrm>
          <a:prstGeom prst="rect">
            <a:avLst/>
          </a:prstGeom>
          <a:noFill/>
        </p:spPr>
        <p:txBody>
          <a:bodyPr wrap="square" rtlCol="0">
            <a:spAutoFit/>
          </a:bodyPr>
          <a:lstStyle/>
          <a:p>
            <a:pPr algn="ctr"/>
            <a:r>
              <a:rPr lang="pl-PL" sz="1600" b="0" dirty="0" err="1">
                <a:solidFill>
                  <a:schemeClr val="bg1"/>
                </a:solidFill>
              </a:rPr>
              <a:t>Lorem</a:t>
            </a:r>
            <a:r>
              <a:rPr lang="pl-PL" sz="1600" b="0" dirty="0">
                <a:solidFill>
                  <a:schemeClr val="bg1"/>
                </a:solidFill>
              </a:rPr>
              <a:t> </a:t>
            </a:r>
            <a:r>
              <a:rPr lang="pl-PL" sz="1600" b="0" dirty="0" err="1">
                <a:solidFill>
                  <a:schemeClr val="bg1"/>
                </a:solidFill>
              </a:rPr>
              <a:t>ipsum</a:t>
            </a:r>
            <a:endParaRPr lang="pl-PL" sz="1600" b="0" dirty="0">
              <a:solidFill>
                <a:schemeClr val="bg1"/>
              </a:solidFill>
            </a:endParaRPr>
          </a:p>
        </p:txBody>
      </p:sp>
      <p:cxnSp>
        <p:nvCxnSpPr>
          <p:cNvPr id="43" name="Łącznik prosty ze strzałką 42">
            <a:extLst>
              <a:ext uri="{FF2B5EF4-FFF2-40B4-BE49-F238E27FC236}">
                <a16:creationId xmlns:a16="http://schemas.microsoft.com/office/drawing/2014/main" id="{9416032B-FE7F-4768-8C51-9242E17B1A56}"/>
              </a:ext>
            </a:extLst>
          </p:cNvPr>
          <p:cNvCxnSpPr>
            <a:cxnSpLocks/>
          </p:cNvCxnSpPr>
          <p:nvPr userDrawn="1"/>
        </p:nvCxnSpPr>
        <p:spPr>
          <a:xfrm flipH="1" flipV="1">
            <a:off x="7295283" y="4128023"/>
            <a:ext cx="1983712" cy="76586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Łącznik prosty ze strzałką 43">
            <a:extLst>
              <a:ext uri="{FF2B5EF4-FFF2-40B4-BE49-F238E27FC236}">
                <a16:creationId xmlns:a16="http://schemas.microsoft.com/office/drawing/2014/main" id="{5687316D-27C1-4476-ACA0-1DEA728038E6}"/>
              </a:ext>
            </a:extLst>
          </p:cNvPr>
          <p:cNvCxnSpPr>
            <a:cxnSpLocks/>
          </p:cNvCxnSpPr>
          <p:nvPr userDrawn="1"/>
        </p:nvCxnSpPr>
        <p:spPr>
          <a:xfrm flipH="1">
            <a:off x="7315372" y="2523151"/>
            <a:ext cx="1859902" cy="744897"/>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94527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Tytuł i zawartoś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Prostokąt 5">
            <a:extLst>
              <a:ext uri="{FF2B5EF4-FFF2-40B4-BE49-F238E27FC236}">
                <a16:creationId xmlns:a16="http://schemas.microsoft.com/office/drawing/2014/main" id="{A68961A3-00E2-40EC-9905-B0699536FB28}"/>
              </a:ext>
            </a:extLst>
          </p:cNvPr>
          <p:cNvSpPr/>
          <p:nvPr userDrawn="1"/>
        </p:nvSpPr>
        <p:spPr>
          <a:xfrm>
            <a:off x="838200" y="1624309"/>
            <a:ext cx="1524000" cy="15240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7" name="pole tekstowe 6">
            <a:extLst>
              <a:ext uri="{FF2B5EF4-FFF2-40B4-BE49-F238E27FC236}">
                <a16:creationId xmlns:a16="http://schemas.microsoft.com/office/drawing/2014/main" id="{536F50E5-C868-4097-80FC-C96118F96134}"/>
              </a:ext>
            </a:extLst>
          </p:cNvPr>
          <p:cNvSpPr txBox="1"/>
          <p:nvPr userDrawn="1"/>
        </p:nvSpPr>
        <p:spPr>
          <a:xfrm>
            <a:off x="914400" y="2093921"/>
            <a:ext cx="1406387" cy="584775"/>
          </a:xfrm>
          <a:prstGeom prst="rect">
            <a:avLst/>
          </a:prstGeom>
          <a:noFill/>
        </p:spPr>
        <p:txBody>
          <a:bodyPr wrap="square" rtlCol="0">
            <a:spAutoFit/>
          </a:bodyPr>
          <a:lstStyle/>
          <a:p>
            <a:pPr algn="ctr"/>
            <a:r>
              <a:rPr lang="pl-PL" sz="1600" b="0" dirty="0" err="1">
                <a:solidFill>
                  <a:schemeClr val="tx1"/>
                </a:solidFill>
              </a:rPr>
              <a:t>Lorem</a:t>
            </a:r>
            <a:r>
              <a:rPr lang="pl-PL" sz="1600" b="0" dirty="0">
                <a:solidFill>
                  <a:schemeClr val="tx1"/>
                </a:solidFill>
              </a:rPr>
              <a:t> </a:t>
            </a:r>
            <a:r>
              <a:rPr lang="pl-PL" sz="1600" b="0" dirty="0" err="1">
                <a:solidFill>
                  <a:schemeClr val="tx1"/>
                </a:solidFill>
              </a:rPr>
              <a:t>ipsum</a:t>
            </a:r>
            <a:endParaRPr lang="pl-PL" sz="1600" b="0" dirty="0">
              <a:solidFill>
                <a:schemeClr val="tx1"/>
              </a:solidFill>
            </a:endParaRPr>
          </a:p>
        </p:txBody>
      </p:sp>
      <p:cxnSp>
        <p:nvCxnSpPr>
          <p:cNvPr id="21" name="Łącznik prosty ze strzałką 20">
            <a:extLst>
              <a:ext uri="{FF2B5EF4-FFF2-40B4-BE49-F238E27FC236}">
                <a16:creationId xmlns:a16="http://schemas.microsoft.com/office/drawing/2014/main" id="{A904E0F9-AFDB-4242-ADA3-97F46533F691}"/>
              </a:ext>
            </a:extLst>
          </p:cNvPr>
          <p:cNvCxnSpPr>
            <a:cxnSpLocks/>
          </p:cNvCxnSpPr>
          <p:nvPr userDrawn="1"/>
        </p:nvCxnSpPr>
        <p:spPr>
          <a:xfrm flipV="1">
            <a:off x="2740276" y="4080616"/>
            <a:ext cx="2003196" cy="73168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Łącznik prosty ze strzałką 21">
            <a:extLst>
              <a:ext uri="{FF2B5EF4-FFF2-40B4-BE49-F238E27FC236}">
                <a16:creationId xmlns:a16="http://schemas.microsoft.com/office/drawing/2014/main" id="{087FE264-41CB-4C4A-A499-3640C4A5B2FB}"/>
              </a:ext>
            </a:extLst>
          </p:cNvPr>
          <p:cNvCxnSpPr>
            <a:cxnSpLocks/>
          </p:cNvCxnSpPr>
          <p:nvPr userDrawn="1"/>
        </p:nvCxnSpPr>
        <p:spPr>
          <a:xfrm>
            <a:off x="2781300" y="2667000"/>
            <a:ext cx="1943100" cy="68580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 name="Tytuł 1">
            <a:extLst>
              <a:ext uri="{FF2B5EF4-FFF2-40B4-BE49-F238E27FC236}">
                <a16:creationId xmlns:a16="http://schemas.microsoft.com/office/drawing/2014/main" id="{43CAB6E2-F5FC-4D40-BFD4-A203DEB7DFDE}"/>
              </a:ext>
            </a:extLst>
          </p:cNvPr>
          <p:cNvSpPr>
            <a:spLocks noGrp="1"/>
          </p:cNvSpPr>
          <p:nvPr>
            <p:ph type="title" idx="10"/>
          </p:nvPr>
        </p:nvSpPr>
        <p:spPr>
          <a:xfrm>
            <a:off x="838200" y="668214"/>
            <a:ext cx="10515600" cy="593024"/>
          </a:xfrm>
          <a:prstGeom prst="rect">
            <a:avLst/>
          </a:prstGeom>
        </p:spPr>
        <p:txBody>
          <a:bodyPr vert="horz" rtlCol="0" anchor="t">
            <a:normAutofit/>
          </a:bodyPr>
          <a:lstStyle>
            <a:lvl1pPr lvl="0">
              <a:defRPr lang="en-US" sz="3000" b="1" i="0" dirty="0">
                <a:solidFill>
                  <a:schemeClr val="accent1"/>
                </a:solidFill>
                <a:latin typeface="+mj-lt"/>
              </a:defRPr>
            </a:lvl1pPr>
          </a:lstStyle>
          <a:p>
            <a:r>
              <a:rPr lang="en-US" dirty="0"/>
              <a:t>Kliknij, aby edytować styl</a:t>
            </a:r>
          </a:p>
        </p:txBody>
      </p:sp>
      <p:sp>
        <p:nvSpPr>
          <p:cNvPr id="2" name="Owal 1">
            <a:extLst>
              <a:ext uri="{FF2B5EF4-FFF2-40B4-BE49-F238E27FC236}">
                <a16:creationId xmlns:a16="http://schemas.microsoft.com/office/drawing/2014/main" id="{BD3A8EE3-5FAF-494F-BE8D-56536D4E6D21}"/>
              </a:ext>
            </a:extLst>
          </p:cNvPr>
          <p:cNvSpPr/>
          <p:nvPr userDrawn="1"/>
        </p:nvSpPr>
        <p:spPr>
          <a:xfrm>
            <a:off x="5257822" y="2895600"/>
            <a:ext cx="1828778" cy="182877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 name="Owal 2">
            <a:extLst>
              <a:ext uri="{FF2B5EF4-FFF2-40B4-BE49-F238E27FC236}">
                <a16:creationId xmlns:a16="http://schemas.microsoft.com/office/drawing/2014/main" id="{F8A2A421-272E-4F80-8B76-E5A8C3CE6603}"/>
              </a:ext>
            </a:extLst>
          </p:cNvPr>
          <p:cNvSpPr/>
          <p:nvPr userDrawn="1"/>
        </p:nvSpPr>
        <p:spPr>
          <a:xfrm>
            <a:off x="5181622" y="2971800"/>
            <a:ext cx="1828778" cy="1828778"/>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 name="pole tekstowe 4">
            <a:extLst>
              <a:ext uri="{FF2B5EF4-FFF2-40B4-BE49-F238E27FC236}">
                <a16:creationId xmlns:a16="http://schemas.microsoft.com/office/drawing/2014/main" id="{10D40A56-EB5E-4786-985F-B87D606C812F}"/>
              </a:ext>
            </a:extLst>
          </p:cNvPr>
          <p:cNvSpPr txBox="1"/>
          <p:nvPr userDrawn="1"/>
        </p:nvSpPr>
        <p:spPr>
          <a:xfrm>
            <a:off x="5410222" y="3495841"/>
            <a:ext cx="1485900" cy="584775"/>
          </a:xfrm>
          <a:prstGeom prst="rect">
            <a:avLst/>
          </a:prstGeom>
          <a:noFill/>
        </p:spPr>
        <p:txBody>
          <a:bodyPr wrap="square" rtlCol="0">
            <a:spAutoFit/>
          </a:bodyPr>
          <a:lstStyle/>
          <a:p>
            <a:pPr algn="ctr"/>
            <a:r>
              <a:rPr lang="pl-PL" sz="1600" b="1" dirty="0" err="1">
                <a:solidFill>
                  <a:schemeClr val="bg1"/>
                </a:solidFill>
              </a:rPr>
              <a:t>Lorem</a:t>
            </a:r>
            <a:r>
              <a:rPr lang="pl-PL" sz="1600" b="1" dirty="0">
                <a:solidFill>
                  <a:schemeClr val="bg1"/>
                </a:solidFill>
              </a:rPr>
              <a:t> </a:t>
            </a:r>
            <a:r>
              <a:rPr lang="pl-PL" sz="1600" b="1" dirty="0" err="1">
                <a:solidFill>
                  <a:schemeClr val="bg1"/>
                </a:solidFill>
              </a:rPr>
              <a:t>ipsum</a:t>
            </a:r>
            <a:endParaRPr lang="pl-PL" sz="1600" b="1" dirty="0">
              <a:solidFill>
                <a:schemeClr val="bg1"/>
              </a:solidFill>
            </a:endParaRPr>
          </a:p>
        </p:txBody>
      </p:sp>
      <p:sp>
        <p:nvSpPr>
          <p:cNvPr id="10" name="Prostokąt 9">
            <a:extLst>
              <a:ext uri="{FF2B5EF4-FFF2-40B4-BE49-F238E27FC236}">
                <a16:creationId xmlns:a16="http://schemas.microsoft.com/office/drawing/2014/main" id="{F329AE54-EAAF-4F80-B6AF-90D41BFB9735}"/>
              </a:ext>
            </a:extLst>
          </p:cNvPr>
          <p:cNvSpPr/>
          <p:nvPr userDrawn="1"/>
        </p:nvSpPr>
        <p:spPr>
          <a:xfrm>
            <a:off x="838200" y="3834109"/>
            <a:ext cx="1524000" cy="15240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2" name="pole tekstowe 11">
            <a:extLst>
              <a:ext uri="{FF2B5EF4-FFF2-40B4-BE49-F238E27FC236}">
                <a16:creationId xmlns:a16="http://schemas.microsoft.com/office/drawing/2014/main" id="{B0AB4BCA-C322-4CD4-A7EA-F020EE1AF342}"/>
              </a:ext>
            </a:extLst>
          </p:cNvPr>
          <p:cNvSpPr txBox="1"/>
          <p:nvPr userDrawn="1"/>
        </p:nvSpPr>
        <p:spPr>
          <a:xfrm>
            <a:off x="914400" y="4227521"/>
            <a:ext cx="1406387" cy="584775"/>
          </a:xfrm>
          <a:prstGeom prst="rect">
            <a:avLst/>
          </a:prstGeom>
          <a:noFill/>
        </p:spPr>
        <p:txBody>
          <a:bodyPr wrap="square" rtlCol="0">
            <a:spAutoFit/>
          </a:bodyPr>
          <a:lstStyle/>
          <a:p>
            <a:pPr algn="ctr"/>
            <a:r>
              <a:rPr lang="pl-PL" sz="1600" b="0" dirty="0" err="1">
                <a:solidFill>
                  <a:schemeClr val="tx1"/>
                </a:solidFill>
              </a:rPr>
              <a:t>Lorem</a:t>
            </a:r>
            <a:r>
              <a:rPr lang="pl-PL" sz="1600" b="0" dirty="0">
                <a:solidFill>
                  <a:schemeClr val="tx1"/>
                </a:solidFill>
              </a:rPr>
              <a:t> </a:t>
            </a:r>
            <a:r>
              <a:rPr lang="pl-PL" sz="1600" b="0" dirty="0" err="1">
                <a:solidFill>
                  <a:schemeClr val="tx1"/>
                </a:solidFill>
              </a:rPr>
              <a:t>ipsum</a:t>
            </a:r>
            <a:endParaRPr lang="pl-PL" sz="1600" b="0" dirty="0">
              <a:solidFill>
                <a:schemeClr val="tx1"/>
              </a:solidFill>
            </a:endParaRPr>
          </a:p>
        </p:txBody>
      </p:sp>
      <p:sp>
        <p:nvSpPr>
          <p:cNvPr id="33" name="Prostokąt 32">
            <a:extLst>
              <a:ext uri="{FF2B5EF4-FFF2-40B4-BE49-F238E27FC236}">
                <a16:creationId xmlns:a16="http://schemas.microsoft.com/office/drawing/2014/main" id="{DC7823B8-8DE2-4DA7-9000-A40E9EF45942}"/>
              </a:ext>
            </a:extLst>
          </p:cNvPr>
          <p:cNvSpPr/>
          <p:nvPr userDrawn="1"/>
        </p:nvSpPr>
        <p:spPr>
          <a:xfrm>
            <a:off x="9640078" y="1628173"/>
            <a:ext cx="1524000" cy="15240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ole tekstowe 34">
            <a:extLst>
              <a:ext uri="{FF2B5EF4-FFF2-40B4-BE49-F238E27FC236}">
                <a16:creationId xmlns:a16="http://schemas.microsoft.com/office/drawing/2014/main" id="{88E7FD20-9B5D-442C-87E6-C01F04622598}"/>
              </a:ext>
            </a:extLst>
          </p:cNvPr>
          <p:cNvSpPr txBox="1"/>
          <p:nvPr userDrawn="1"/>
        </p:nvSpPr>
        <p:spPr>
          <a:xfrm>
            <a:off x="9716278" y="2097785"/>
            <a:ext cx="1406387" cy="584775"/>
          </a:xfrm>
          <a:prstGeom prst="rect">
            <a:avLst/>
          </a:prstGeom>
          <a:noFill/>
        </p:spPr>
        <p:txBody>
          <a:bodyPr wrap="square" rtlCol="0">
            <a:spAutoFit/>
          </a:bodyPr>
          <a:lstStyle/>
          <a:p>
            <a:pPr algn="ctr"/>
            <a:r>
              <a:rPr lang="pl-PL" sz="1600" b="0" dirty="0" err="1">
                <a:solidFill>
                  <a:schemeClr val="tx1"/>
                </a:solidFill>
              </a:rPr>
              <a:t>Lorem</a:t>
            </a:r>
            <a:r>
              <a:rPr lang="pl-PL" sz="1600" b="0" dirty="0">
                <a:solidFill>
                  <a:schemeClr val="tx1"/>
                </a:solidFill>
              </a:rPr>
              <a:t> </a:t>
            </a:r>
            <a:r>
              <a:rPr lang="pl-PL" sz="1600" b="0" dirty="0" err="1">
                <a:solidFill>
                  <a:schemeClr val="tx1"/>
                </a:solidFill>
              </a:rPr>
              <a:t>ipsum</a:t>
            </a:r>
            <a:endParaRPr lang="pl-PL" sz="1600" b="0" dirty="0">
              <a:solidFill>
                <a:schemeClr val="tx1"/>
              </a:solidFill>
            </a:endParaRPr>
          </a:p>
        </p:txBody>
      </p:sp>
      <p:sp>
        <p:nvSpPr>
          <p:cNvPr id="39" name="Prostokąt 38">
            <a:extLst>
              <a:ext uri="{FF2B5EF4-FFF2-40B4-BE49-F238E27FC236}">
                <a16:creationId xmlns:a16="http://schemas.microsoft.com/office/drawing/2014/main" id="{17692142-C0C6-4D7B-A800-7045BCA1F0B2}"/>
              </a:ext>
            </a:extLst>
          </p:cNvPr>
          <p:cNvSpPr/>
          <p:nvPr userDrawn="1"/>
        </p:nvSpPr>
        <p:spPr>
          <a:xfrm>
            <a:off x="9640078" y="3837973"/>
            <a:ext cx="1524000" cy="15240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1" name="pole tekstowe 40">
            <a:extLst>
              <a:ext uri="{FF2B5EF4-FFF2-40B4-BE49-F238E27FC236}">
                <a16:creationId xmlns:a16="http://schemas.microsoft.com/office/drawing/2014/main" id="{E48AC2B9-9BA1-4730-B638-F615D1129682}"/>
              </a:ext>
            </a:extLst>
          </p:cNvPr>
          <p:cNvSpPr txBox="1"/>
          <p:nvPr userDrawn="1"/>
        </p:nvSpPr>
        <p:spPr>
          <a:xfrm>
            <a:off x="9716278" y="4231385"/>
            <a:ext cx="1406387" cy="584775"/>
          </a:xfrm>
          <a:prstGeom prst="rect">
            <a:avLst/>
          </a:prstGeom>
          <a:noFill/>
        </p:spPr>
        <p:txBody>
          <a:bodyPr wrap="square" rtlCol="0">
            <a:spAutoFit/>
          </a:bodyPr>
          <a:lstStyle/>
          <a:p>
            <a:pPr algn="ctr"/>
            <a:r>
              <a:rPr lang="pl-PL" sz="1600" b="0" dirty="0" err="1">
                <a:solidFill>
                  <a:schemeClr val="tx1"/>
                </a:solidFill>
              </a:rPr>
              <a:t>Lorem</a:t>
            </a:r>
            <a:r>
              <a:rPr lang="pl-PL" sz="1600" b="0" dirty="0">
                <a:solidFill>
                  <a:schemeClr val="tx1"/>
                </a:solidFill>
              </a:rPr>
              <a:t> </a:t>
            </a:r>
            <a:r>
              <a:rPr lang="pl-PL" sz="1600" b="0" dirty="0" err="1">
                <a:solidFill>
                  <a:schemeClr val="tx1"/>
                </a:solidFill>
              </a:rPr>
              <a:t>ipsum</a:t>
            </a:r>
            <a:endParaRPr lang="pl-PL" sz="1600" b="0" dirty="0">
              <a:solidFill>
                <a:schemeClr val="tx1"/>
              </a:solidFill>
            </a:endParaRPr>
          </a:p>
        </p:txBody>
      </p:sp>
      <p:cxnSp>
        <p:nvCxnSpPr>
          <p:cNvPr id="43" name="Łącznik prosty ze strzałką 42">
            <a:extLst>
              <a:ext uri="{FF2B5EF4-FFF2-40B4-BE49-F238E27FC236}">
                <a16:creationId xmlns:a16="http://schemas.microsoft.com/office/drawing/2014/main" id="{9416032B-FE7F-4768-8C51-9242E17B1A56}"/>
              </a:ext>
            </a:extLst>
          </p:cNvPr>
          <p:cNvCxnSpPr>
            <a:cxnSpLocks/>
          </p:cNvCxnSpPr>
          <p:nvPr userDrawn="1"/>
        </p:nvCxnSpPr>
        <p:spPr>
          <a:xfrm flipH="1" flipV="1">
            <a:off x="7295283" y="4128023"/>
            <a:ext cx="1983712" cy="76586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Łącznik prosty ze strzałką 43">
            <a:extLst>
              <a:ext uri="{FF2B5EF4-FFF2-40B4-BE49-F238E27FC236}">
                <a16:creationId xmlns:a16="http://schemas.microsoft.com/office/drawing/2014/main" id="{5687316D-27C1-4476-ACA0-1DEA728038E6}"/>
              </a:ext>
            </a:extLst>
          </p:cNvPr>
          <p:cNvCxnSpPr>
            <a:cxnSpLocks/>
          </p:cNvCxnSpPr>
          <p:nvPr userDrawn="1"/>
        </p:nvCxnSpPr>
        <p:spPr>
          <a:xfrm flipH="1">
            <a:off x="7315372" y="2523151"/>
            <a:ext cx="1859902" cy="744897"/>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63946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główek sekcj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odtytuł 2">
            <a:extLst>
              <a:ext uri="{FF2B5EF4-FFF2-40B4-BE49-F238E27FC236}">
                <a16:creationId xmlns:a16="http://schemas.microsoft.com/office/drawing/2014/main" id="{E18F1144-3F24-46D3-9F48-6EC40B5B5DD8}"/>
              </a:ext>
            </a:extLst>
          </p:cNvPr>
          <p:cNvSpPr>
            <a:spLocks noGrp="1"/>
          </p:cNvSpPr>
          <p:nvPr>
            <p:ph type="subTitle" idx="1"/>
          </p:nvPr>
        </p:nvSpPr>
        <p:spPr>
          <a:xfrm>
            <a:off x="815009" y="4277496"/>
            <a:ext cx="8176591" cy="1569307"/>
          </a:xfrm>
        </p:spPr>
        <p:txBody>
          <a:bodyPr>
            <a:normAutofit/>
          </a:bodyPr>
          <a:lstStyle>
            <a:lvl1pPr marL="0" indent="0" algn="l">
              <a:buNone/>
              <a:defRPr sz="2200" b="0" i="0">
                <a:solidFill>
                  <a:schemeClr val="bg1"/>
                </a:solidFill>
                <a:latin typeface="+mn-lt"/>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l-PL" dirty="0"/>
              <a:t>Kliknij, aby edytować styl wzorca podtytułu</a:t>
            </a:r>
          </a:p>
        </p:txBody>
      </p:sp>
      <p:sp>
        <p:nvSpPr>
          <p:cNvPr id="7" name="Tytuł 1">
            <a:extLst>
              <a:ext uri="{FF2B5EF4-FFF2-40B4-BE49-F238E27FC236}">
                <a16:creationId xmlns:a16="http://schemas.microsoft.com/office/drawing/2014/main" id="{550B208F-C39B-4141-A8F9-6CC8CB7D9378}"/>
              </a:ext>
            </a:extLst>
          </p:cNvPr>
          <p:cNvSpPr>
            <a:spLocks noGrp="1"/>
          </p:cNvSpPr>
          <p:nvPr>
            <p:ph type="title" idx="11"/>
          </p:nvPr>
        </p:nvSpPr>
        <p:spPr>
          <a:xfrm>
            <a:off x="815009" y="2209800"/>
            <a:ext cx="8176591" cy="1907053"/>
          </a:xfrm>
          <a:prstGeom prst="rect">
            <a:avLst/>
          </a:prstGeom>
        </p:spPr>
        <p:txBody>
          <a:bodyPr vert="horz" rtlCol="0" anchor="b">
            <a:normAutofit/>
          </a:bodyPr>
          <a:lstStyle>
            <a:lvl1pPr lvl="0" algn="l">
              <a:defRPr lang="en-US" sz="4000" b="1" i="0" dirty="0">
                <a:solidFill>
                  <a:schemeClr val="accent1"/>
                </a:solidFill>
                <a:latin typeface="+mj-lt"/>
              </a:defRPr>
            </a:lvl1pPr>
          </a:lstStyle>
          <a:p>
            <a:r>
              <a:rPr lang="en-US" dirty="0"/>
              <a:t>Kliknij, aby edytować sty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Nagłówek sekcj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ytuł 1"/>
          <p:cNvSpPr>
            <a:spLocks noGrp="1"/>
          </p:cNvSpPr>
          <p:nvPr>
            <p:ph type="title" idx="10"/>
          </p:nvPr>
        </p:nvSpPr>
        <p:spPr>
          <a:xfrm>
            <a:off x="815008" y="928462"/>
            <a:ext cx="6881192" cy="2127455"/>
          </a:xfrm>
          <a:prstGeom prst="rect">
            <a:avLst/>
          </a:prstGeom>
        </p:spPr>
        <p:txBody>
          <a:bodyPr vert="horz" rtlCol="0" anchor="b">
            <a:normAutofit/>
          </a:bodyPr>
          <a:lstStyle>
            <a:lvl1pPr lvl="0" algn="l">
              <a:defRPr lang="en-US" sz="4000" b="1" i="0" dirty="0">
                <a:solidFill>
                  <a:schemeClr val="accent1"/>
                </a:solidFill>
                <a:latin typeface="+mj-lt"/>
              </a:defRPr>
            </a:lvl1pPr>
          </a:lstStyle>
          <a:p>
            <a:r>
              <a:rPr lang="en-US" dirty="0"/>
              <a:t>Kliknij, aby edytować nagłówek</a:t>
            </a:r>
          </a:p>
        </p:txBody>
      </p:sp>
      <p:sp>
        <p:nvSpPr>
          <p:cNvPr id="3" name="Podtytuł 2"/>
          <p:cNvSpPr>
            <a:spLocks noGrp="1"/>
          </p:cNvSpPr>
          <p:nvPr>
            <p:ph type="subTitle" idx="11"/>
          </p:nvPr>
        </p:nvSpPr>
        <p:spPr>
          <a:xfrm>
            <a:off x="2504048" y="3429001"/>
            <a:ext cx="5192152" cy="1524000"/>
          </a:xfrm>
          <a:prstGeom prst="rect">
            <a:avLst/>
          </a:prstGeom>
        </p:spPr>
        <p:txBody>
          <a:bodyPr vert="horz" rtlCol="0">
            <a:normAutofit/>
          </a:bodyPr>
          <a:lstStyle>
            <a:lvl1pPr lvl="0" indent="0" algn="l">
              <a:buNone/>
              <a:defRPr lang="en-US" sz="2000" b="0" i="0" dirty="0">
                <a:solidFill>
                  <a:schemeClr val="tx1"/>
                </a:solidFill>
                <a:latin typeface="+mn-lt"/>
              </a:defRPr>
            </a:lvl1pPr>
            <a:lvl2pPr marL="457200" lvl="1" indent="0" algn="ctr">
              <a:buNone/>
              <a:defRPr lang="en-US" sz="2000" dirty="0"/>
            </a:lvl2pPr>
            <a:lvl3pPr marL="914400" lvl="2" indent="0" algn="ctr">
              <a:buNone/>
              <a:defRPr lang="en-US" sz="1800" dirty="0"/>
            </a:lvl3pPr>
            <a:lvl4pPr marL="1371600" lvl="3" indent="0" algn="ctr">
              <a:buNone/>
              <a:defRPr lang="en-US" sz="1600" dirty="0"/>
            </a:lvl4pPr>
            <a:lvl5pPr marL="1828800" lvl="4" indent="0" algn="ctr">
              <a:buNone/>
              <a:defRPr lang="en-US" sz="1600" dirty="0"/>
            </a:lvl5pPr>
            <a:lvl6pPr marL="2286000" lvl="5" indent="0" algn="ctr">
              <a:buNone/>
              <a:defRPr lang="en-US" sz="1600" dirty="0"/>
            </a:lvl6pPr>
            <a:lvl7pPr marL="2743200" lvl="6" indent="0" algn="ctr">
              <a:buNone/>
              <a:defRPr lang="en-US" sz="1600" dirty="0"/>
            </a:lvl7pPr>
            <a:lvl8pPr marL="3200400" lvl="7" indent="0" algn="ctr">
              <a:buNone/>
              <a:defRPr lang="en-US" sz="1600" dirty="0"/>
            </a:lvl8pPr>
            <a:lvl9pPr marL="3657600" lvl="8" indent="0" algn="ctr">
              <a:buNone/>
              <a:defRPr lang="en-US" sz="1600" dirty="0"/>
            </a:lvl9pPr>
          </a:lstStyle>
          <a:p>
            <a:r>
              <a:rPr lang="en-US" dirty="0"/>
              <a:t>Kliknij, aby dodać dane</a:t>
            </a:r>
          </a:p>
        </p:txBody>
      </p:sp>
      <p:sp>
        <p:nvSpPr>
          <p:cNvPr id="6" name="Symbol zastępczy obrazu 5">
            <a:extLst>
              <a:ext uri="{FF2B5EF4-FFF2-40B4-BE49-F238E27FC236}">
                <a16:creationId xmlns:a16="http://schemas.microsoft.com/office/drawing/2014/main" id="{17B1752B-93AC-464D-B633-8D79C30E10E5}"/>
              </a:ext>
            </a:extLst>
          </p:cNvPr>
          <p:cNvSpPr>
            <a:spLocks noGrp="1"/>
          </p:cNvSpPr>
          <p:nvPr>
            <p:ph type="pic" sz="quarter" idx="13"/>
          </p:nvPr>
        </p:nvSpPr>
        <p:spPr>
          <a:xfrm>
            <a:off x="814388" y="3429000"/>
            <a:ext cx="1427162" cy="1427162"/>
          </a:xfrm>
        </p:spPr>
        <p:txBody>
          <a:bodyPr/>
          <a:lstStyle/>
          <a:p>
            <a:endParaRPr lang="pl-PL"/>
          </a:p>
        </p:txBody>
      </p:sp>
      <p:sp>
        <p:nvSpPr>
          <p:cNvPr id="7" name="Prostokąt 6">
            <a:extLst>
              <a:ext uri="{FF2B5EF4-FFF2-40B4-BE49-F238E27FC236}">
                <a16:creationId xmlns:a16="http://schemas.microsoft.com/office/drawing/2014/main" id="{260D8896-4553-4561-8688-352D3793B2C9}"/>
              </a:ext>
            </a:extLst>
          </p:cNvPr>
          <p:cNvSpPr/>
          <p:nvPr userDrawn="1"/>
        </p:nvSpPr>
        <p:spPr>
          <a:xfrm>
            <a:off x="935038" y="3525838"/>
            <a:ext cx="1427162" cy="1427162"/>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8711121" y="0"/>
            <a:ext cx="3480878" cy="6857997"/>
          </a:xfrm>
          <a:prstGeom prst="rect">
            <a:avLst/>
          </a:prstGeom>
        </p:spPr>
      </p:pic>
      <p:pic>
        <p:nvPicPr>
          <p:cNvPr id="17" name="bg object 17"/>
          <p:cNvPicPr/>
          <p:nvPr/>
        </p:nvPicPr>
        <p:blipFill>
          <a:blip r:embed="rId3" cstate="print"/>
          <a:stretch>
            <a:fillRect/>
          </a:stretch>
        </p:blipFill>
        <p:spPr>
          <a:xfrm>
            <a:off x="815339" y="1295400"/>
            <a:ext cx="2625852" cy="600455"/>
          </a:xfrm>
          <a:prstGeom prst="rect">
            <a:avLst/>
          </a:prstGeom>
        </p:spPr>
      </p:pic>
      <p:sp>
        <p:nvSpPr>
          <p:cNvPr id="18" name="bg object 18"/>
          <p:cNvSpPr/>
          <p:nvPr/>
        </p:nvSpPr>
        <p:spPr>
          <a:xfrm>
            <a:off x="761" y="2362961"/>
            <a:ext cx="1524000" cy="0"/>
          </a:xfrm>
          <a:custGeom>
            <a:avLst/>
            <a:gdLst/>
            <a:ahLst/>
            <a:cxnLst/>
            <a:rect l="l" t="t" r="r" b="b"/>
            <a:pathLst>
              <a:path w="1524000">
                <a:moveTo>
                  <a:pt x="0" y="0"/>
                </a:moveTo>
                <a:lnTo>
                  <a:pt x="1524000" y="0"/>
                </a:lnTo>
              </a:path>
            </a:pathLst>
          </a:custGeom>
          <a:ln w="28575">
            <a:solidFill>
              <a:srgbClr val="C70F2D"/>
            </a:solidFill>
          </a:ln>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1/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2229933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divider with photo background">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3F3EE2-5121-4ECD-A82A-ABBA69037790}"/>
              </a:ext>
            </a:extLst>
          </p:cNvPr>
          <p:cNvGraphicFramePr>
            <a:graphicFrameLocks noChangeAspect="1"/>
          </p:cNvGraphicFramePr>
          <p:nvPr userDrawn="1">
            <p:custDataLst>
              <p:tags r:id="rId1"/>
            </p:custDataLst>
            <p:extLst>
              <p:ext uri="{D42A27DB-BD31-4B8C-83A1-F6EECF244321}">
                <p14:modId xmlns:p14="http://schemas.microsoft.com/office/powerpoint/2010/main" val="3844133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 name="Object 1" hidden="1">
                        <a:extLst>
                          <a:ext uri="{FF2B5EF4-FFF2-40B4-BE49-F238E27FC236}">
                            <a16:creationId xmlns:a16="http://schemas.microsoft.com/office/drawing/2014/main" id="{AF3F3EE2-5121-4ECD-A82A-ABBA690377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FFE7B338-1383-7843-9E8D-F295A0DFF59D}"/>
              </a:ext>
            </a:extLst>
          </p:cNvPr>
          <p:cNvSpPr>
            <a:spLocks noGrp="1"/>
          </p:cNvSpPr>
          <p:nvPr>
            <p:ph type="pic" sz="quarter" idx="13" hasCustomPrompt="1"/>
          </p:nvPr>
        </p:nvSpPr>
        <p:spPr>
          <a:xfrm>
            <a:off x="-1" y="0"/>
            <a:ext cx="12191999" cy="6858000"/>
          </a:xfrm>
          <a:custGeom>
            <a:avLst/>
            <a:gdLst>
              <a:gd name="connsiteX0" fmla="*/ 0 w 12191999"/>
              <a:gd name="connsiteY0" fmla="*/ 0 h 6858000"/>
              <a:gd name="connsiteX1" fmla="*/ 10321761 w 12191999"/>
              <a:gd name="connsiteY1" fmla="*/ 0 h 6858000"/>
              <a:gd name="connsiteX2" fmla="*/ 10321761 w 12191999"/>
              <a:gd name="connsiteY2" fmla="*/ 673804 h 6858000"/>
              <a:gd name="connsiteX3" fmla="*/ 11887200 w 12191999"/>
              <a:gd name="connsiteY3" fmla="*/ 673804 h 6858000"/>
              <a:gd name="connsiteX4" fmla="*/ 11887200 w 12191999"/>
              <a:gd name="connsiteY4" fmla="*/ 0 h 6858000"/>
              <a:gd name="connsiteX5" fmla="*/ 12191999 w 12191999"/>
              <a:gd name="connsiteY5" fmla="*/ 0 h 6858000"/>
              <a:gd name="connsiteX6" fmla="*/ 12191999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0" y="0"/>
                </a:moveTo>
                <a:lnTo>
                  <a:pt x="10321761" y="0"/>
                </a:lnTo>
                <a:lnTo>
                  <a:pt x="10321761" y="673804"/>
                </a:lnTo>
                <a:lnTo>
                  <a:pt x="11887200" y="673804"/>
                </a:lnTo>
                <a:lnTo>
                  <a:pt x="11887200" y="0"/>
                </a:lnTo>
                <a:lnTo>
                  <a:pt x="12191999" y="0"/>
                </a:lnTo>
                <a:lnTo>
                  <a:pt x="12191999" y="6858000"/>
                </a:lnTo>
                <a:lnTo>
                  <a:pt x="0" y="6858000"/>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a:solidFill>
                  <a:schemeClr val="tx1"/>
                </a:solidFill>
                <a:latin typeface="+mn-lt"/>
                <a:ea typeface="+mn-ea"/>
                <a:cs typeface="+mn-cs"/>
                <a:sym typeface="+mn-lt"/>
              </a:defRPr>
            </a:lvl1pPr>
          </a:lstStyle>
          <a:p>
            <a:pPr lvl="0" algn="ctr">
              <a:buNone/>
            </a:pPr>
            <a:r>
              <a:rPr lang="en-US" dirty="0"/>
              <a:t>Add photo</a:t>
            </a:r>
          </a:p>
        </p:txBody>
      </p:sp>
      <p:sp>
        <p:nvSpPr>
          <p:cNvPr id="5" name="Slide Number Placeholder 2">
            <a:extLst>
              <a:ext uri="{FF2B5EF4-FFF2-40B4-BE49-F238E27FC236}">
                <a16:creationId xmlns:a16="http://schemas.microsoft.com/office/drawing/2014/main" id="{A634E9F6-D24E-5141-81EF-69349B9658EA}"/>
              </a:ext>
            </a:extLst>
          </p:cNvPr>
          <p:cNvSpPr>
            <a:spLocks noGrp="1"/>
          </p:cNvSpPr>
          <p:nvPr>
            <p:ph type="sldNum" sz="quarter" idx="10"/>
          </p:nvPr>
        </p:nvSpPr>
        <p:spPr>
          <a:xfrm>
            <a:off x="1" y="6553200"/>
            <a:ext cx="304799" cy="304799"/>
          </a:xfrm>
        </p:spPr>
        <p:txBody>
          <a:bodyPr/>
          <a:lstStyle>
            <a:lvl1pPr>
              <a:defRPr>
                <a:solidFill>
                  <a:schemeClr val="bg1"/>
                </a:solidFill>
                <a:latin typeface="+mn-lt"/>
                <a:ea typeface="+mn-ea"/>
                <a:cs typeface="+mn-cs"/>
                <a:sym typeface="+mn-lt"/>
              </a:defRPr>
            </a:lvl1pPr>
          </a:lstStyle>
          <a:p>
            <a:fld id="{89006F1E-66CD-4A4B-9370-B4A3080F0E6C}" type="slidenum">
              <a:rPr lang="en-US" smtClean="0"/>
              <a:pPr/>
              <a:t>‹#›</a:t>
            </a:fld>
            <a:endParaRPr lang="en-US" dirty="0"/>
          </a:p>
        </p:txBody>
      </p:sp>
      <p:sp>
        <p:nvSpPr>
          <p:cNvPr id="6" name="Footer Placeholder 1">
            <a:extLst>
              <a:ext uri="{FF2B5EF4-FFF2-40B4-BE49-F238E27FC236}">
                <a16:creationId xmlns:a16="http://schemas.microsoft.com/office/drawing/2014/main" id="{B41A9DDB-F5FB-5046-B179-F07475B09908}"/>
              </a:ext>
            </a:extLst>
          </p:cNvPr>
          <p:cNvSpPr>
            <a:spLocks noGrp="1"/>
          </p:cNvSpPr>
          <p:nvPr>
            <p:ph type="ftr" sz="quarter" idx="14"/>
          </p:nvPr>
        </p:nvSpPr>
        <p:spPr>
          <a:xfrm>
            <a:off x="304798" y="6553201"/>
            <a:ext cx="3960000" cy="304800"/>
          </a:xfrm>
          <a:prstGeom prst="rect">
            <a:avLst/>
          </a:prstGeom>
        </p:spPr>
        <p:txBody>
          <a:bodyPr/>
          <a:lstStyle>
            <a:lvl1pPr>
              <a:defRPr>
                <a:solidFill>
                  <a:schemeClr val="bg1"/>
                </a:solidFill>
                <a:latin typeface="+mn-lt"/>
                <a:ea typeface="+mn-ea"/>
                <a:cs typeface="+mn-cs"/>
                <a:sym typeface="+mn-lt"/>
              </a:defRPr>
            </a:lvl1pPr>
          </a:lstStyle>
          <a:p>
            <a:r>
              <a:rPr lang="en-US"/>
              <a:t>system.support.fi@thermofisher.com | 31-August-2020</a:t>
            </a:r>
            <a:endParaRPr lang="en-US" dirty="0"/>
          </a:p>
        </p:txBody>
      </p:sp>
      <p:sp>
        <p:nvSpPr>
          <p:cNvPr id="8" name="Content Placeholder 2">
            <a:extLst>
              <a:ext uri="{FF2B5EF4-FFF2-40B4-BE49-F238E27FC236}">
                <a16:creationId xmlns:a16="http://schemas.microsoft.com/office/drawing/2014/main" id="{5DC4D9F1-5E1A-DD4A-946F-32414E026F44}"/>
              </a:ext>
            </a:extLst>
          </p:cNvPr>
          <p:cNvSpPr>
            <a:spLocks noGrp="1"/>
          </p:cNvSpPr>
          <p:nvPr>
            <p:ph sz="quarter" idx="15" hasCustomPrompt="1"/>
          </p:nvPr>
        </p:nvSpPr>
        <p:spPr>
          <a:xfrm>
            <a:off x="0" y="3742192"/>
            <a:ext cx="6096000" cy="1071062"/>
          </a:xfrm>
          <a:solidFill>
            <a:schemeClr val="bg1"/>
          </a:solidFill>
        </p:spPr>
        <p:txBody>
          <a:bodyPr wrap="square" lIns="292608" tIns="201168" rIns="292608" bIns="91440" anchor="b">
            <a:spAutoFit/>
          </a:bodyPr>
          <a:lstStyle>
            <a:lvl1pPr marL="0" indent="0">
              <a:lnSpc>
                <a:spcPct val="90000"/>
              </a:lnSpc>
              <a:buNone/>
              <a:defRPr sz="2800" b="1">
                <a:solidFill>
                  <a:schemeClr val="tx2"/>
                </a:solidFill>
                <a:latin typeface="+mn-lt"/>
                <a:ea typeface="+mn-ea"/>
                <a:cs typeface="+mn-cs"/>
                <a:sym typeface="+mn-lt"/>
              </a:defRPr>
            </a:lvl1pPr>
          </a:lstStyle>
          <a:p>
            <a:pPr lvl="0"/>
            <a:r>
              <a:rPr lang="en-US" dirty="0"/>
              <a:t>Section title with full photo background</a:t>
            </a:r>
          </a:p>
        </p:txBody>
      </p:sp>
      <p:sp>
        <p:nvSpPr>
          <p:cNvPr id="10" name="Content Placeholder 2">
            <a:extLst>
              <a:ext uri="{FF2B5EF4-FFF2-40B4-BE49-F238E27FC236}">
                <a16:creationId xmlns:a16="http://schemas.microsoft.com/office/drawing/2014/main" id="{15406226-911A-D441-8417-8C4961D7AEF2}"/>
              </a:ext>
            </a:extLst>
          </p:cNvPr>
          <p:cNvSpPr>
            <a:spLocks noGrp="1"/>
          </p:cNvSpPr>
          <p:nvPr>
            <p:ph sz="quarter" idx="16" hasCustomPrompt="1"/>
          </p:nvPr>
        </p:nvSpPr>
        <p:spPr>
          <a:xfrm>
            <a:off x="0" y="4813254"/>
            <a:ext cx="6096000" cy="630814"/>
          </a:xfrm>
          <a:solidFill>
            <a:schemeClr val="bg1"/>
          </a:solidFill>
        </p:spPr>
        <p:txBody>
          <a:bodyPr wrap="square" lIns="292608" tIns="91440" rIns="292608" bIns="201168" anchor="t">
            <a:spAutoFit/>
          </a:bodyPr>
          <a:lstStyle>
            <a:lvl1pPr marL="0" marR="0" indent="0" algn="l" defTabSz="914400" rtl="0" eaLnBrk="1" fontAlgn="auto" latinLnBrk="0" hangingPunct="1">
              <a:lnSpc>
                <a:spcPct val="100000"/>
              </a:lnSpc>
              <a:spcBef>
                <a:spcPts val="200"/>
              </a:spcBef>
              <a:spcAft>
                <a:spcPts val="0"/>
              </a:spcAft>
              <a:buClr>
                <a:schemeClr val="tx2"/>
              </a:buClr>
              <a:buSzPct val="100000"/>
              <a:buFont typeface="Arial" panose="020B0604020202020204" pitchFamily="34" charset="0"/>
              <a:buNone/>
              <a:tabLst/>
              <a:defRPr lang="en-US" sz="2000" b="0" kern="1200" dirty="0">
                <a:solidFill>
                  <a:schemeClr val="tx1"/>
                </a:solidFill>
                <a:latin typeface="+mn-lt"/>
                <a:ea typeface="+mn-ea"/>
                <a:cs typeface="+mn-cs"/>
                <a:sym typeface="+mn-lt"/>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dirty="0"/>
              <a:t>Sub title and or description of next section</a:t>
            </a:r>
          </a:p>
        </p:txBody>
      </p:sp>
    </p:spTree>
    <p:extLst>
      <p:ext uri="{BB962C8B-B14F-4D97-AF65-F5344CB8AC3E}">
        <p14:creationId xmlns:p14="http://schemas.microsoft.com/office/powerpoint/2010/main" val="704132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portant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A5017D-3842-4C83-8CAD-6907F8C2DC06}"/>
              </a:ext>
            </a:extLst>
          </p:cNvPr>
          <p:cNvGraphicFramePr>
            <a:graphicFrameLocks noChangeAspect="1"/>
          </p:cNvGraphicFramePr>
          <p:nvPr userDrawn="1">
            <p:custDataLst>
              <p:tags r:id="rId1"/>
            </p:custDataLst>
            <p:extLst>
              <p:ext uri="{D42A27DB-BD31-4B8C-83A1-F6EECF244321}">
                <p14:modId xmlns:p14="http://schemas.microsoft.com/office/powerpoint/2010/main" val="1692070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 name="Object 1" hidden="1">
                        <a:extLst>
                          <a:ext uri="{FF2B5EF4-FFF2-40B4-BE49-F238E27FC236}">
                            <a16:creationId xmlns:a16="http://schemas.microsoft.com/office/drawing/2014/main" id="{E3A5017D-3842-4C83-8CAD-6907F8C2DC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Rectangle 40">
            <a:extLst>
              <a:ext uri="{FF2B5EF4-FFF2-40B4-BE49-F238E27FC236}">
                <a16:creationId xmlns:a16="http://schemas.microsoft.com/office/drawing/2014/main" id="{0081F8D7-94E1-D14A-9B72-83893197CFDB}"/>
              </a:ext>
            </a:extLst>
          </p:cNvPr>
          <p:cNvSpPr/>
          <p:nvPr userDrawn="1"/>
        </p:nvSpPr>
        <p:spPr>
          <a:xfrm>
            <a:off x="304799" y="1447799"/>
            <a:ext cx="4876801" cy="23473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sym typeface="+mn-lt"/>
            </a:endParaRPr>
          </a:p>
        </p:txBody>
      </p:sp>
      <p:sp>
        <p:nvSpPr>
          <p:cNvPr id="46" name="Text Placeholder 9">
            <a:extLst>
              <a:ext uri="{FF2B5EF4-FFF2-40B4-BE49-F238E27FC236}">
                <a16:creationId xmlns:a16="http://schemas.microsoft.com/office/drawing/2014/main" id="{4DB97ED0-9771-E044-B63D-01D4F8A70AD0}"/>
              </a:ext>
            </a:extLst>
          </p:cNvPr>
          <p:cNvSpPr txBox="1">
            <a:spLocks/>
          </p:cNvSpPr>
          <p:nvPr userDrawn="1"/>
        </p:nvSpPr>
        <p:spPr>
          <a:xfrm>
            <a:off x="300227" y="3966983"/>
            <a:ext cx="4869914" cy="2586217"/>
          </a:xfrm>
          <a:prstGeom prst="rect">
            <a:avLst/>
          </a:prstGeom>
        </p:spPr>
        <p:txBody>
          <a:bodyPr vert="horz" lIns="0" tIns="0" rIns="0" bIns="0" numCol="1" rtlCol="0" anchor="t">
            <a:noAutofit/>
          </a:bodyPr>
          <a:lstStyle>
            <a:lvl1pPr marL="0" indent="0" algn="l" defTabSz="914400" rtl="0" eaLnBrk="1" latinLnBrk="0" hangingPunct="1">
              <a:lnSpc>
                <a:spcPct val="100000"/>
              </a:lnSpc>
              <a:spcBef>
                <a:spcPts val="400"/>
              </a:spcBef>
              <a:buClr>
                <a:schemeClr val="accent4"/>
              </a:buClr>
              <a:buSzPct val="100000"/>
              <a:buFont typeface="Arial" panose="020B0604020202020204" pitchFamily="34" charset="0"/>
              <a:buNone/>
              <a:tabLst/>
              <a:defRPr sz="2000" b="0" kern="1200">
                <a:solidFill>
                  <a:schemeClr val="tx1"/>
                </a:solidFill>
                <a:latin typeface="+mn-lt"/>
                <a:ea typeface="+mn-ea"/>
                <a:cs typeface="+mn-cs"/>
              </a:defRPr>
            </a:lvl1pPr>
            <a:lvl2pPr marL="236537" marR="0" indent="0" algn="l" defTabSz="914400" rtl="0" eaLnBrk="1" fontAlgn="auto" latinLnBrk="0" hangingPunct="1">
              <a:lnSpc>
                <a:spcPct val="100000"/>
              </a:lnSpc>
              <a:spcBef>
                <a:spcPts val="400"/>
              </a:spcBef>
              <a:spcAft>
                <a:spcPts val="0"/>
              </a:spcAft>
              <a:buClrTx/>
              <a:buSzPct val="76000"/>
              <a:buFont typeface="Arial" panose="020B0604020202020204" pitchFamily="34" charset="0"/>
              <a:buNone/>
              <a:tabLst/>
              <a:defRPr sz="1800" b="0" kern="1200">
                <a:solidFill>
                  <a:schemeClr val="tx1"/>
                </a:solidFill>
                <a:latin typeface="+mn-lt"/>
                <a:ea typeface="+mn-ea"/>
                <a:cs typeface="+mn-cs"/>
              </a:defRPr>
            </a:lvl2pPr>
            <a:lvl3pPr marL="749300" marR="0" indent="-285750" algn="l" defTabSz="914400" rtl="0" eaLnBrk="1" fontAlgn="auto" latinLnBrk="0" hangingPunct="1">
              <a:lnSpc>
                <a:spcPct val="100000"/>
              </a:lnSpc>
              <a:spcBef>
                <a:spcPts val="400"/>
              </a:spcBef>
              <a:spcAft>
                <a:spcPts val="0"/>
              </a:spcAft>
              <a:buClrTx/>
              <a:buSzPct val="80000"/>
              <a:buFont typeface="System Font Regular"/>
              <a:buChar char="-"/>
              <a:tabLst/>
              <a:defRPr sz="1400" b="0" kern="1200">
                <a:solidFill>
                  <a:schemeClr val="tx1"/>
                </a:solidFill>
                <a:latin typeface="+mn-lt"/>
                <a:ea typeface="+mn-ea"/>
                <a:cs typeface="+mn-cs"/>
              </a:defRPr>
            </a:lvl3pPr>
            <a:lvl4pPr marL="690563" marR="0" indent="0" algn="l" defTabSz="914400" rtl="0" eaLnBrk="1" fontAlgn="auto" latinLnBrk="0" hangingPunct="1">
              <a:lnSpc>
                <a:spcPct val="100000"/>
              </a:lnSpc>
              <a:spcBef>
                <a:spcPts val="400"/>
              </a:spcBef>
              <a:spcAft>
                <a:spcPts val="0"/>
              </a:spcAft>
              <a:buClrTx/>
              <a:buSzPct val="80000"/>
              <a:buFont typeface="Arial" panose="020B0604020202020204" pitchFamily="34" charset="0"/>
              <a:buNone/>
              <a:tabLst/>
              <a:defRPr sz="1200" b="0" kern="1200">
                <a:solidFill>
                  <a:schemeClr val="tx1"/>
                </a:solidFill>
                <a:latin typeface="+mn-lt"/>
                <a:ea typeface="+mn-ea"/>
                <a:cs typeface="+mn-cs"/>
              </a:defRPr>
            </a:lvl4pPr>
            <a:lvl5pPr marL="909637" marR="0" indent="0" algn="l" defTabSz="914400" rtl="0" eaLnBrk="1" fontAlgn="auto" latinLnBrk="0" hangingPunct="1">
              <a:lnSpc>
                <a:spcPct val="100000"/>
              </a:lnSpc>
              <a:spcBef>
                <a:spcPts val="400"/>
              </a:spcBef>
              <a:spcAft>
                <a:spcPts val="0"/>
              </a:spcAft>
              <a:buClrTx/>
              <a:buSzPct val="80000"/>
              <a:buFont typeface="Arial" panose="020B0604020202020204" pitchFamily="34" charset="0"/>
              <a:buNone/>
              <a:tabLst/>
              <a:defRPr sz="11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40000"/>
              </a:lnSpc>
            </a:pPr>
            <a:r>
              <a:rPr lang="en-US" sz="1200" b="1" dirty="0">
                <a:latin typeface="+mn-lt"/>
                <a:ea typeface="+mn-ea"/>
                <a:cs typeface="+mn-cs"/>
                <a:sym typeface="+mn-lt"/>
              </a:rPr>
              <a:t>External disclaimer criteria:</a:t>
            </a:r>
          </a:p>
          <a:p>
            <a:pPr marL="171450" indent="-171450">
              <a:lnSpc>
                <a:spcPct val="140000"/>
              </a:lnSpc>
              <a:buFont typeface="Arial" panose="020B0604020202020204" pitchFamily="34" charset="0"/>
              <a:buChar char="•"/>
            </a:pPr>
            <a:r>
              <a:rPr lang="en-US" sz="900" dirty="0">
                <a:latin typeface="+mn-lt"/>
                <a:ea typeface="+mn-ea"/>
                <a:cs typeface="+mn-cs"/>
                <a:sym typeface="+mn-lt"/>
              </a:rPr>
              <a:t>Before sharing confidential information externally, ensure you have a confidential disclosure agreement (CDA) in place. The </a:t>
            </a:r>
            <a:r>
              <a:rPr lang="en-US" sz="900" b="1" dirty="0">
                <a:latin typeface="+mn-lt"/>
                <a:ea typeface="+mn-ea"/>
                <a:cs typeface="+mn-cs"/>
                <a:sym typeface="+mn-lt"/>
              </a:rPr>
              <a:t>“Proprietary &amp; Confidential” </a:t>
            </a:r>
            <a:r>
              <a:rPr lang="en-US" sz="900" dirty="0">
                <a:latin typeface="+mn-lt"/>
                <a:ea typeface="+mn-ea"/>
                <a:cs typeface="+mn-cs"/>
                <a:sym typeface="+mn-lt"/>
              </a:rPr>
              <a:t>disclaimer does not replace a CDA.</a:t>
            </a:r>
          </a:p>
          <a:p>
            <a:pPr marL="171450" indent="-171450">
              <a:lnSpc>
                <a:spcPct val="140000"/>
              </a:lnSpc>
              <a:buFont typeface="Arial" panose="020B0604020202020204" pitchFamily="34" charset="0"/>
              <a:buChar char="•"/>
            </a:pPr>
            <a:r>
              <a:rPr lang="en-US" sz="900" dirty="0">
                <a:latin typeface="+mn-lt"/>
                <a:ea typeface="+mn-ea"/>
                <a:cs typeface="+mn-cs"/>
                <a:sym typeface="+mn-lt"/>
              </a:rPr>
              <a:t>Before removing the </a:t>
            </a:r>
            <a:r>
              <a:rPr lang="en-US" sz="900" b="1" dirty="0">
                <a:latin typeface="+mn-lt"/>
                <a:ea typeface="+mn-ea"/>
                <a:cs typeface="+mn-cs"/>
                <a:sym typeface="+mn-lt"/>
              </a:rPr>
              <a:t>“Proprietary &amp; Confidential” </a:t>
            </a:r>
            <a:r>
              <a:rPr lang="en-US" sz="900" dirty="0">
                <a:latin typeface="+mn-lt"/>
                <a:ea typeface="+mn-ea"/>
                <a:cs typeface="+mn-cs"/>
                <a:sym typeface="+mn-lt"/>
              </a:rPr>
              <a:t>disclaimer to exhibit content externally, you must ensure the content is appropriate from a Business, Division or Group entity; Legal; and Regulatory Affairs perspective. This means following your business’s, division’s or group’s process for obtaining Legal and Regulatory Affairs approval.</a:t>
            </a:r>
          </a:p>
          <a:p>
            <a:pPr marL="171450" indent="-171450">
              <a:lnSpc>
                <a:spcPct val="140000"/>
              </a:lnSpc>
              <a:buFont typeface="Arial" panose="020B0604020202020204" pitchFamily="34" charset="0"/>
              <a:buChar char="•"/>
            </a:pPr>
            <a:r>
              <a:rPr lang="en-US" sz="900" dirty="0">
                <a:latin typeface="+mn-lt"/>
                <a:ea typeface="+mn-ea"/>
                <a:cs typeface="+mn-cs"/>
                <a:sym typeface="+mn-lt"/>
              </a:rPr>
              <a:t>If you’re importing slides from the </a:t>
            </a:r>
            <a:r>
              <a:rPr lang="en-US" sz="900" dirty="0">
                <a:latin typeface="+mn-lt"/>
                <a:ea typeface="+mn-ea"/>
                <a:cs typeface="+mn-cs"/>
                <a:sym typeface="+mn-lt"/>
                <a:hlinkClick r:id="rId5">
                  <a:extLst>
                    <a:ext uri="{A12FA001-AC4F-418D-AE19-62706E023703}">
                      <ahyp:hlinkClr xmlns:ahyp="http://schemas.microsoft.com/office/drawing/2018/hyperlinkcolor" val="tx"/>
                    </a:ext>
                  </a:extLst>
                </a:hlinkClick>
              </a:rPr>
              <a:t>Customer Value Proposition</a:t>
            </a:r>
            <a:r>
              <a:rPr lang="en-US" sz="900" dirty="0">
                <a:latin typeface="+mn-lt"/>
                <a:ea typeface="+mn-ea"/>
                <a:cs typeface="+mn-cs"/>
                <a:sym typeface="+mn-lt"/>
              </a:rPr>
              <a:t> deck, which is cleared for external use and not considered Proprietary &amp; Confidential, you can leave a disclaimer off those slides and simply list the author’s email and date published on those slides.</a:t>
            </a:r>
          </a:p>
        </p:txBody>
      </p:sp>
      <p:pic>
        <p:nvPicPr>
          <p:cNvPr id="47" name="Graphic 46">
            <a:extLst>
              <a:ext uri="{FF2B5EF4-FFF2-40B4-BE49-F238E27FC236}">
                <a16:creationId xmlns:a16="http://schemas.microsoft.com/office/drawing/2014/main" id="{5957BB70-3758-2241-95DE-E49DED9F761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44034" y="1665184"/>
            <a:ext cx="356616" cy="365760"/>
          </a:xfrm>
          <a:prstGeom prst="rect">
            <a:avLst/>
          </a:prstGeom>
        </p:spPr>
      </p:pic>
      <p:cxnSp>
        <p:nvCxnSpPr>
          <p:cNvPr id="48" name="Straight Connector 47">
            <a:extLst>
              <a:ext uri="{FF2B5EF4-FFF2-40B4-BE49-F238E27FC236}">
                <a16:creationId xmlns:a16="http://schemas.microsoft.com/office/drawing/2014/main" id="{63783495-6D28-834A-90D4-F810D049B150}"/>
              </a:ext>
            </a:extLst>
          </p:cNvPr>
          <p:cNvCxnSpPr>
            <a:cxnSpLocks/>
          </p:cNvCxnSpPr>
          <p:nvPr userDrawn="1"/>
        </p:nvCxnSpPr>
        <p:spPr>
          <a:xfrm>
            <a:off x="5505901" y="1481339"/>
            <a:ext cx="0" cy="472440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23692791-F43E-EE45-B104-207B0D8D1E5C}"/>
              </a:ext>
            </a:extLst>
          </p:cNvPr>
          <p:cNvSpPr txBox="1"/>
          <p:nvPr userDrawn="1"/>
        </p:nvSpPr>
        <p:spPr>
          <a:xfrm>
            <a:off x="1143000" y="1667690"/>
            <a:ext cx="3807135" cy="1873031"/>
          </a:xfrm>
          <a:prstGeom prst="rect">
            <a:avLst/>
          </a:prstGeom>
          <a:noFill/>
        </p:spPr>
        <p:txBody>
          <a:bodyPr wrap="square" lIns="0" tIns="0" rIns="0" bIns="0" rtlCol="0">
            <a:normAutofit lnSpcReduction="10000"/>
          </a:bodyPr>
          <a:lstStyle/>
          <a:p>
            <a:pPr defTabSz="914400">
              <a:lnSpc>
                <a:spcPct val="120000"/>
              </a:lnSpc>
              <a:spcBef>
                <a:spcPts val="200"/>
              </a:spcBef>
              <a:buClr>
                <a:schemeClr val="tx2"/>
              </a:buClr>
              <a:buSzPct val="100000"/>
            </a:pPr>
            <a:r>
              <a:rPr lang="en-US" sz="1100" b="1" dirty="0">
                <a:solidFill>
                  <a:schemeClr val="bg1"/>
                </a:solidFill>
                <a:latin typeface="+mn-lt"/>
                <a:ea typeface="+mn-ea"/>
                <a:cs typeface="+mn-cs"/>
                <a:sym typeface="+mn-lt"/>
              </a:rPr>
              <a:t>Important:</a:t>
            </a:r>
            <a:r>
              <a:rPr lang="en-US" sz="1100" dirty="0">
                <a:solidFill>
                  <a:schemeClr val="bg1"/>
                </a:solidFill>
                <a:latin typeface="+mn-lt"/>
                <a:ea typeface="+mn-ea"/>
                <a:cs typeface="+mn-cs"/>
                <a:sym typeface="+mn-lt"/>
              </a:rPr>
              <a:t> This template contains a default </a:t>
            </a:r>
            <a:r>
              <a:rPr lang="en-US" sz="1100" b="1" dirty="0">
                <a:solidFill>
                  <a:schemeClr val="bg1"/>
                </a:solidFill>
                <a:latin typeface="+mn-lt"/>
                <a:ea typeface="+mn-ea"/>
                <a:cs typeface="+mn-cs"/>
                <a:sym typeface="+mn-lt"/>
              </a:rPr>
              <a:t>“Proprietary &amp; Confidential” </a:t>
            </a:r>
            <a:r>
              <a:rPr lang="en-US" sz="1100" dirty="0">
                <a:solidFill>
                  <a:schemeClr val="bg1"/>
                </a:solidFill>
                <a:latin typeface="+mn-lt"/>
                <a:ea typeface="+mn-ea"/>
                <a:cs typeface="+mn-cs"/>
                <a:sym typeface="+mn-lt"/>
              </a:rPr>
              <a:t>disclaimer in the footer. It is designed to protect information that we want to protect as </a:t>
            </a:r>
            <a:r>
              <a:rPr lang="en-US" sz="1100" b="1" dirty="0">
                <a:solidFill>
                  <a:schemeClr val="bg1"/>
                </a:solidFill>
                <a:latin typeface="+mn-lt"/>
                <a:ea typeface="+mn-ea"/>
                <a:cs typeface="+mn-cs"/>
                <a:sym typeface="+mn-lt"/>
              </a:rPr>
              <a:t>internal use only </a:t>
            </a:r>
            <a:r>
              <a:rPr lang="en-US" sz="1100" dirty="0">
                <a:solidFill>
                  <a:schemeClr val="bg1"/>
                </a:solidFill>
                <a:latin typeface="+mn-lt"/>
                <a:ea typeface="+mn-ea"/>
                <a:cs typeface="+mn-cs"/>
                <a:sym typeface="+mn-lt"/>
              </a:rPr>
              <a:t>and don't want to share with third parties. You should use this unless your material meets criteria that would allow it be shared externally.</a:t>
            </a:r>
            <a:br>
              <a:rPr lang="en-US" sz="1100" dirty="0">
                <a:solidFill>
                  <a:schemeClr val="bg1"/>
                </a:solidFill>
                <a:latin typeface="+mn-lt"/>
                <a:ea typeface="+mn-ea"/>
                <a:cs typeface="+mn-cs"/>
                <a:sym typeface="+mn-lt"/>
              </a:rPr>
            </a:br>
            <a:endParaRPr lang="en-US" sz="1100" dirty="0">
              <a:solidFill>
                <a:schemeClr val="bg1"/>
              </a:solidFill>
              <a:latin typeface="+mn-lt"/>
              <a:ea typeface="+mn-ea"/>
              <a:cs typeface="+mn-cs"/>
              <a:sym typeface="+mn-lt"/>
            </a:endParaRPr>
          </a:p>
          <a:p>
            <a:pPr defTabSz="914400">
              <a:lnSpc>
                <a:spcPct val="120000"/>
              </a:lnSpc>
              <a:spcBef>
                <a:spcPts val="200"/>
              </a:spcBef>
              <a:buClr>
                <a:schemeClr val="tx2"/>
              </a:buClr>
              <a:buSzPct val="100000"/>
            </a:pPr>
            <a:r>
              <a:rPr lang="en-US" sz="1100" dirty="0">
                <a:solidFill>
                  <a:schemeClr val="bg1"/>
                </a:solidFill>
                <a:latin typeface="+mn-lt"/>
                <a:ea typeface="+mn-ea"/>
                <a:cs typeface="+mn-cs"/>
                <a:sym typeface="+mn-lt"/>
              </a:rPr>
              <a:t>To edit the footer, click Insert &gt; Header &amp; Footer, make the change in the pop-up window, and then choose “Apply” for one slide or “Apply to all” for the entire deck.</a:t>
            </a:r>
          </a:p>
        </p:txBody>
      </p:sp>
      <p:sp>
        <p:nvSpPr>
          <p:cNvPr id="79" name="Footer Placeholder 1">
            <a:extLst>
              <a:ext uri="{FF2B5EF4-FFF2-40B4-BE49-F238E27FC236}">
                <a16:creationId xmlns:a16="http://schemas.microsoft.com/office/drawing/2014/main" id="{555EAE1F-5676-C34A-8CF6-B38C31AF80D9}"/>
              </a:ext>
            </a:extLst>
          </p:cNvPr>
          <p:cNvSpPr>
            <a:spLocks noGrp="1"/>
          </p:cNvSpPr>
          <p:nvPr>
            <p:ph type="ftr" sz="quarter" idx="11"/>
          </p:nvPr>
        </p:nvSpPr>
        <p:spPr>
          <a:xfrm>
            <a:off x="304800" y="6553200"/>
            <a:ext cx="5791200" cy="304799"/>
          </a:xfrm>
        </p:spPr>
        <p:txBody>
          <a:bodyPr/>
          <a:lstStyle>
            <a:lvl1pPr>
              <a:defRPr>
                <a:latin typeface="+mn-lt"/>
                <a:ea typeface="+mn-ea"/>
                <a:cs typeface="+mn-cs"/>
                <a:sym typeface="+mn-lt"/>
              </a:defRPr>
            </a:lvl1pPr>
          </a:lstStyle>
          <a:p>
            <a:r>
              <a:rPr lang="en-US"/>
              <a:t>system.support.fi@thermofisher.com | 31-August-2020</a:t>
            </a:r>
            <a:endParaRPr lang="en-US" dirty="0"/>
          </a:p>
        </p:txBody>
      </p:sp>
      <p:sp>
        <p:nvSpPr>
          <p:cNvPr id="80" name="Slide Number Placeholder 2">
            <a:extLst>
              <a:ext uri="{FF2B5EF4-FFF2-40B4-BE49-F238E27FC236}">
                <a16:creationId xmlns:a16="http://schemas.microsoft.com/office/drawing/2014/main" id="{B2F62D11-9A5D-6545-93AD-739D274B4BC5}"/>
              </a:ext>
            </a:extLst>
          </p:cNvPr>
          <p:cNvSpPr>
            <a:spLocks noGrp="1"/>
          </p:cNvSpPr>
          <p:nvPr>
            <p:ph type="sldNum" sz="quarter" idx="13"/>
          </p:nvPr>
        </p:nvSpPr>
        <p:spPr>
          <a:xfrm>
            <a:off x="1" y="6553200"/>
            <a:ext cx="304799" cy="304799"/>
          </a:xfrm>
        </p:spPr>
        <p:txBody>
          <a:bodyPr/>
          <a:lstStyle>
            <a:lvl1pPr>
              <a:defRPr>
                <a:latin typeface="+mn-lt"/>
                <a:ea typeface="+mn-ea"/>
                <a:cs typeface="+mn-cs"/>
                <a:sym typeface="+mn-lt"/>
              </a:defRPr>
            </a:lvl1pPr>
          </a:lstStyle>
          <a:p>
            <a:fld id="{89006F1E-66CD-4A4B-9370-B4A3080F0E6C}" type="slidenum">
              <a:rPr lang="en-US" smtClean="0"/>
              <a:pPr/>
              <a:t>‹#›</a:t>
            </a:fld>
            <a:endParaRPr lang="en-US" dirty="0"/>
          </a:p>
        </p:txBody>
      </p:sp>
      <p:sp>
        <p:nvSpPr>
          <p:cNvPr id="82" name="Title 6">
            <a:extLst>
              <a:ext uri="{FF2B5EF4-FFF2-40B4-BE49-F238E27FC236}">
                <a16:creationId xmlns:a16="http://schemas.microsoft.com/office/drawing/2014/main" id="{E671D4F8-A815-C84C-8B84-2BC0FD804D52}"/>
              </a:ext>
            </a:extLst>
          </p:cNvPr>
          <p:cNvSpPr txBox="1">
            <a:spLocks/>
          </p:cNvSpPr>
          <p:nvPr/>
        </p:nvSpPr>
        <p:spPr>
          <a:xfrm>
            <a:off x="304801" y="304799"/>
            <a:ext cx="9753600" cy="381001"/>
          </a:xfrm>
          <a:prstGeom prst="rect">
            <a:avLst/>
          </a:prstGeom>
        </p:spPr>
        <p:txBody>
          <a:bodyPr vert="horz" wrap="square" lIns="0" tIns="0" rIns="0" bIns="0" rtlCol="0" anchor="t" anchorCtr="0">
            <a:noAutofit/>
          </a:bodyPr>
          <a:lstStyle>
            <a:lvl1pPr defTabSz="914400">
              <a:lnSpc>
                <a:spcPct val="90000"/>
              </a:lnSpc>
              <a:spcBef>
                <a:spcPct val="0"/>
              </a:spcBef>
              <a:buNone/>
              <a:defRPr sz="2800" b="1">
                <a:solidFill>
                  <a:schemeClr val="tx2"/>
                </a:solidFill>
                <a:latin typeface="+mj-lt"/>
                <a:ea typeface="+mj-ea"/>
                <a:cs typeface="+mj-cs"/>
              </a:defRPr>
            </a:lvl1pPr>
          </a:lstStyle>
          <a:p>
            <a:pPr lvl="0"/>
            <a:r>
              <a:rPr lang="en-US" dirty="0">
                <a:latin typeface="+mn-lt"/>
                <a:ea typeface="+mn-ea"/>
                <a:cs typeface="+mn-cs"/>
                <a:sym typeface="+mn-lt"/>
              </a:rPr>
              <a:t>Footer content</a:t>
            </a:r>
          </a:p>
        </p:txBody>
      </p:sp>
      <p:sp>
        <p:nvSpPr>
          <p:cNvPr id="83" name="Text Placeholder 9">
            <a:extLst>
              <a:ext uri="{FF2B5EF4-FFF2-40B4-BE49-F238E27FC236}">
                <a16:creationId xmlns:a16="http://schemas.microsoft.com/office/drawing/2014/main" id="{B9D80A7B-7EE9-C344-B667-9AC3E29BB508}"/>
              </a:ext>
            </a:extLst>
          </p:cNvPr>
          <p:cNvSpPr txBox="1">
            <a:spLocks/>
          </p:cNvSpPr>
          <p:nvPr/>
        </p:nvSpPr>
        <p:spPr>
          <a:xfrm>
            <a:off x="300226" y="893063"/>
            <a:ext cx="11591547" cy="381001"/>
          </a:xfrm>
          <a:prstGeom prst="rect">
            <a:avLst/>
          </a:prstGeom>
        </p:spPr>
        <p:txBody>
          <a:bodyPr vert="horz" lIns="0" tIns="0" rIns="0" bIns="0" rtlCol="0" anchor="t">
            <a:noAutofit/>
          </a:bodyPr>
          <a:lstStyle>
            <a:defPPr>
              <a:defRPr lang="en-US"/>
            </a:defPPr>
            <a:lvl1pPr lvl="0" indent="0" defTabSz="914400">
              <a:lnSpc>
                <a:spcPct val="120000"/>
              </a:lnSpc>
              <a:spcBef>
                <a:spcPts val="200"/>
              </a:spcBef>
              <a:buClr>
                <a:schemeClr val="tx2"/>
              </a:buClr>
              <a:buSzPct val="100000"/>
              <a:buFont typeface="Arial" panose="020B0604020202020204" pitchFamily="34" charset="0"/>
              <a:buNone/>
              <a:tabLst/>
              <a:defRPr sz="2000" b="0"/>
            </a:lvl1pPr>
            <a:lvl2pPr marL="519113" marR="0" indent="-284163" defTabSz="914400" fontAlgn="auto">
              <a:lnSpc>
                <a:spcPct val="120000"/>
              </a:lnSpc>
              <a:spcBef>
                <a:spcPts val="200"/>
              </a:spcBef>
              <a:spcAft>
                <a:spcPts val="0"/>
              </a:spcAft>
              <a:buClrTx/>
              <a:buSzPct val="76000"/>
              <a:buFont typeface="Arial" panose="020B0604020202020204" pitchFamily="34" charset="0"/>
              <a:buChar char="•"/>
              <a:tabLst/>
              <a:defRPr b="0"/>
            </a:lvl2pPr>
            <a:lvl3pPr marL="692150" marR="0" indent="-228600" defTabSz="914400" fontAlgn="auto">
              <a:lnSpc>
                <a:spcPct val="120000"/>
              </a:lnSpc>
              <a:spcBef>
                <a:spcPts val="200"/>
              </a:spcBef>
              <a:spcAft>
                <a:spcPts val="0"/>
              </a:spcAft>
              <a:buClrTx/>
              <a:buSzPct val="80000"/>
              <a:buFont typeface="Arial" panose="020B0604020202020204" pitchFamily="34" charset="0"/>
              <a:buChar char="•"/>
              <a:tabLst/>
              <a:defRPr sz="1400" b="0"/>
            </a:lvl3pPr>
            <a:lvl4pPr marL="862013" marR="0" indent="-171450" defTabSz="914400" fontAlgn="auto">
              <a:lnSpc>
                <a:spcPct val="120000"/>
              </a:lnSpc>
              <a:spcBef>
                <a:spcPts val="200"/>
              </a:spcBef>
              <a:spcAft>
                <a:spcPts val="0"/>
              </a:spcAft>
              <a:buClrTx/>
              <a:buSzPct val="80000"/>
              <a:buFont typeface="Arial" panose="020B0604020202020204" pitchFamily="34" charset="0"/>
              <a:buChar char="•"/>
              <a:tabLst/>
              <a:defRPr sz="1200" b="0"/>
            </a:lvl4pPr>
            <a:lvl5pPr marL="1079500" marR="0" indent="-157163" defTabSz="914400" fontAlgn="auto">
              <a:lnSpc>
                <a:spcPct val="120000"/>
              </a:lnSpc>
              <a:spcBef>
                <a:spcPts val="200"/>
              </a:spcBef>
              <a:spcAft>
                <a:spcPts val="0"/>
              </a:spcAft>
              <a:buClrTx/>
              <a:buSzPct val="80000"/>
              <a:buFont typeface="Arial" panose="020B0604020202020204" pitchFamily="34" charset="0"/>
              <a:buChar char="•"/>
              <a:tabLst/>
              <a:defRPr sz="1100" b="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US" dirty="0">
                <a:latin typeface="+mn-lt"/>
                <a:ea typeface="+mn-ea"/>
                <a:cs typeface="+mn-cs"/>
                <a:sym typeface="+mn-lt"/>
              </a:rPr>
              <a:t>Including confidentiality, product-use disclaimers, author, and date</a:t>
            </a:r>
          </a:p>
        </p:txBody>
      </p:sp>
      <p:sp>
        <p:nvSpPr>
          <p:cNvPr id="45" name="Rectangle 44">
            <a:extLst>
              <a:ext uri="{FF2B5EF4-FFF2-40B4-BE49-F238E27FC236}">
                <a16:creationId xmlns:a16="http://schemas.microsoft.com/office/drawing/2014/main" id="{25AC3306-F602-FF47-86A9-EF05C807374D}"/>
              </a:ext>
            </a:extLst>
          </p:cNvPr>
          <p:cNvSpPr/>
          <p:nvPr userDrawn="1"/>
        </p:nvSpPr>
        <p:spPr>
          <a:xfrm>
            <a:off x="5788336" y="2637630"/>
            <a:ext cx="1952553" cy="184666"/>
          </a:xfrm>
          <a:prstGeom prst="rect">
            <a:avLst/>
          </a:prstGeom>
        </p:spPr>
        <p:txBody>
          <a:bodyPr wrap="square" lIns="0" tIns="0" rIns="0" bIns="0">
            <a:spAutoFit/>
          </a:bodyPr>
          <a:lstStyle/>
          <a:p>
            <a:r>
              <a:rPr lang="en-US" sz="1200" b="1" dirty="0">
                <a:latin typeface="+mn-lt"/>
                <a:ea typeface="+mn-ea"/>
                <a:cs typeface="+mn-cs"/>
                <a:sym typeface="+mn-lt"/>
              </a:rPr>
              <a:t>Footer examples</a:t>
            </a:r>
            <a:endParaRPr lang="en-US" sz="1200" dirty="0">
              <a:latin typeface="+mn-lt"/>
              <a:ea typeface="+mn-ea"/>
              <a:cs typeface="+mn-cs"/>
              <a:sym typeface="+mn-lt"/>
            </a:endParaRPr>
          </a:p>
        </p:txBody>
      </p:sp>
      <p:sp>
        <p:nvSpPr>
          <p:cNvPr id="50" name="Rectangle 49">
            <a:extLst>
              <a:ext uri="{FF2B5EF4-FFF2-40B4-BE49-F238E27FC236}">
                <a16:creationId xmlns:a16="http://schemas.microsoft.com/office/drawing/2014/main" id="{23960E65-62E9-7547-97E0-D130B22286C4}"/>
              </a:ext>
            </a:extLst>
          </p:cNvPr>
          <p:cNvSpPr/>
          <p:nvPr userDrawn="1"/>
        </p:nvSpPr>
        <p:spPr>
          <a:xfrm>
            <a:off x="5788336" y="1447800"/>
            <a:ext cx="6098864" cy="1135775"/>
          </a:xfrm>
          <a:prstGeom prst="rect">
            <a:avLst/>
          </a:prstGeom>
          <a:noFill/>
        </p:spPr>
        <p:txBody>
          <a:bodyPr wrap="square" lIns="0" tIns="0" rIns="0" bIns="0" rtlCol="0">
            <a:noAutofit/>
          </a:bodyPr>
          <a:lstStyle/>
          <a:p>
            <a:pPr defTabSz="914400">
              <a:lnSpc>
                <a:spcPct val="120000"/>
              </a:lnSpc>
              <a:spcBef>
                <a:spcPts val="200"/>
              </a:spcBef>
              <a:buClr>
                <a:schemeClr val="tx2"/>
              </a:buClr>
              <a:buSzPct val="100000"/>
            </a:pPr>
            <a:r>
              <a:rPr lang="en-US" sz="1200" b="1" dirty="0">
                <a:latin typeface="+mn-lt"/>
                <a:ea typeface="+mn-ea"/>
                <a:cs typeface="+mn-cs"/>
                <a:sym typeface="+mn-lt"/>
              </a:rPr>
              <a:t>All footers should contain an author’s or group’s email address and publication date for future reference. </a:t>
            </a:r>
            <a:r>
              <a:rPr lang="en-US" sz="1100" b="0" dirty="0">
                <a:latin typeface="+mn-lt"/>
                <a:ea typeface="+mn-ea"/>
                <a:cs typeface="+mn-cs"/>
                <a:sym typeface="+mn-lt"/>
              </a:rPr>
              <a:t>Always use four digits for the year.</a:t>
            </a:r>
          </a:p>
          <a:p>
            <a:pPr marL="0" marR="0" lvl="0" indent="0" algn="l" defTabSz="914400" rtl="0" eaLnBrk="1" fontAlgn="auto" latinLnBrk="0" hangingPunct="1">
              <a:lnSpc>
                <a:spcPct val="120000"/>
              </a:lnSpc>
              <a:spcBef>
                <a:spcPts val="200"/>
              </a:spcBef>
              <a:spcAft>
                <a:spcPts val="0"/>
              </a:spcAft>
              <a:buClr>
                <a:schemeClr val="tx2"/>
              </a:buClr>
              <a:buSzPct val="100000"/>
              <a:buFontTx/>
              <a:buNone/>
              <a:tabLst/>
              <a:defRPr/>
            </a:pPr>
            <a:r>
              <a:rPr lang="en-US" sz="1100" dirty="0">
                <a:latin typeface="+mn-lt"/>
                <a:ea typeface="+mn-ea"/>
                <a:cs typeface="+mn-cs"/>
                <a:sym typeface="+mn-lt"/>
              </a:rPr>
              <a:t>A </a:t>
            </a:r>
            <a:r>
              <a:rPr lang="en-US" sz="1100" b="1" dirty="0">
                <a:latin typeface="+mn-lt"/>
                <a:ea typeface="+mn-ea"/>
                <a:cs typeface="+mn-cs"/>
                <a:sym typeface="+mn-lt"/>
              </a:rPr>
              <a:t>“</a:t>
            </a:r>
            <a:r>
              <a:rPr lang="en-US" sz="1100" b="1" kern="1200" dirty="0">
                <a:solidFill>
                  <a:schemeClr val="tx1"/>
                </a:solidFill>
                <a:latin typeface="+mn-lt"/>
                <a:ea typeface="+mn-ea"/>
                <a:cs typeface="+mn-cs"/>
                <a:sym typeface="+mn-lt"/>
              </a:rPr>
              <a:t>For Research Use Only</a:t>
            </a:r>
            <a:r>
              <a:rPr lang="en-US" sz="1100" b="1" dirty="0">
                <a:latin typeface="+mn-lt"/>
                <a:ea typeface="+mn-ea"/>
                <a:cs typeface="+mn-cs"/>
                <a:sym typeface="+mn-lt"/>
              </a:rPr>
              <a:t>” </a:t>
            </a:r>
            <a:r>
              <a:rPr lang="en-US" sz="1100" dirty="0">
                <a:latin typeface="+mn-lt"/>
                <a:ea typeface="+mn-ea"/>
                <a:cs typeface="+mn-cs"/>
                <a:sym typeface="+mn-lt"/>
              </a:rPr>
              <a:t>or similar product-use disclaimer should appear on select slides as directed by Regulatory Affairs or Legal only. It should be added on appropriate slides as directed vs being added across the entire deck.</a:t>
            </a:r>
          </a:p>
          <a:p>
            <a:pPr defTabSz="914400">
              <a:lnSpc>
                <a:spcPct val="120000"/>
              </a:lnSpc>
              <a:spcBef>
                <a:spcPts val="200"/>
              </a:spcBef>
              <a:buClr>
                <a:schemeClr val="tx2"/>
              </a:buClr>
              <a:buSzPct val="100000"/>
            </a:pPr>
            <a:endParaRPr lang="en-US" sz="1100" b="1" dirty="0"/>
          </a:p>
        </p:txBody>
      </p:sp>
      <p:sp>
        <p:nvSpPr>
          <p:cNvPr id="51" name="TextBox 50">
            <a:extLst>
              <a:ext uri="{FF2B5EF4-FFF2-40B4-BE49-F238E27FC236}">
                <a16:creationId xmlns:a16="http://schemas.microsoft.com/office/drawing/2014/main" id="{FF007E31-8387-6341-92E9-BBE1A50606DE}"/>
              </a:ext>
            </a:extLst>
          </p:cNvPr>
          <p:cNvSpPr txBox="1"/>
          <p:nvPr userDrawn="1"/>
        </p:nvSpPr>
        <p:spPr>
          <a:xfrm>
            <a:off x="9038023" y="6553200"/>
            <a:ext cx="2849177" cy="304800"/>
          </a:xfrm>
          <a:prstGeom prst="rect">
            <a:avLst/>
          </a:prstGeom>
          <a:noFill/>
        </p:spPr>
        <p:txBody>
          <a:bodyPr wrap="square" lIns="0" tIns="0" rIns="0" bIns="0" rtlCol="0" anchor="ctr">
            <a:noAutofit/>
          </a:bodyPr>
          <a:lstStyle/>
          <a:p>
            <a:pPr marL="0" indent="0" algn="r" defTabSz="914400">
              <a:lnSpc>
                <a:spcPct val="120000"/>
              </a:lnSpc>
              <a:spcBef>
                <a:spcPts val="200"/>
              </a:spcBef>
              <a:buClr>
                <a:schemeClr val="tx2"/>
              </a:buClr>
              <a:buSzPct val="100000"/>
              <a:buFont typeface="Arial" panose="020B0604020202020204" pitchFamily="34" charset="0"/>
              <a:buNone/>
            </a:pPr>
            <a:r>
              <a:rPr lang="en-US" sz="800" kern="1200" dirty="0">
                <a:solidFill>
                  <a:schemeClr val="accent5"/>
                </a:solidFill>
                <a:latin typeface="+mn-lt"/>
                <a:ea typeface="+mn-ea"/>
                <a:cs typeface="+mn-cs"/>
                <a:sym typeface="+mn-lt"/>
              </a:rPr>
              <a:t>2020 Template V1 published 5-August-2020</a:t>
            </a:r>
          </a:p>
        </p:txBody>
      </p:sp>
      <p:grpSp>
        <p:nvGrpSpPr>
          <p:cNvPr id="52" name="Group 51">
            <a:extLst>
              <a:ext uri="{FF2B5EF4-FFF2-40B4-BE49-F238E27FC236}">
                <a16:creationId xmlns:a16="http://schemas.microsoft.com/office/drawing/2014/main" id="{C9CC4B9B-0022-9243-85E2-88CFCF42B221}"/>
              </a:ext>
            </a:extLst>
          </p:cNvPr>
          <p:cNvGrpSpPr/>
          <p:nvPr userDrawn="1"/>
        </p:nvGrpSpPr>
        <p:grpSpPr>
          <a:xfrm>
            <a:off x="5788335" y="2980949"/>
            <a:ext cx="6040980" cy="592961"/>
            <a:chOff x="5788335" y="3097907"/>
            <a:chExt cx="6040980" cy="592961"/>
          </a:xfrm>
        </p:grpSpPr>
        <p:sp>
          <p:nvSpPr>
            <p:cNvPr id="54" name="Rectangle 53">
              <a:extLst>
                <a:ext uri="{FF2B5EF4-FFF2-40B4-BE49-F238E27FC236}">
                  <a16:creationId xmlns:a16="http://schemas.microsoft.com/office/drawing/2014/main" id="{AFDF3057-293D-7845-83FA-63A8080C0331}"/>
                </a:ext>
              </a:extLst>
            </p:cNvPr>
            <p:cNvSpPr/>
            <p:nvPr/>
          </p:nvSpPr>
          <p:spPr>
            <a:xfrm>
              <a:off x="5826081" y="3529285"/>
              <a:ext cx="4398640" cy="161583"/>
            </a:xfrm>
            <a:prstGeom prst="rect">
              <a:avLst/>
            </a:prstGeom>
          </p:spPr>
          <p:txBody>
            <a:bodyPr wrap="none" lIns="0" tIns="0" rIns="0" bIns="0">
              <a:spAutoFit/>
            </a:bodyPr>
            <a:lstStyle/>
            <a:p>
              <a:r>
                <a:rPr lang="en-US" sz="1050">
                  <a:latin typeface="+mn-lt"/>
                  <a:ea typeface="+mn-ea"/>
                  <a:cs typeface="+mn-cs"/>
                  <a:sym typeface="+mn-lt"/>
                </a:rPr>
                <a:t>For </a:t>
              </a:r>
              <a:r>
                <a:rPr lang="en-US" sz="1050" dirty="0">
                  <a:latin typeface="+mn-lt"/>
                  <a:ea typeface="+mn-ea"/>
                  <a:cs typeface="+mn-cs"/>
                  <a:sym typeface="+mn-lt"/>
                </a:rPr>
                <a:t>Research Use Only | </a:t>
              </a:r>
              <a:r>
                <a:rPr lang="en-US" sz="1050" dirty="0" err="1">
                  <a:latin typeface="+mn-lt"/>
                  <a:ea typeface="+mn-ea"/>
                  <a:cs typeface="+mn-cs"/>
                  <a:sym typeface="+mn-lt"/>
                </a:rPr>
                <a:t>authoremail@thermofisher.com</a:t>
              </a:r>
              <a:r>
                <a:rPr lang="en-US" sz="1050" dirty="0">
                  <a:latin typeface="+mn-lt"/>
                  <a:ea typeface="+mn-ea"/>
                  <a:cs typeface="+mn-cs"/>
                  <a:sym typeface="+mn-lt"/>
                </a:rPr>
                <a:t> | 5-August-2020</a:t>
              </a:r>
            </a:p>
          </p:txBody>
        </p:sp>
        <p:sp>
          <p:nvSpPr>
            <p:cNvPr id="56" name="Rectangle 55">
              <a:extLst>
                <a:ext uri="{FF2B5EF4-FFF2-40B4-BE49-F238E27FC236}">
                  <a16:creationId xmlns:a16="http://schemas.microsoft.com/office/drawing/2014/main" id="{4DB60CFA-FA50-6140-9323-F8017BB086F4}"/>
                </a:ext>
              </a:extLst>
            </p:cNvPr>
            <p:cNvSpPr/>
            <p:nvPr/>
          </p:nvSpPr>
          <p:spPr>
            <a:xfrm>
              <a:off x="6938635" y="3097910"/>
              <a:ext cx="764953" cy="215444"/>
            </a:xfrm>
            <a:prstGeom prst="rect">
              <a:avLst/>
            </a:prstGeom>
          </p:spPr>
          <p:txBody>
            <a:bodyPr wrap="none">
              <a:spAutoFit/>
            </a:bodyPr>
            <a:lstStyle/>
            <a:p>
              <a:pPr algn="ctr"/>
              <a:r>
                <a:rPr lang="en-US" sz="800" b="1" dirty="0">
                  <a:latin typeface="+mn-lt"/>
                  <a:ea typeface="+mn-ea"/>
                  <a:cs typeface="+mn-cs"/>
                  <a:sym typeface="+mn-lt"/>
                </a:rPr>
                <a:t>Disclaimers</a:t>
              </a:r>
            </a:p>
          </p:txBody>
        </p:sp>
        <p:sp>
          <p:nvSpPr>
            <p:cNvPr id="57" name="Rectangle 56">
              <a:extLst>
                <a:ext uri="{FF2B5EF4-FFF2-40B4-BE49-F238E27FC236}">
                  <a16:creationId xmlns:a16="http://schemas.microsoft.com/office/drawing/2014/main" id="{9D13A8EF-9551-064B-9C13-D54C8100D205}"/>
                </a:ext>
              </a:extLst>
            </p:cNvPr>
            <p:cNvSpPr/>
            <p:nvPr/>
          </p:nvSpPr>
          <p:spPr>
            <a:xfrm>
              <a:off x="9447833" y="3097908"/>
              <a:ext cx="899605" cy="215444"/>
            </a:xfrm>
            <a:prstGeom prst="rect">
              <a:avLst/>
            </a:prstGeom>
          </p:spPr>
          <p:txBody>
            <a:bodyPr wrap="none">
              <a:spAutoFit/>
            </a:bodyPr>
            <a:lstStyle/>
            <a:p>
              <a:pPr algn="ctr"/>
              <a:r>
                <a:rPr lang="en-US" sz="800" b="1" dirty="0">
                  <a:latin typeface="+mn-lt"/>
                  <a:ea typeface="+mn-ea"/>
                  <a:cs typeface="+mn-cs"/>
                  <a:sym typeface="+mn-lt"/>
                </a:rPr>
                <a:t>Author’s email</a:t>
              </a:r>
            </a:p>
          </p:txBody>
        </p:sp>
        <p:sp>
          <p:nvSpPr>
            <p:cNvPr id="59" name="Rectangle 58">
              <a:extLst>
                <a:ext uri="{FF2B5EF4-FFF2-40B4-BE49-F238E27FC236}">
                  <a16:creationId xmlns:a16="http://schemas.microsoft.com/office/drawing/2014/main" id="{D5641267-53C7-4847-A375-2753B43B2214}"/>
                </a:ext>
              </a:extLst>
            </p:cNvPr>
            <p:cNvSpPr/>
            <p:nvPr/>
          </p:nvSpPr>
          <p:spPr>
            <a:xfrm>
              <a:off x="10907268" y="3097907"/>
              <a:ext cx="922047" cy="215444"/>
            </a:xfrm>
            <a:prstGeom prst="rect">
              <a:avLst/>
            </a:prstGeom>
          </p:spPr>
          <p:txBody>
            <a:bodyPr wrap="none">
              <a:spAutoFit/>
            </a:bodyPr>
            <a:lstStyle/>
            <a:p>
              <a:pPr algn="ctr"/>
              <a:r>
                <a:rPr lang="en-US" sz="800" b="1" dirty="0">
                  <a:latin typeface="+mn-lt"/>
                  <a:ea typeface="+mn-ea"/>
                  <a:cs typeface="+mn-cs"/>
                  <a:sym typeface="+mn-lt"/>
                </a:rPr>
                <a:t>Date published</a:t>
              </a:r>
            </a:p>
          </p:txBody>
        </p:sp>
        <p:sp>
          <p:nvSpPr>
            <p:cNvPr id="60" name="Left Brace 59">
              <a:extLst>
                <a:ext uri="{FF2B5EF4-FFF2-40B4-BE49-F238E27FC236}">
                  <a16:creationId xmlns:a16="http://schemas.microsoft.com/office/drawing/2014/main" id="{C9E8E1FC-BD9C-7E4D-9155-AC218F931E6B}"/>
                </a:ext>
              </a:extLst>
            </p:cNvPr>
            <p:cNvSpPr/>
            <p:nvPr/>
          </p:nvSpPr>
          <p:spPr>
            <a:xfrm rot="5400000">
              <a:off x="7252434" y="1882734"/>
              <a:ext cx="137356" cy="3065553"/>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n-lt"/>
                <a:ea typeface="+mn-ea"/>
                <a:cs typeface="+mn-cs"/>
                <a:sym typeface="+mn-lt"/>
              </a:endParaRPr>
            </a:p>
          </p:txBody>
        </p:sp>
        <p:sp>
          <p:nvSpPr>
            <p:cNvPr id="61" name="Left Brace 60">
              <a:extLst>
                <a:ext uri="{FF2B5EF4-FFF2-40B4-BE49-F238E27FC236}">
                  <a16:creationId xmlns:a16="http://schemas.microsoft.com/office/drawing/2014/main" id="{CAF8E30E-A971-3245-B5A1-59A016D2BDF0}"/>
                </a:ext>
              </a:extLst>
            </p:cNvPr>
            <p:cNvSpPr/>
            <p:nvPr/>
          </p:nvSpPr>
          <p:spPr>
            <a:xfrm rot="5400000">
              <a:off x="9824590" y="2447952"/>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n-lt"/>
                <a:ea typeface="+mn-ea"/>
                <a:cs typeface="+mn-cs"/>
                <a:sym typeface="+mn-lt"/>
              </a:endParaRPr>
            </a:p>
          </p:txBody>
        </p:sp>
        <p:sp>
          <p:nvSpPr>
            <p:cNvPr id="62" name="Left Brace 61">
              <a:extLst>
                <a:ext uri="{FF2B5EF4-FFF2-40B4-BE49-F238E27FC236}">
                  <a16:creationId xmlns:a16="http://schemas.microsoft.com/office/drawing/2014/main" id="{3DF20831-4F0F-1F4D-A1ED-6CDE187ABA67}"/>
                </a:ext>
              </a:extLst>
            </p:cNvPr>
            <p:cNvSpPr/>
            <p:nvPr userDrawn="1"/>
          </p:nvSpPr>
          <p:spPr>
            <a:xfrm rot="5400000">
              <a:off x="11295692" y="2963632"/>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n-lt"/>
                <a:ea typeface="+mn-ea"/>
                <a:cs typeface="+mn-cs"/>
                <a:sym typeface="+mn-lt"/>
              </a:endParaRPr>
            </a:p>
          </p:txBody>
        </p:sp>
      </p:grpSp>
      <p:grpSp>
        <p:nvGrpSpPr>
          <p:cNvPr id="69" name="Group 68">
            <a:extLst>
              <a:ext uri="{FF2B5EF4-FFF2-40B4-BE49-F238E27FC236}">
                <a16:creationId xmlns:a16="http://schemas.microsoft.com/office/drawing/2014/main" id="{ADCC7EAB-1071-2443-BC4E-2E61AD774EB3}"/>
              </a:ext>
            </a:extLst>
          </p:cNvPr>
          <p:cNvGrpSpPr/>
          <p:nvPr userDrawn="1"/>
        </p:nvGrpSpPr>
        <p:grpSpPr>
          <a:xfrm>
            <a:off x="5788334" y="3890006"/>
            <a:ext cx="4436386" cy="582033"/>
            <a:chOff x="5788335" y="3923409"/>
            <a:chExt cx="4436386" cy="582033"/>
          </a:xfrm>
        </p:grpSpPr>
        <p:sp>
          <p:nvSpPr>
            <p:cNvPr id="71" name="Rectangle 70">
              <a:extLst>
                <a:ext uri="{FF2B5EF4-FFF2-40B4-BE49-F238E27FC236}">
                  <a16:creationId xmlns:a16="http://schemas.microsoft.com/office/drawing/2014/main" id="{8DEAE227-E5BE-904A-BFCC-50EA2483D0E1}"/>
                </a:ext>
              </a:extLst>
            </p:cNvPr>
            <p:cNvSpPr/>
            <p:nvPr/>
          </p:nvSpPr>
          <p:spPr>
            <a:xfrm>
              <a:off x="5826081" y="4343859"/>
              <a:ext cx="4398640" cy="161583"/>
            </a:xfrm>
            <a:prstGeom prst="rect">
              <a:avLst/>
            </a:prstGeom>
          </p:spPr>
          <p:txBody>
            <a:bodyPr wrap="none" lIns="0" tIns="0" rIns="0" bIns="0">
              <a:spAutoFit/>
            </a:bodyPr>
            <a:lstStyle/>
            <a:p>
              <a:r>
                <a:rPr lang="en-US" sz="1050" dirty="0">
                  <a:latin typeface="+mn-lt"/>
                  <a:ea typeface="+mn-ea"/>
                  <a:cs typeface="+mn-cs"/>
                  <a:sym typeface="+mn-lt"/>
                </a:rPr>
                <a:t>For Research Use Only | </a:t>
              </a:r>
              <a:r>
                <a:rPr lang="en-US" sz="1050" dirty="0" err="1">
                  <a:latin typeface="+mn-lt"/>
                  <a:ea typeface="+mn-ea"/>
                  <a:cs typeface="+mn-cs"/>
                  <a:sym typeface="+mn-lt"/>
                </a:rPr>
                <a:t>authoremail@thermofisher.com</a:t>
              </a:r>
              <a:r>
                <a:rPr lang="en-US" sz="1050" dirty="0">
                  <a:latin typeface="+mn-lt"/>
                  <a:ea typeface="+mn-ea"/>
                  <a:cs typeface="+mn-cs"/>
                  <a:sym typeface="+mn-lt"/>
                </a:rPr>
                <a:t> | 5-August-2020</a:t>
              </a:r>
            </a:p>
          </p:txBody>
        </p:sp>
        <p:sp>
          <p:nvSpPr>
            <p:cNvPr id="72" name="Rectangle 71">
              <a:extLst>
                <a:ext uri="{FF2B5EF4-FFF2-40B4-BE49-F238E27FC236}">
                  <a16:creationId xmlns:a16="http://schemas.microsoft.com/office/drawing/2014/main" id="{8262B94A-CDF8-6248-B4D3-D04C67489253}"/>
                </a:ext>
              </a:extLst>
            </p:cNvPr>
            <p:cNvSpPr/>
            <p:nvPr userDrawn="1"/>
          </p:nvSpPr>
          <p:spPr>
            <a:xfrm>
              <a:off x="6138216" y="3923412"/>
              <a:ext cx="764953" cy="215444"/>
            </a:xfrm>
            <a:prstGeom prst="rect">
              <a:avLst/>
            </a:prstGeom>
          </p:spPr>
          <p:txBody>
            <a:bodyPr wrap="none">
              <a:spAutoFit/>
            </a:bodyPr>
            <a:lstStyle/>
            <a:p>
              <a:pPr algn="ctr"/>
              <a:r>
                <a:rPr lang="en-US" sz="800" b="1" dirty="0">
                  <a:latin typeface="+mn-lt"/>
                  <a:ea typeface="+mn-ea"/>
                  <a:cs typeface="+mn-cs"/>
                  <a:sym typeface="+mn-lt"/>
                </a:rPr>
                <a:t>Disclaimers</a:t>
              </a:r>
            </a:p>
          </p:txBody>
        </p:sp>
        <p:sp>
          <p:nvSpPr>
            <p:cNvPr id="73" name="Rectangle 72">
              <a:extLst>
                <a:ext uri="{FF2B5EF4-FFF2-40B4-BE49-F238E27FC236}">
                  <a16:creationId xmlns:a16="http://schemas.microsoft.com/office/drawing/2014/main" id="{96EC3CD9-96F0-F848-9D70-DC6BC4C588B0}"/>
                </a:ext>
              </a:extLst>
            </p:cNvPr>
            <p:cNvSpPr/>
            <p:nvPr userDrawn="1"/>
          </p:nvSpPr>
          <p:spPr>
            <a:xfrm>
              <a:off x="7824103" y="3923410"/>
              <a:ext cx="899605" cy="215444"/>
            </a:xfrm>
            <a:prstGeom prst="rect">
              <a:avLst/>
            </a:prstGeom>
          </p:spPr>
          <p:txBody>
            <a:bodyPr wrap="none">
              <a:spAutoFit/>
            </a:bodyPr>
            <a:lstStyle/>
            <a:p>
              <a:pPr algn="ctr"/>
              <a:r>
                <a:rPr lang="en-US" sz="800" b="1" dirty="0">
                  <a:latin typeface="+mn-lt"/>
                  <a:ea typeface="+mn-ea"/>
                  <a:cs typeface="+mn-cs"/>
                  <a:sym typeface="+mn-lt"/>
                </a:rPr>
                <a:t>Author’s email</a:t>
              </a:r>
            </a:p>
          </p:txBody>
        </p:sp>
        <p:sp>
          <p:nvSpPr>
            <p:cNvPr id="74" name="Rectangle 73">
              <a:extLst>
                <a:ext uri="{FF2B5EF4-FFF2-40B4-BE49-F238E27FC236}">
                  <a16:creationId xmlns:a16="http://schemas.microsoft.com/office/drawing/2014/main" id="{F088D113-2507-AA47-BB48-FAF00FE54633}"/>
                </a:ext>
              </a:extLst>
            </p:cNvPr>
            <p:cNvSpPr/>
            <p:nvPr userDrawn="1"/>
          </p:nvSpPr>
          <p:spPr>
            <a:xfrm>
              <a:off x="9269099" y="3923409"/>
              <a:ext cx="922047" cy="215444"/>
            </a:xfrm>
            <a:prstGeom prst="rect">
              <a:avLst/>
            </a:prstGeom>
          </p:spPr>
          <p:txBody>
            <a:bodyPr wrap="none">
              <a:spAutoFit/>
            </a:bodyPr>
            <a:lstStyle/>
            <a:p>
              <a:pPr algn="ctr"/>
              <a:r>
                <a:rPr lang="en-US" sz="800" b="1" dirty="0">
                  <a:latin typeface="+mn-lt"/>
                  <a:ea typeface="+mn-ea"/>
                  <a:cs typeface="+mn-cs"/>
                  <a:sym typeface="+mn-lt"/>
                </a:rPr>
                <a:t>Date published</a:t>
              </a:r>
            </a:p>
          </p:txBody>
        </p:sp>
        <p:sp>
          <p:nvSpPr>
            <p:cNvPr id="75" name="Left Brace 74">
              <a:extLst>
                <a:ext uri="{FF2B5EF4-FFF2-40B4-BE49-F238E27FC236}">
                  <a16:creationId xmlns:a16="http://schemas.microsoft.com/office/drawing/2014/main" id="{33912165-6C04-F34D-8A97-E920B407AA54}"/>
                </a:ext>
              </a:extLst>
            </p:cNvPr>
            <p:cNvSpPr/>
            <p:nvPr userDrawn="1"/>
          </p:nvSpPr>
          <p:spPr>
            <a:xfrm rot="5400000">
              <a:off x="6449400" y="3511270"/>
              <a:ext cx="137356" cy="1459485"/>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n-lt"/>
                <a:ea typeface="+mn-ea"/>
                <a:cs typeface="+mn-cs"/>
                <a:sym typeface="+mn-lt"/>
              </a:endParaRPr>
            </a:p>
          </p:txBody>
        </p:sp>
        <p:sp>
          <p:nvSpPr>
            <p:cNvPr id="76" name="Left Brace 75">
              <a:extLst>
                <a:ext uri="{FF2B5EF4-FFF2-40B4-BE49-F238E27FC236}">
                  <a16:creationId xmlns:a16="http://schemas.microsoft.com/office/drawing/2014/main" id="{F82EE3D1-89D0-6645-9D8B-24CA42BA0ADC}"/>
                </a:ext>
              </a:extLst>
            </p:cNvPr>
            <p:cNvSpPr/>
            <p:nvPr userDrawn="1"/>
          </p:nvSpPr>
          <p:spPr>
            <a:xfrm rot="5400000">
              <a:off x="8200860" y="3273454"/>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n-lt"/>
                <a:ea typeface="+mn-ea"/>
                <a:cs typeface="+mn-cs"/>
                <a:sym typeface="+mn-lt"/>
              </a:endParaRPr>
            </a:p>
          </p:txBody>
        </p:sp>
        <p:sp>
          <p:nvSpPr>
            <p:cNvPr id="77" name="Left Brace 76">
              <a:extLst>
                <a:ext uri="{FF2B5EF4-FFF2-40B4-BE49-F238E27FC236}">
                  <a16:creationId xmlns:a16="http://schemas.microsoft.com/office/drawing/2014/main" id="{A399837B-45C9-7343-B884-DE166B5EC1C1}"/>
                </a:ext>
              </a:extLst>
            </p:cNvPr>
            <p:cNvSpPr/>
            <p:nvPr userDrawn="1"/>
          </p:nvSpPr>
          <p:spPr>
            <a:xfrm rot="5400000">
              <a:off x="9657523" y="3789134"/>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n-lt"/>
                <a:ea typeface="+mn-ea"/>
                <a:cs typeface="+mn-cs"/>
                <a:sym typeface="+mn-lt"/>
              </a:endParaRPr>
            </a:p>
          </p:txBody>
        </p:sp>
      </p:grpSp>
      <p:grpSp>
        <p:nvGrpSpPr>
          <p:cNvPr id="78" name="Group 77">
            <a:extLst>
              <a:ext uri="{FF2B5EF4-FFF2-40B4-BE49-F238E27FC236}">
                <a16:creationId xmlns:a16="http://schemas.microsoft.com/office/drawing/2014/main" id="{F0E03FFE-8C31-E44D-BE6B-C22B9CF70098}"/>
              </a:ext>
            </a:extLst>
          </p:cNvPr>
          <p:cNvGrpSpPr/>
          <p:nvPr userDrawn="1"/>
        </p:nvGrpSpPr>
        <p:grpSpPr>
          <a:xfrm>
            <a:off x="5788335" y="4788135"/>
            <a:ext cx="4532992" cy="587731"/>
            <a:chOff x="5788336" y="4908696"/>
            <a:chExt cx="4532992" cy="587731"/>
          </a:xfrm>
        </p:grpSpPr>
        <p:sp>
          <p:nvSpPr>
            <p:cNvPr id="81" name="Rectangle 80">
              <a:extLst>
                <a:ext uri="{FF2B5EF4-FFF2-40B4-BE49-F238E27FC236}">
                  <a16:creationId xmlns:a16="http://schemas.microsoft.com/office/drawing/2014/main" id="{01A73866-731B-9946-A849-187A98BD4E85}"/>
                </a:ext>
              </a:extLst>
            </p:cNvPr>
            <p:cNvSpPr/>
            <p:nvPr/>
          </p:nvSpPr>
          <p:spPr>
            <a:xfrm>
              <a:off x="5842103" y="5334844"/>
              <a:ext cx="2880597" cy="161583"/>
            </a:xfrm>
            <a:prstGeom prst="rect">
              <a:avLst/>
            </a:prstGeom>
          </p:spPr>
          <p:txBody>
            <a:bodyPr wrap="none" lIns="0" tIns="0" rIns="0" bIns="0">
              <a:spAutoFit/>
            </a:bodyPr>
            <a:lstStyle/>
            <a:p>
              <a:r>
                <a:rPr lang="en-US" sz="1050">
                  <a:latin typeface="+mn-lt"/>
                  <a:ea typeface="+mn-ea"/>
                  <a:cs typeface="+mn-cs"/>
                  <a:sym typeface="+mn-lt"/>
                </a:rPr>
                <a:t>authoremail</a:t>
              </a:r>
              <a:r>
                <a:rPr lang="en-US" sz="1050" dirty="0" err="1">
                  <a:latin typeface="+mn-lt"/>
                  <a:ea typeface="+mn-ea"/>
                  <a:cs typeface="+mn-cs"/>
                  <a:sym typeface="+mn-lt"/>
                </a:rPr>
                <a:t>@thermofisher.com</a:t>
              </a:r>
              <a:r>
                <a:rPr lang="en-US" sz="1050" dirty="0">
                  <a:latin typeface="+mn-lt"/>
                  <a:ea typeface="+mn-ea"/>
                  <a:cs typeface="+mn-cs"/>
                  <a:sym typeface="+mn-lt"/>
                </a:rPr>
                <a:t> | 5-August-2020</a:t>
              </a:r>
            </a:p>
          </p:txBody>
        </p:sp>
        <p:sp>
          <p:nvSpPr>
            <p:cNvPr id="85" name="Rectangle 84">
              <a:extLst>
                <a:ext uri="{FF2B5EF4-FFF2-40B4-BE49-F238E27FC236}">
                  <a16:creationId xmlns:a16="http://schemas.microsoft.com/office/drawing/2014/main" id="{8FD63569-449B-3E48-807D-D3F3AE9F8342}"/>
                </a:ext>
              </a:extLst>
            </p:cNvPr>
            <p:cNvSpPr/>
            <p:nvPr userDrawn="1"/>
          </p:nvSpPr>
          <p:spPr>
            <a:xfrm>
              <a:off x="6205057" y="4908699"/>
              <a:ext cx="764953" cy="215444"/>
            </a:xfrm>
            <a:prstGeom prst="rect">
              <a:avLst/>
            </a:prstGeom>
          </p:spPr>
          <p:txBody>
            <a:bodyPr wrap="none">
              <a:spAutoFit/>
            </a:bodyPr>
            <a:lstStyle/>
            <a:p>
              <a:pPr algn="ctr"/>
              <a:r>
                <a:rPr lang="en-US" sz="800" b="1" dirty="0">
                  <a:latin typeface="+mn-lt"/>
                  <a:ea typeface="+mn-ea"/>
                  <a:cs typeface="+mn-cs"/>
                  <a:sym typeface="+mn-lt"/>
                </a:rPr>
                <a:t>Disclaimers</a:t>
              </a:r>
            </a:p>
          </p:txBody>
        </p:sp>
        <p:sp>
          <p:nvSpPr>
            <p:cNvPr id="86" name="Rectangle 85">
              <a:extLst>
                <a:ext uri="{FF2B5EF4-FFF2-40B4-BE49-F238E27FC236}">
                  <a16:creationId xmlns:a16="http://schemas.microsoft.com/office/drawing/2014/main" id="{0C656FAD-AD19-DC49-92E8-76EAC46938F6}"/>
                </a:ext>
              </a:extLst>
            </p:cNvPr>
            <p:cNvSpPr/>
            <p:nvPr userDrawn="1"/>
          </p:nvSpPr>
          <p:spPr>
            <a:xfrm>
              <a:off x="7954285" y="4908697"/>
              <a:ext cx="899605" cy="215444"/>
            </a:xfrm>
            <a:prstGeom prst="rect">
              <a:avLst/>
            </a:prstGeom>
          </p:spPr>
          <p:txBody>
            <a:bodyPr wrap="none">
              <a:spAutoFit/>
            </a:bodyPr>
            <a:lstStyle/>
            <a:p>
              <a:pPr algn="ctr"/>
              <a:r>
                <a:rPr lang="en-US" sz="800" b="1" dirty="0">
                  <a:latin typeface="+mn-lt"/>
                  <a:ea typeface="+mn-ea"/>
                  <a:cs typeface="+mn-cs"/>
                  <a:sym typeface="+mn-lt"/>
                </a:rPr>
                <a:t>Author’s email</a:t>
              </a:r>
            </a:p>
          </p:txBody>
        </p:sp>
        <p:sp>
          <p:nvSpPr>
            <p:cNvPr id="103" name="Rectangle 102">
              <a:extLst>
                <a:ext uri="{FF2B5EF4-FFF2-40B4-BE49-F238E27FC236}">
                  <a16:creationId xmlns:a16="http://schemas.microsoft.com/office/drawing/2014/main" id="{DC8954A9-BBCF-F843-BCC2-DFD09FC6E9CD}"/>
                </a:ext>
              </a:extLst>
            </p:cNvPr>
            <p:cNvSpPr/>
            <p:nvPr userDrawn="1"/>
          </p:nvSpPr>
          <p:spPr>
            <a:xfrm>
              <a:off x="9399281" y="4908696"/>
              <a:ext cx="922047" cy="215444"/>
            </a:xfrm>
            <a:prstGeom prst="rect">
              <a:avLst/>
            </a:prstGeom>
          </p:spPr>
          <p:txBody>
            <a:bodyPr wrap="none">
              <a:spAutoFit/>
            </a:bodyPr>
            <a:lstStyle/>
            <a:p>
              <a:pPr algn="ctr"/>
              <a:r>
                <a:rPr lang="en-US" sz="800" b="1" dirty="0">
                  <a:latin typeface="+mn-lt"/>
                  <a:ea typeface="+mn-ea"/>
                  <a:cs typeface="+mn-cs"/>
                  <a:sym typeface="+mn-lt"/>
                </a:rPr>
                <a:t>Date published</a:t>
              </a:r>
            </a:p>
          </p:txBody>
        </p:sp>
        <p:sp>
          <p:nvSpPr>
            <p:cNvPr id="104" name="Left Brace 103">
              <a:extLst>
                <a:ext uri="{FF2B5EF4-FFF2-40B4-BE49-F238E27FC236}">
                  <a16:creationId xmlns:a16="http://schemas.microsoft.com/office/drawing/2014/main" id="{6A6BA891-938B-7B46-9D54-7310473CEEDC}"/>
                </a:ext>
              </a:extLst>
            </p:cNvPr>
            <p:cNvSpPr/>
            <p:nvPr userDrawn="1"/>
          </p:nvSpPr>
          <p:spPr>
            <a:xfrm rot="5400000">
              <a:off x="6520304" y="4425654"/>
              <a:ext cx="137356" cy="1601292"/>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n-lt"/>
                <a:ea typeface="+mn-ea"/>
                <a:cs typeface="+mn-cs"/>
                <a:sym typeface="+mn-lt"/>
              </a:endParaRPr>
            </a:p>
          </p:txBody>
        </p:sp>
        <p:sp>
          <p:nvSpPr>
            <p:cNvPr id="105" name="Left Brace 104">
              <a:extLst>
                <a:ext uri="{FF2B5EF4-FFF2-40B4-BE49-F238E27FC236}">
                  <a16:creationId xmlns:a16="http://schemas.microsoft.com/office/drawing/2014/main" id="{2C270CE8-9750-7B45-B039-32F907449AF8}"/>
                </a:ext>
              </a:extLst>
            </p:cNvPr>
            <p:cNvSpPr/>
            <p:nvPr userDrawn="1"/>
          </p:nvSpPr>
          <p:spPr>
            <a:xfrm rot="5400000">
              <a:off x="8331042" y="4258741"/>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n-lt"/>
                <a:ea typeface="+mn-ea"/>
                <a:cs typeface="+mn-cs"/>
                <a:sym typeface="+mn-lt"/>
              </a:endParaRPr>
            </a:p>
          </p:txBody>
        </p:sp>
        <p:sp>
          <p:nvSpPr>
            <p:cNvPr id="106" name="Left Brace 105">
              <a:extLst>
                <a:ext uri="{FF2B5EF4-FFF2-40B4-BE49-F238E27FC236}">
                  <a16:creationId xmlns:a16="http://schemas.microsoft.com/office/drawing/2014/main" id="{BD54688D-F399-8D44-B80A-35A584C4E8A1}"/>
                </a:ext>
              </a:extLst>
            </p:cNvPr>
            <p:cNvSpPr/>
            <p:nvPr userDrawn="1"/>
          </p:nvSpPr>
          <p:spPr>
            <a:xfrm rot="5400000">
              <a:off x="9787705" y="4774421"/>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n-lt"/>
                <a:ea typeface="+mn-ea"/>
                <a:cs typeface="+mn-cs"/>
                <a:sym typeface="+mn-lt"/>
              </a:endParaRPr>
            </a:p>
          </p:txBody>
        </p:sp>
      </p:grpSp>
      <p:grpSp>
        <p:nvGrpSpPr>
          <p:cNvPr id="107" name="Group 106">
            <a:extLst>
              <a:ext uri="{FF2B5EF4-FFF2-40B4-BE49-F238E27FC236}">
                <a16:creationId xmlns:a16="http://schemas.microsoft.com/office/drawing/2014/main" id="{F3B269BE-A155-AD4E-BB6F-14E01F7B2B53}"/>
              </a:ext>
            </a:extLst>
          </p:cNvPr>
          <p:cNvGrpSpPr/>
          <p:nvPr userDrawn="1"/>
        </p:nvGrpSpPr>
        <p:grpSpPr>
          <a:xfrm>
            <a:off x="5788335" y="5691963"/>
            <a:ext cx="2917465" cy="591167"/>
            <a:chOff x="5826081" y="5638800"/>
            <a:chExt cx="2917465" cy="591167"/>
          </a:xfrm>
        </p:grpSpPr>
        <p:sp>
          <p:nvSpPr>
            <p:cNvPr id="108" name="Rectangle 107">
              <a:extLst>
                <a:ext uri="{FF2B5EF4-FFF2-40B4-BE49-F238E27FC236}">
                  <a16:creationId xmlns:a16="http://schemas.microsoft.com/office/drawing/2014/main" id="{2837D300-05AE-6B41-B8F5-CB05D9A81C4D}"/>
                </a:ext>
              </a:extLst>
            </p:cNvPr>
            <p:cNvSpPr/>
            <p:nvPr/>
          </p:nvSpPr>
          <p:spPr>
            <a:xfrm>
              <a:off x="5826081" y="6068384"/>
              <a:ext cx="2917465" cy="161583"/>
            </a:xfrm>
            <a:prstGeom prst="rect">
              <a:avLst/>
            </a:prstGeom>
          </p:spPr>
          <p:txBody>
            <a:bodyPr wrap="none" lIns="0" tIns="0" rIns="0" bIns="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dirty="0">
                  <a:latin typeface="+mn-lt"/>
                  <a:ea typeface="+mn-ea"/>
                  <a:cs typeface="+mn-cs"/>
                  <a:sym typeface="+mn-lt"/>
                </a:rPr>
                <a:t> authoremail@thermofisher.com | 5-August-2020</a:t>
              </a:r>
            </a:p>
          </p:txBody>
        </p:sp>
        <p:sp>
          <p:nvSpPr>
            <p:cNvPr id="109" name="Rectangle 108">
              <a:extLst>
                <a:ext uri="{FF2B5EF4-FFF2-40B4-BE49-F238E27FC236}">
                  <a16:creationId xmlns:a16="http://schemas.microsoft.com/office/drawing/2014/main" id="{B2636A22-B29C-8347-827F-06CC739D8F27}"/>
                </a:ext>
              </a:extLst>
            </p:cNvPr>
            <p:cNvSpPr/>
            <p:nvPr userDrawn="1"/>
          </p:nvSpPr>
          <p:spPr>
            <a:xfrm>
              <a:off x="6348769" y="5638801"/>
              <a:ext cx="899605" cy="215444"/>
            </a:xfrm>
            <a:prstGeom prst="rect">
              <a:avLst/>
            </a:prstGeom>
          </p:spPr>
          <p:txBody>
            <a:bodyPr wrap="none">
              <a:spAutoFit/>
            </a:bodyPr>
            <a:lstStyle/>
            <a:p>
              <a:pPr algn="ctr"/>
              <a:r>
                <a:rPr lang="en-US" sz="800" b="1" dirty="0">
                  <a:latin typeface="+mn-lt"/>
                  <a:ea typeface="+mn-ea"/>
                  <a:cs typeface="+mn-cs"/>
                  <a:sym typeface="+mn-lt"/>
                </a:rPr>
                <a:t>Author’s email</a:t>
              </a:r>
            </a:p>
          </p:txBody>
        </p:sp>
        <p:sp>
          <p:nvSpPr>
            <p:cNvPr id="110" name="Rectangle 109">
              <a:extLst>
                <a:ext uri="{FF2B5EF4-FFF2-40B4-BE49-F238E27FC236}">
                  <a16:creationId xmlns:a16="http://schemas.microsoft.com/office/drawing/2014/main" id="{DBE3A603-FB25-6640-8CE8-A9490CC8FD57}"/>
                </a:ext>
              </a:extLst>
            </p:cNvPr>
            <p:cNvSpPr/>
            <p:nvPr userDrawn="1"/>
          </p:nvSpPr>
          <p:spPr>
            <a:xfrm>
              <a:off x="7793765" y="5638800"/>
              <a:ext cx="922047" cy="215444"/>
            </a:xfrm>
            <a:prstGeom prst="rect">
              <a:avLst/>
            </a:prstGeom>
          </p:spPr>
          <p:txBody>
            <a:bodyPr wrap="none">
              <a:spAutoFit/>
            </a:bodyPr>
            <a:lstStyle/>
            <a:p>
              <a:pPr algn="ctr"/>
              <a:r>
                <a:rPr lang="en-US" sz="800" b="1" dirty="0">
                  <a:latin typeface="+mn-lt"/>
                  <a:ea typeface="+mn-ea"/>
                  <a:cs typeface="+mn-cs"/>
                  <a:sym typeface="+mn-lt"/>
                </a:rPr>
                <a:t>Date published</a:t>
              </a:r>
            </a:p>
          </p:txBody>
        </p:sp>
        <p:sp>
          <p:nvSpPr>
            <p:cNvPr id="111" name="Left Brace 110">
              <a:extLst>
                <a:ext uri="{FF2B5EF4-FFF2-40B4-BE49-F238E27FC236}">
                  <a16:creationId xmlns:a16="http://schemas.microsoft.com/office/drawing/2014/main" id="{2BD98F31-696C-874F-A675-84D3E0D98D96}"/>
                </a:ext>
              </a:extLst>
            </p:cNvPr>
            <p:cNvSpPr/>
            <p:nvPr userDrawn="1"/>
          </p:nvSpPr>
          <p:spPr>
            <a:xfrm rot="5400000">
              <a:off x="6725526" y="4988845"/>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n-lt"/>
                <a:ea typeface="+mn-ea"/>
                <a:cs typeface="+mn-cs"/>
                <a:sym typeface="+mn-lt"/>
              </a:endParaRPr>
            </a:p>
          </p:txBody>
        </p:sp>
        <p:sp>
          <p:nvSpPr>
            <p:cNvPr id="112" name="Left Brace 111">
              <a:extLst>
                <a:ext uri="{FF2B5EF4-FFF2-40B4-BE49-F238E27FC236}">
                  <a16:creationId xmlns:a16="http://schemas.microsoft.com/office/drawing/2014/main" id="{5DFD7081-3892-7148-86E2-00827E674843}"/>
                </a:ext>
              </a:extLst>
            </p:cNvPr>
            <p:cNvSpPr/>
            <p:nvPr userDrawn="1"/>
          </p:nvSpPr>
          <p:spPr>
            <a:xfrm rot="5400000">
              <a:off x="8182189" y="5504525"/>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n-lt"/>
                <a:ea typeface="+mn-ea"/>
                <a:cs typeface="+mn-cs"/>
                <a:sym typeface="+mn-lt"/>
              </a:endParaRPr>
            </a:p>
          </p:txBody>
        </p:sp>
      </p:grpSp>
    </p:spTree>
    <p:extLst>
      <p:ext uri="{BB962C8B-B14F-4D97-AF65-F5344CB8AC3E}">
        <p14:creationId xmlns:p14="http://schemas.microsoft.com/office/powerpoint/2010/main" val="7007302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efault title slide 1">
    <p:bg>
      <p:bgPr>
        <a:gradFill>
          <a:gsLst>
            <a:gs pos="0">
              <a:schemeClr val="bg1"/>
            </a:gs>
            <a:gs pos="41000">
              <a:schemeClr val="bg1"/>
            </a:gs>
            <a:gs pos="63000">
              <a:schemeClr val="bg2"/>
            </a:gs>
          </a:gsLst>
          <a:lin ang="1080000" scaled="0"/>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686083-77FA-474D-8AA1-5CC9BF67AEAE}"/>
              </a:ext>
            </a:extLst>
          </p:cNvPr>
          <p:cNvGraphicFramePr>
            <a:graphicFrameLocks noChangeAspect="1"/>
          </p:cNvGraphicFramePr>
          <p:nvPr userDrawn="1">
            <p:custDataLst>
              <p:tags r:id="rId1"/>
            </p:custDataLst>
            <p:extLst>
              <p:ext uri="{D42A27DB-BD31-4B8C-83A1-F6EECF244321}">
                <p14:modId xmlns:p14="http://schemas.microsoft.com/office/powerpoint/2010/main" val="3962546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5" name="Object 4" hidden="1">
                        <a:extLst>
                          <a:ext uri="{FF2B5EF4-FFF2-40B4-BE49-F238E27FC236}">
                            <a16:creationId xmlns:a16="http://schemas.microsoft.com/office/drawing/2014/main" id="{60686083-77FA-474D-8AA1-5CC9BF67AE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D8BAA1-5FE9-43F3-A5A5-DF96015D8FE4}"/>
              </a:ext>
            </a:extLst>
          </p:cNvPr>
          <p:cNvSpPr/>
          <p:nvPr userDrawn="1">
            <p:custDataLst>
              <p:tags r:id="rId2"/>
            </p:custDataLst>
          </p:nvPr>
        </p:nvSpPr>
        <p:spPr bwMode="auto">
          <a:xfrm>
            <a:off x="0" y="0"/>
            <a:ext cx="158750" cy="158750"/>
          </a:xfrm>
          <a:prstGeom prst="rect">
            <a:avLst/>
          </a:prstGeom>
          <a:solidFill>
            <a:schemeClr val="tx2"/>
          </a:solidFill>
          <a:ln w="317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ctr" defTabSz="914400" eaLnBrk="0" fontAlgn="base" hangingPunct="0">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pic>
        <p:nvPicPr>
          <p:cNvPr id="17" name="Picture 16">
            <a:extLst>
              <a:ext uri="{FF2B5EF4-FFF2-40B4-BE49-F238E27FC236}">
                <a16:creationId xmlns:a16="http://schemas.microsoft.com/office/drawing/2014/main" id="{677DF418-A9B4-B748-8DE9-21DBD7EA3747}"/>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4354"/>
          <a:stretch/>
        </p:blipFill>
        <p:spPr>
          <a:xfrm>
            <a:off x="5560459" y="1"/>
            <a:ext cx="6631541" cy="6857999"/>
          </a:xfrm>
          <a:custGeom>
            <a:avLst/>
            <a:gdLst>
              <a:gd name="connsiteX0" fmla="*/ 2183862 w 6631541"/>
              <a:gd name="connsiteY0" fmla="*/ 0 h 6857999"/>
              <a:gd name="connsiteX1" fmla="*/ 6631541 w 6631541"/>
              <a:gd name="connsiteY1" fmla="*/ 0 h 6857999"/>
              <a:gd name="connsiteX2" fmla="*/ 6631541 w 6631541"/>
              <a:gd name="connsiteY2" fmla="*/ 6857999 h 6857999"/>
              <a:gd name="connsiteX3" fmla="*/ 0 w 66315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631541" h="6857999">
                <a:moveTo>
                  <a:pt x="2183862" y="0"/>
                </a:moveTo>
                <a:lnTo>
                  <a:pt x="6631541" y="0"/>
                </a:lnTo>
                <a:lnTo>
                  <a:pt x="6631541" y="6857999"/>
                </a:lnTo>
                <a:lnTo>
                  <a:pt x="0" y="6857999"/>
                </a:lnTo>
                <a:close/>
              </a:path>
            </a:pathLst>
          </a:custGeom>
        </p:spPr>
      </p:pic>
      <p:grpSp>
        <p:nvGrpSpPr>
          <p:cNvPr id="7" name="Group 6">
            <a:extLst>
              <a:ext uri="{FF2B5EF4-FFF2-40B4-BE49-F238E27FC236}">
                <a16:creationId xmlns:a16="http://schemas.microsoft.com/office/drawing/2014/main" id="{B1F511C6-A535-A245-B123-CC04435D2DAF}"/>
              </a:ext>
            </a:extLst>
          </p:cNvPr>
          <p:cNvGrpSpPr/>
          <p:nvPr userDrawn="1"/>
        </p:nvGrpSpPr>
        <p:grpSpPr>
          <a:xfrm>
            <a:off x="304799" y="0"/>
            <a:ext cx="2427681"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userDrawn="1"/>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mn-lt"/>
                  <a:ea typeface="+mn-ea"/>
                  <a:cs typeface="+mn-cs"/>
                  <a:sym typeface="+mn-lt"/>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29" name="Group 28">
            <a:extLst>
              <a:ext uri="{FF2B5EF4-FFF2-40B4-BE49-F238E27FC236}">
                <a16:creationId xmlns:a16="http://schemas.microsoft.com/office/drawing/2014/main" id="{C22F9FBA-8765-F543-9501-7F99893993AB}"/>
              </a:ext>
            </a:extLst>
          </p:cNvPr>
          <p:cNvGrpSpPr/>
          <p:nvPr userDrawn="1"/>
        </p:nvGrpSpPr>
        <p:grpSpPr>
          <a:xfrm>
            <a:off x="283193" y="5970590"/>
            <a:ext cx="5053203" cy="441233"/>
            <a:chOff x="5155556" y="6168462"/>
            <a:chExt cx="5053203" cy="441233"/>
          </a:xfrm>
        </p:grpSpPr>
        <p:sp>
          <p:nvSpPr>
            <p:cNvPr id="30" name="TextBox 29">
              <a:extLst>
                <a:ext uri="{FF2B5EF4-FFF2-40B4-BE49-F238E27FC236}">
                  <a16:creationId xmlns:a16="http://schemas.microsoft.com/office/drawing/2014/main" id="{AA7B3D6A-876F-BF4D-9180-BC91EE9697B0}"/>
                </a:ext>
              </a:extLst>
            </p:cNvPr>
            <p:cNvSpPr txBox="1"/>
            <p:nvPr userDrawn="1"/>
          </p:nvSpPr>
          <p:spPr>
            <a:xfrm>
              <a:off x="5656050" y="6168462"/>
              <a:ext cx="4552709" cy="441233"/>
            </a:xfrm>
            <a:prstGeom prst="rect">
              <a:avLst/>
            </a:prstGeom>
            <a:noFill/>
          </p:spPr>
          <p:txBody>
            <a:bodyPr vert="horz" wrap="square" lIns="0" tIns="0" rIns="0" bIns="0" rtlCol="0" anchor="ctr" anchorCtr="0">
              <a:noAutofit/>
            </a:bodyPr>
            <a:lstStyle/>
            <a:p>
              <a:pPr algn="l"/>
              <a:r>
                <a:rPr lang="en-US" sz="2000" dirty="0">
                  <a:solidFill>
                    <a:schemeClr val="tx1"/>
                  </a:solidFill>
                  <a:latin typeface="+mn-lt"/>
                  <a:ea typeface="+mn-ea"/>
                  <a:cs typeface="+mn-cs"/>
                  <a:sym typeface="+mn-lt"/>
                </a:rPr>
                <a:t>The world leader in serving science</a:t>
              </a:r>
            </a:p>
          </p:txBody>
        </p:sp>
        <p:sp>
          <p:nvSpPr>
            <p:cNvPr id="31" name="Parallelogram 30">
              <a:extLst>
                <a:ext uri="{FF2B5EF4-FFF2-40B4-BE49-F238E27FC236}">
                  <a16:creationId xmlns:a16="http://schemas.microsoft.com/office/drawing/2014/main" id="{05D00626-6EB1-244B-9ADB-13C2AE5E1907}"/>
                </a:ext>
              </a:extLst>
            </p:cNvPr>
            <p:cNvSpPr/>
            <p:nvPr userDrawn="1"/>
          </p:nvSpPr>
          <p:spPr bwMode="auto">
            <a:xfrm>
              <a:off x="5155556" y="6302295"/>
              <a:ext cx="310510" cy="188737"/>
            </a:xfrm>
            <a:prstGeom prst="parallelogram">
              <a:avLst>
                <a:gd name="adj" fmla="val 31844"/>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mn-lt"/>
                  <a:ea typeface="+mn-ea"/>
                  <a:cs typeface="+mn-cs"/>
                  <a:sym typeface="+mn-lt"/>
                </a:rPr>
                <a:t> </a:t>
              </a:r>
            </a:p>
          </p:txBody>
        </p:sp>
      </p:grpSp>
      <p:sp>
        <p:nvSpPr>
          <p:cNvPr id="2" name="Footer Placeholder 1">
            <a:extLst>
              <a:ext uri="{FF2B5EF4-FFF2-40B4-BE49-F238E27FC236}">
                <a16:creationId xmlns:a16="http://schemas.microsoft.com/office/drawing/2014/main" id="{BA129332-E471-D44D-8711-996E85A9EE29}"/>
              </a:ext>
            </a:extLst>
          </p:cNvPr>
          <p:cNvSpPr>
            <a:spLocks noGrp="1"/>
          </p:cNvSpPr>
          <p:nvPr>
            <p:ph type="ftr" sz="quarter" idx="11"/>
          </p:nvPr>
        </p:nvSpPr>
        <p:spPr>
          <a:xfrm>
            <a:off x="304800" y="6553200"/>
            <a:ext cx="3960000" cy="304799"/>
          </a:xfrm>
        </p:spPr>
        <p:txBody>
          <a:bodyPr/>
          <a:lstStyle>
            <a:lvl1pPr>
              <a:defRPr>
                <a:latin typeface="+mn-lt"/>
                <a:ea typeface="+mn-ea"/>
                <a:cs typeface="+mn-cs"/>
                <a:sym typeface="+mn-lt"/>
              </a:defRPr>
            </a:lvl1pPr>
          </a:lstStyle>
          <a:p>
            <a:r>
              <a:rPr lang="en-US"/>
              <a:t>system.support.fi@thermofisher.com | 31-August-2020</a:t>
            </a:r>
            <a:endParaRPr lang="en-US" dirty="0"/>
          </a:p>
        </p:txBody>
      </p:sp>
      <p:sp>
        <p:nvSpPr>
          <p:cNvPr id="3" name="Slide Number Placeholder 2">
            <a:extLst>
              <a:ext uri="{FF2B5EF4-FFF2-40B4-BE49-F238E27FC236}">
                <a16:creationId xmlns:a16="http://schemas.microsoft.com/office/drawing/2014/main" id="{B4F77913-5D2C-C141-AB22-388096EB8230}"/>
              </a:ext>
            </a:extLst>
          </p:cNvPr>
          <p:cNvSpPr>
            <a:spLocks noGrp="1"/>
          </p:cNvSpPr>
          <p:nvPr>
            <p:ph type="sldNum" sz="quarter" idx="12"/>
          </p:nvPr>
        </p:nvSpPr>
        <p:spPr/>
        <p:txBody>
          <a:bodyPr/>
          <a:lstStyle>
            <a:lvl1pPr>
              <a:defRPr>
                <a:latin typeface="+mn-lt"/>
                <a:ea typeface="+mn-ea"/>
                <a:cs typeface="+mn-cs"/>
                <a:sym typeface="+mn-lt"/>
              </a:defRPr>
            </a:lvl1pPr>
          </a:lstStyle>
          <a:p>
            <a:fld id="{89006F1E-66CD-4A4B-9370-B4A3080F0E6C}" type="slidenum">
              <a:rPr lang="en-US" smtClean="0"/>
              <a:pPr/>
              <a:t>‹#›</a:t>
            </a:fld>
            <a:endParaRPr lang="en-US" dirty="0"/>
          </a:p>
        </p:txBody>
      </p:sp>
      <p:sp>
        <p:nvSpPr>
          <p:cNvPr id="15" name="Text Placeholder 15">
            <a:extLst>
              <a:ext uri="{FF2B5EF4-FFF2-40B4-BE49-F238E27FC236}">
                <a16:creationId xmlns:a16="http://schemas.microsoft.com/office/drawing/2014/main" id="{8209BE38-5C75-4E48-AACA-BEDC106131D5}"/>
              </a:ext>
            </a:extLst>
          </p:cNvPr>
          <p:cNvSpPr>
            <a:spLocks noGrp="1"/>
          </p:cNvSpPr>
          <p:nvPr>
            <p:ph type="body" sz="quarter" idx="10" hasCustomPrompt="1"/>
          </p:nvPr>
        </p:nvSpPr>
        <p:spPr>
          <a:xfrm>
            <a:off x="304800" y="3903896"/>
            <a:ext cx="5791199" cy="308120"/>
          </a:xfrm>
          <a:prstGeom prst="rect">
            <a:avLst/>
          </a:prstGeom>
        </p:spPr>
        <p:txBody>
          <a:bodyPr lIns="0" tIns="0" rIns="0" bIns="0" anchor="b"/>
          <a:lstStyle>
            <a:lvl1pPr>
              <a:spcBef>
                <a:spcPts val="0"/>
              </a:spcBef>
              <a:spcAft>
                <a:spcPts val="0"/>
              </a:spcAft>
              <a:buFontTx/>
              <a:buNone/>
              <a:defRPr sz="1600" b="0" baseline="0">
                <a:solidFill>
                  <a:schemeClr val="tx2"/>
                </a:solidFill>
                <a:latin typeface="+mn-lt"/>
                <a:ea typeface="+mn-ea"/>
                <a:cs typeface="+mn-cs"/>
                <a:sym typeface="+mn-lt"/>
              </a:defRPr>
            </a:lvl1pPr>
            <a:lvl2pPr marL="114300" indent="4763">
              <a:spcAft>
                <a:spcPts val="0"/>
              </a:spcAft>
              <a:buFontTx/>
              <a:buNone/>
              <a:defRPr sz="1400" i="1" baseline="0">
                <a:solidFill>
                  <a:schemeClr val="tx1"/>
                </a:solidFill>
              </a:defRPr>
            </a:lvl2pPr>
          </a:lstStyle>
          <a:p>
            <a:pPr lvl="0"/>
            <a:r>
              <a:rPr lang="en-US" dirty="0"/>
              <a:t>Presenter name [16pt Arial] </a:t>
            </a:r>
          </a:p>
        </p:txBody>
      </p:sp>
      <p:sp>
        <p:nvSpPr>
          <p:cNvPr id="16" name="Title 16">
            <a:extLst>
              <a:ext uri="{FF2B5EF4-FFF2-40B4-BE49-F238E27FC236}">
                <a16:creationId xmlns:a16="http://schemas.microsoft.com/office/drawing/2014/main" id="{B2B8D3D1-6FA6-C04D-951C-FD0E7458C808}"/>
              </a:ext>
            </a:extLst>
          </p:cNvPr>
          <p:cNvSpPr>
            <a:spLocks noGrp="1"/>
          </p:cNvSpPr>
          <p:nvPr>
            <p:ph type="title" hasCustomPrompt="1"/>
          </p:nvPr>
        </p:nvSpPr>
        <p:spPr>
          <a:xfrm>
            <a:off x="304801" y="1726100"/>
            <a:ext cx="5791199" cy="2071868"/>
          </a:xfrm>
          <a:prstGeom prst="rect">
            <a:avLst/>
          </a:prstGeom>
          <a:noFill/>
        </p:spPr>
        <p:txBody>
          <a:bodyPr wrap="square" lIns="0" tIns="0" rIns="0" bIns="0" anchor="b">
            <a:noAutofit/>
          </a:bodyPr>
          <a:lstStyle>
            <a:lvl1pPr>
              <a:lnSpc>
                <a:spcPct val="110000"/>
              </a:lnSpc>
              <a:defRPr sz="2800" b="1">
                <a:solidFill>
                  <a:schemeClr val="tx1"/>
                </a:solidFill>
                <a:latin typeface="+mj-lt"/>
                <a:ea typeface="+mj-ea"/>
                <a:cs typeface="+mj-cs"/>
                <a:sym typeface="+mj-lt"/>
              </a:defRPr>
            </a:lvl1pPr>
          </a:lstStyle>
          <a:p>
            <a:r>
              <a:rPr lang="en-US" dirty="0"/>
              <a:t>Title [28pt Arial Bold] </a:t>
            </a:r>
          </a:p>
        </p:txBody>
      </p:sp>
      <p:sp>
        <p:nvSpPr>
          <p:cNvPr id="21" name="Text Placeholder 15">
            <a:extLst>
              <a:ext uri="{FF2B5EF4-FFF2-40B4-BE49-F238E27FC236}">
                <a16:creationId xmlns:a16="http://schemas.microsoft.com/office/drawing/2014/main" id="{046B4CC3-134E-7548-B9F5-FA5784CFD5AE}"/>
              </a:ext>
            </a:extLst>
          </p:cNvPr>
          <p:cNvSpPr>
            <a:spLocks noGrp="1"/>
          </p:cNvSpPr>
          <p:nvPr>
            <p:ph type="body" sz="quarter" idx="14" hasCustomPrompt="1"/>
          </p:nvPr>
        </p:nvSpPr>
        <p:spPr>
          <a:xfrm>
            <a:off x="304800" y="4255834"/>
            <a:ext cx="5791199"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tx1"/>
                </a:solidFill>
                <a:latin typeface="+mn-lt"/>
                <a:ea typeface="+mn-ea"/>
                <a:cs typeface="+mn-cs"/>
                <a:sym typeface="+mn-lt"/>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dirty="0"/>
              <a:t>Presenter Title [14pt Arial]</a:t>
            </a:r>
            <a:br>
              <a:rPr lang="en-US" dirty="0"/>
            </a:br>
            <a:r>
              <a:rPr lang="en-US" dirty="0"/>
              <a:t>Date [14pt Arial] </a:t>
            </a:r>
          </a:p>
        </p:txBody>
      </p:sp>
    </p:spTree>
    <p:extLst>
      <p:ext uri="{BB962C8B-B14F-4D97-AF65-F5344CB8AC3E}">
        <p14:creationId xmlns:p14="http://schemas.microsoft.com/office/powerpoint/2010/main" val="38118693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efault title slide 2">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DB0D72-A0E0-4D2D-A780-9CC2C1988B0E}"/>
              </a:ext>
            </a:extLst>
          </p:cNvPr>
          <p:cNvGraphicFramePr>
            <a:graphicFrameLocks noChangeAspect="1"/>
          </p:cNvGraphicFramePr>
          <p:nvPr userDrawn="1">
            <p:custDataLst>
              <p:tags r:id="rId1"/>
            </p:custDataLst>
            <p:extLst>
              <p:ext uri="{D42A27DB-BD31-4B8C-83A1-F6EECF244321}">
                <p14:modId xmlns:p14="http://schemas.microsoft.com/office/powerpoint/2010/main" val="880907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3" name="Object 2" hidden="1">
                        <a:extLst>
                          <a:ext uri="{FF2B5EF4-FFF2-40B4-BE49-F238E27FC236}">
                            <a16:creationId xmlns:a16="http://schemas.microsoft.com/office/drawing/2014/main" id="{FBDB0D72-A0E0-4D2D-A780-9CC2C1988B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95C540-9C1B-4AD7-983E-3C938F18A7DC}"/>
              </a:ext>
            </a:extLst>
          </p:cNvPr>
          <p:cNvSpPr/>
          <p:nvPr userDrawn="1">
            <p:custDataLst>
              <p:tags r:id="rId2"/>
            </p:custDataLst>
          </p:nvPr>
        </p:nvSpPr>
        <p:spPr bwMode="auto">
          <a:xfrm>
            <a:off x="0" y="0"/>
            <a:ext cx="158750" cy="158750"/>
          </a:xfrm>
          <a:prstGeom prst="rect">
            <a:avLst/>
          </a:prstGeom>
          <a:solidFill>
            <a:schemeClr val="tx2"/>
          </a:solidFill>
          <a:ln w="317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ctr" defTabSz="914400" eaLnBrk="0" fontAlgn="base" hangingPunct="0">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grpSp>
        <p:nvGrpSpPr>
          <p:cNvPr id="24" name="Group 23">
            <a:extLst>
              <a:ext uri="{FF2B5EF4-FFF2-40B4-BE49-F238E27FC236}">
                <a16:creationId xmlns:a16="http://schemas.microsoft.com/office/drawing/2014/main" id="{7D997E8D-54A7-034E-BB18-43BE9D8B72AF}"/>
              </a:ext>
            </a:extLst>
          </p:cNvPr>
          <p:cNvGrpSpPr/>
          <p:nvPr userDrawn="1"/>
        </p:nvGrpSpPr>
        <p:grpSpPr>
          <a:xfrm>
            <a:off x="10015961" y="24564"/>
            <a:ext cx="2176039" cy="6833436"/>
            <a:chOff x="10024536" y="24564"/>
            <a:chExt cx="2176039" cy="6833436"/>
          </a:xfrm>
        </p:grpSpPr>
        <p:sp>
          <p:nvSpPr>
            <p:cNvPr id="25" name="Freeform 24">
              <a:extLst>
                <a:ext uri="{FF2B5EF4-FFF2-40B4-BE49-F238E27FC236}">
                  <a16:creationId xmlns:a16="http://schemas.microsoft.com/office/drawing/2014/main" id="{72CE4260-6521-4748-93CA-26778BA70D03}"/>
                </a:ext>
              </a:extLst>
            </p:cNvPr>
            <p:cNvSpPr/>
            <p:nvPr userDrawn="1"/>
          </p:nvSpPr>
          <p:spPr bwMode="auto">
            <a:xfrm>
              <a:off x="10024536" y="24564"/>
              <a:ext cx="2176039" cy="6833436"/>
            </a:xfrm>
            <a:custGeom>
              <a:avLst/>
              <a:gdLst>
                <a:gd name="connsiteX0" fmla="*/ 1745961 w 1745961"/>
                <a:gd name="connsiteY0" fmla="*/ 0 h 5482857"/>
                <a:gd name="connsiteX1" fmla="*/ 1745961 w 1745961"/>
                <a:gd name="connsiteY1" fmla="*/ 5482857 h 5482857"/>
                <a:gd name="connsiteX2" fmla="*/ 0 w 1745961"/>
                <a:gd name="connsiteY2" fmla="*/ 5482857 h 5482857"/>
              </a:gdLst>
              <a:ahLst/>
              <a:cxnLst>
                <a:cxn ang="0">
                  <a:pos x="connsiteX0" y="connsiteY0"/>
                </a:cxn>
                <a:cxn ang="0">
                  <a:pos x="connsiteX1" y="connsiteY1"/>
                </a:cxn>
                <a:cxn ang="0">
                  <a:pos x="connsiteX2" y="connsiteY2"/>
                </a:cxn>
              </a:cxnLst>
              <a:rect l="l" t="t" r="r" b="b"/>
              <a:pathLst>
                <a:path w="1745961" h="5482857">
                  <a:moveTo>
                    <a:pt x="1745961" y="0"/>
                  </a:moveTo>
                  <a:lnTo>
                    <a:pt x="1745961" y="5482857"/>
                  </a:lnTo>
                  <a:lnTo>
                    <a:pt x="0" y="5482857"/>
                  </a:lnTo>
                  <a:close/>
                </a:path>
              </a:pathLst>
            </a:custGeom>
            <a:solidFill>
              <a:schemeClr val="tx2">
                <a:lumMod val="75000"/>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mn-lt"/>
                  <a:ea typeface="+mn-ea"/>
                  <a:cs typeface="+mn-cs"/>
                  <a:sym typeface="+mn-lt"/>
                </a:rPr>
                <a:t> </a:t>
              </a:r>
            </a:p>
          </p:txBody>
        </p:sp>
        <p:sp>
          <p:nvSpPr>
            <p:cNvPr id="26" name="Freeform 25">
              <a:extLst>
                <a:ext uri="{FF2B5EF4-FFF2-40B4-BE49-F238E27FC236}">
                  <a16:creationId xmlns:a16="http://schemas.microsoft.com/office/drawing/2014/main" id="{312BDDE4-0CBA-1748-A49D-A2A5F2CE8891}"/>
                </a:ext>
              </a:extLst>
            </p:cNvPr>
            <p:cNvSpPr/>
            <p:nvPr userDrawn="1"/>
          </p:nvSpPr>
          <p:spPr bwMode="auto">
            <a:xfrm>
              <a:off x="10805603" y="2477356"/>
              <a:ext cx="1394972" cy="4380644"/>
            </a:xfrm>
            <a:custGeom>
              <a:avLst/>
              <a:gdLst>
                <a:gd name="connsiteX0" fmla="*/ 1745961 w 1745961"/>
                <a:gd name="connsiteY0" fmla="*/ 0 h 5482857"/>
                <a:gd name="connsiteX1" fmla="*/ 1745961 w 1745961"/>
                <a:gd name="connsiteY1" fmla="*/ 5482857 h 5482857"/>
                <a:gd name="connsiteX2" fmla="*/ 0 w 1745961"/>
                <a:gd name="connsiteY2" fmla="*/ 5482857 h 5482857"/>
              </a:gdLst>
              <a:ahLst/>
              <a:cxnLst>
                <a:cxn ang="0">
                  <a:pos x="connsiteX0" y="connsiteY0"/>
                </a:cxn>
                <a:cxn ang="0">
                  <a:pos x="connsiteX1" y="connsiteY1"/>
                </a:cxn>
                <a:cxn ang="0">
                  <a:pos x="connsiteX2" y="connsiteY2"/>
                </a:cxn>
              </a:cxnLst>
              <a:rect l="l" t="t" r="r" b="b"/>
              <a:pathLst>
                <a:path w="1745961" h="5482857">
                  <a:moveTo>
                    <a:pt x="1745961" y="0"/>
                  </a:moveTo>
                  <a:lnTo>
                    <a:pt x="1745961" y="5482857"/>
                  </a:lnTo>
                  <a:lnTo>
                    <a:pt x="0" y="5482857"/>
                  </a:ln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dirty="0">
                <a:latin typeface="+mn-lt"/>
                <a:ea typeface="+mn-ea"/>
                <a:cs typeface="+mn-cs"/>
                <a:sym typeface="+mn-lt"/>
              </a:endParaRPr>
            </a:p>
          </p:txBody>
        </p:sp>
      </p:grpSp>
      <p:grpSp>
        <p:nvGrpSpPr>
          <p:cNvPr id="27" name="Group 26">
            <a:extLst>
              <a:ext uri="{FF2B5EF4-FFF2-40B4-BE49-F238E27FC236}">
                <a16:creationId xmlns:a16="http://schemas.microsoft.com/office/drawing/2014/main" id="{50A6D8E5-0F1B-4F46-A75F-B4236465A272}"/>
              </a:ext>
            </a:extLst>
          </p:cNvPr>
          <p:cNvGrpSpPr/>
          <p:nvPr userDrawn="1"/>
        </p:nvGrpSpPr>
        <p:grpSpPr>
          <a:xfrm>
            <a:off x="9662260" y="818784"/>
            <a:ext cx="2529740" cy="6039216"/>
            <a:chOff x="9662260" y="818784"/>
            <a:chExt cx="2529740" cy="6039216"/>
          </a:xfrm>
        </p:grpSpPr>
        <p:pic>
          <p:nvPicPr>
            <p:cNvPr id="28" name="Picture 27">
              <a:extLst>
                <a:ext uri="{FF2B5EF4-FFF2-40B4-BE49-F238E27FC236}">
                  <a16:creationId xmlns:a16="http://schemas.microsoft.com/office/drawing/2014/main" id="{F29E788A-C660-B84C-99A5-D234AA41381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29" name="Picture 28">
              <a:extLst>
                <a:ext uri="{FF2B5EF4-FFF2-40B4-BE49-F238E27FC236}">
                  <a16:creationId xmlns:a16="http://schemas.microsoft.com/office/drawing/2014/main" id="{DFD590AF-386B-9048-ABEA-59B6BE9DA726}"/>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30" name="Picture 29">
              <a:extLst>
                <a:ext uri="{FF2B5EF4-FFF2-40B4-BE49-F238E27FC236}">
                  <a16:creationId xmlns:a16="http://schemas.microsoft.com/office/drawing/2014/main" id="{E2756107-63E2-5F45-8CC3-D5261B2411F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31" name="Picture 30">
              <a:extLst>
                <a:ext uri="{FF2B5EF4-FFF2-40B4-BE49-F238E27FC236}">
                  <a16:creationId xmlns:a16="http://schemas.microsoft.com/office/drawing/2014/main" id="{0BBAF86D-A33D-1F45-96FF-45390C30D2F6}"/>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32" name="Picture 31">
              <a:extLst>
                <a:ext uri="{FF2B5EF4-FFF2-40B4-BE49-F238E27FC236}">
                  <a16:creationId xmlns:a16="http://schemas.microsoft.com/office/drawing/2014/main" id="{48104F42-09E4-4B40-858C-D0F13E205AD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33" name="Picture 32">
              <a:extLst>
                <a:ext uri="{FF2B5EF4-FFF2-40B4-BE49-F238E27FC236}">
                  <a16:creationId xmlns:a16="http://schemas.microsoft.com/office/drawing/2014/main" id="{02EBF489-D968-EB46-B15F-78B5BB5FD92E}"/>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l="-38854"/>
            <a:stretch/>
          </p:blipFill>
          <p:spPr>
            <a:xfrm>
              <a:off x="10588564" y="818784"/>
              <a:ext cx="1603435" cy="1703758"/>
            </a:xfrm>
            <a:prstGeom prst="rect">
              <a:avLst/>
            </a:prstGeom>
          </p:spPr>
        </p:pic>
      </p:grpSp>
      <p:grpSp>
        <p:nvGrpSpPr>
          <p:cNvPr id="21" name="Group 20">
            <a:extLst>
              <a:ext uri="{FF2B5EF4-FFF2-40B4-BE49-F238E27FC236}">
                <a16:creationId xmlns:a16="http://schemas.microsoft.com/office/drawing/2014/main" id="{529B2BDF-CCF7-1348-A3D5-D71BE6DC81B3}"/>
              </a:ext>
            </a:extLst>
          </p:cNvPr>
          <p:cNvGrpSpPr/>
          <p:nvPr userDrawn="1"/>
        </p:nvGrpSpPr>
        <p:grpSpPr>
          <a:xfrm>
            <a:off x="304800" y="0"/>
            <a:ext cx="2427681" cy="1044934"/>
            <a:chOff x="0" y="0"/>
            <a:chExt cx="2447693" cy="1053548"/>
          </a:xfrm>
        </p:grpSpPr>
        <p:sp>
          <p:nvSpPr>
            <p:cNvPr id="22" name="Parallelogram 21">
              <a:extLst>
                <a:ext uri="{FF2B5EF4-FFF2-40B4-BE49-F238E27FC236}">
                  <a16:creationId xmlns:a16="http://schemas.microsoft.com/office/drawing/2014/main" id="{5AC29362-88F4-1D4E-981B-656DAC0CCDA0}"/>
                </a:ext>
              </a:extLst>
            </p:cNvPr>
            <p:cNvSpPr/>
            <p:nvPr userDrawn="1"/>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mn-lt"/>
                  <a:ea typeface="+mn-ea"/>
                  <a:cs typeface="+mn-cs"/>
                  <a:sym typeface="+mn-lt"/>
                </a:rPr>
                <a:t> </a:t>
              </a:r>
            </a:p>
          </p:txBody>
        </p:sp>
        <p:pic>
          <p:nvPicPr>
            <p:cNvPr id="23" name="Picture 22">
              <a:extLst>
                <a:ext uri="{FF2B5EF4-FFF2-40B4-BE49-F238E27FC236}">
                  <a16:creationId xmlns:a16="http://schemas.microsoft.com/office/drawing/2014/main" id="{3FDEE4BE-E092-CA4F-AF35-8DF125AB2591}"/>
                </a:ext>
              </a:extLst>
            </p:cNvPr>
            <p:cNvPicPr>
              <a:picLocks noChangeAspect="1"/>
            </p:cNvPicPr>
            <p:nvPr userDrawn="1"/>
          </p:nvPicPr>
          <p:blipFill>
            <a:blip r:embed="rId12">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34" name="Group 33">
            <a:extLst>
              <a:ext uri="{FF2B5EF4-FFF2-40B4-BE49-F238E27FC236}">
                <a16:creationId xmlns:a16="http://schemas.microsoft.com/office/drawing/2014/main" id="{229B0B5C-E093-DA4B-806C-77D92FB04B00}"/>
              </a:ext>
            </a:extLst>
          </p:cNvPr>
          <p:cNvGrpSpPr/>
          <p:nvPr userDrawn="1"/>
        </p:nvGrpSpPr>
        <p:grpSpPr>
          <a:xfrm>
            <a:off x="283193" y="5970590"/>
            <a:ext cx="5053203" cy="441233"/>
            <a:chOff x="5155556" y="6168462"/>
            <a:chExt cx="5053203" cy="441233"/>
          </a:xfrm>
        </p:grpSpPr>
        <p:sp>
          <p:nvSpPr>
            <p:cNvPr id="35" name="TextBox 34">
              <a:extLst>
                <a:ext uri="{FF2B5EF4-FFF2-40B4-BE49-F238E27FC236}">
                  <a16:creationId xmlns:a16="http://schemas.microsoft.com/office/drawing/2014/main" id="{8E3D34E8-07DE-DB49-893D-0283BBF248E0}"/>
                </a:ext>
              </a:extLst>
            </p:cNvPr>
            <p:cNvSpPr txBox="1"/>
            <p:nvPr userDrawn="1"/>
          </p:nvSpPr>
          <p:spPr>
            <a:xfrm>
              <a:off x="5656050" y="6168462"/>
              <a:ext cx="4552709" cy="441233"/>
            </a:xfrm>
            <a:prstGeom prst="rect">
              <a:avLst/>
            </a:prstGeom>
            <a:noFill/>
          </p:spPr>
          <p:txBody>
            <a:bodyPr vert="horz" wrap="square" lIns="0" tIns="0" rIns="0" bIns="0" rtlCol="0" anchor="ctr" anchorCtr="0">
              <a:noAutofit/>
            </a:bodyPr>
            <a:lstStyle/>
            <a:p>
              <a:pPr algn="l"/>
              <a:r>
                <a:rPr lang="en-US" sz="2000" dirty="0">
                  <a:solidFill>
                    <a:schemeClr val="tx1"/>
                  </a:solidFill>
                  <a:latin typeface="+mn-lt"/>
                  <a:ea typeface="+mn-ea"/>
                  <a:cs typeface="+mn-cs"/>
                  <a:sym typeface="+mn-lt"/>
                </a:rPr>
                <a:t>The world leader in serving science</a:t>
              </a:r>
            </a:p>
          </p:txBody>
        </p:sp>
        <p:sp>
          <p:nvSpPr>
            <p:cNvPr id="36" name="Parallelogram 35">
              <a:extLst>
                <a:ext uri="{FF2B5EF4-FFF2-40B4-BE49-F238E27FC236}">
                  <a16:creationId xmlns:a16="http://schemas.microsoft.com/office/drawing/2014/main" id="{BC757F20-58AC-5B4E-ACFF-20D22B6D507B}"/>
                </a:ext>
              </a:extLst>
            </p:cNvPr>
            <p:cNvSpPr/>
            <p:nvPr userDrawn="1"/>
          </p:nvSpPr>
          <p:spPr bwMode="auto">
            <a:xfrm>
              <a:off x="5155556" y="6302295"/>
              <a:ext cx="310510" cy="188737"/>
            </a:xfrm>
            <a:prstGeom prst="parallelogram">
              <a:avLst>
                <a:gd name="adj" fmla="val 31844"/>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mn-lt"/>
                  <a:ea typeface="+mn-ea"/>
                  <a:cs typeface="+mn-cs"/>
                  <a:sym typeface="+mn-lt"/>
                </a:rPr>
                <a:t> </a:t>
              </a:r>
            </a:p>
          </p:txBody>
        </p:sp>
      </p:grpSp>
      <p:sp>
        <p:nvSpPr>
          <p:cNvPr id="45" name="Footer Placeholder 1">
            <a:extLst>
              <a:ext uri="{FF2B5EF4-FFF2-40B4-BE49-F238E27FC236}">
                <a16:creationId xmlns:a16="http://schemas.microsoft.com/office/drawing/2014/main" id="{F96EC45B-102C-174F-9F23-FF784CDB7AB8}"/>
              </a:ext>
            </a:extLst>
          </p:cNvPr>
          <p:cNvSpPr>
            <a:spLocks noGrp="1"/>
          </p:cNvSpPr>
          <p:nvPr>
            <p:ph type="ftr" sz="quarter" idx="15"/>
          </p:nvPr>
        </p:nvSpPr>
        <p:spPr>
          <a:xfrm>
            <a:off x="304800" y="6553200"/>
            <a:ext cx="3960000" cy="304799"/>
          </a:xfrm>
        </p:spPr>
        <p:txBody>
          <a:bodyPr/>
          <a:lstStyle>
            <a:lvl1pPr>
              <a:defRPr>
                <a:latin typeface="+mn-lt"/>
                <a:ea typeface="+mn-ea"/>
                <a:cs typeface="+mn-cs"/>
                <a:sym typeface="+mn-lt"/>
              </a:defRPr>
            </a:lvl1pPr>
          </a:lstStyle>
          <a:p>
            <a:r>
              <a:rPr lang="en-US"/>
              <a:t>system.support.fi@thermofisher.com | 31-August-2020</a:t>
            </a:r>
            <a:endParaRPr lang="en-US" dirty="0"/>
          </a:p>
        </p:txBody>
      </p:sp>
      <p:sp>
        <p:nvSpPr>
          <p:cNvPr id="46" name="Slide Number Placeholder 2">
            <a:extLst>
              <a:ext uri="{FF2B5EF4-FFF2-40B4-BE49-F238E27FC236}">
                <a16:creationId xmlns:a16="http://schemas.microsoft.com/office/drawing/2014/main" id="{8D006509-7DB4-6541-835F-3B6972AE0860}"/>
              </a:ext>
            </a:extLst>
          </p:cNvPr>
          <p:cNvSpPr>
            <a:spLocks noGrp="1"/>
          </p:cNvSpPr>
          <p:nvPr>
            <p:ph type="sldNum" sz="quarter" idx="12"/>
          </p:nvPr>
        </p:nvSpPr>
        <p:spPr>
          <a:xfrm>
            <a:off x="1" y="6553200"/>
            <a:ext cx="304799" cy="304799"/>
          </a:xfrm>
        </p:spPr>
        <p:txBody>
          <a:bodyPr/>
          <a:lstStyle>
            <a:lvl1pPr>
              <a:defRPr>
                <a:latin typeface="+mn-lt"/>
                <a:ea typeface="+mn-ea"/>
                <a:cs typeface="+mn-cs"/>
                <a:sym typeface="+mn-lt"/>
              </a:defRPr>
            </a:lvl1pPr>
          </a:lstStyle>
          <a:p>
            <a:fld id="{89006F1E-66CD-4A4B-9370-B4A3080F0E6C}" type="slidenum">
              <a:rPr lang="en-US" smtClean="0"/>
              <a:pPr/>
              <a:t>‹#›</a:t>
            </a:fld>
            <a:endParaRPr lang="en-US" dirty="0"/>
          </a:p>
        </p:txBody>
      </p:sp>
      <p:sp>
        <p:nvSpPr>
          <p:cNvPr id="37" name="Text Placeholder 15">
            <a:extLst>
              <a:ext uri="{FF2B5EF4-FFF2-40B4-BE49-F238E27FC236}">
                <a16:creationId xmlns:a16="http://schemas.microsoft.com/office/drawing/2014/main" id="{108EBC16-514C-7740-843A-F5174EAA96DC}"/>
              </a:ext>
            </a:extLst>
          </p:cNvPr>
          <p:cNvSpPr>
            <a:spLocks noGrp="1"/>
          </p:cNvSpPr>
          <p:nvPr>
            <p:ph type="body" sz="quarter" idx="10" hasCustomPrompt="1"/>
          </p:nvPr>
        </p:nvSpPr>
        <p:spPr>
          <a:xfrm>
            <a:off x="304800" y="3903896"/>
            <a:ext cx="7619999" cy="308120"/>
          </a:xfrm>
          <a:prstGeom prst="rect">
            <a:avLst/>
          </a:prstGeom>
        </p:spPr>
        <p:txBody>
          <a:bodyPr lIns="0" tIns="0" rIns="0" bIns="0" anchor="b"/>
          <a:lstStyle>
            <a:lvl1pPr>
              <a:spcBef>
                <a:spcPts val="0"/>
              </a:spcBef>
              <a:spcAft>
                <a:spcPts val="0"/>
              </a:spcAft>
              <a:buFontTx/>
              <a:buNone/>
              <a:defRPr sz="1600" b="0" baseline="0">
                <a:solidFill>
                  <a:schemeClr val="tx2"/>
                </a:solidFill>
                <a:latin typeface="+mn-lt"/>
                <a:ea typeface="+mn-ea"/>
                <a:cs typeface="+mn-cs"/>
                <a:sym typeface="+mn-lt"/>
              </a:defRPr>
            </a:lvl1pPr>
            <a:lvl2pPr marL="114300" indent="4763">
              <a:spcAft>
                <a:spcPts val="0"/>
              </a:spcAft>
              <a:buFontTx/>
              <a:buNone/>
              <a:defRPr sz="1400" i="1" baseline="0">
                <a:solidFill>
                  <a:schemeClr val="tx1"/>
                </a:solidFill>
              </a:defRPr>
            </a:lvl2pPr>
          </a:lstStyle>
          <a:p>
            <a:pPr lvl="0"/>
            <a:r>
              <a:rPr lang="en-US" dirty="0"/>
              <a:t>Presenter name [16pt Arial] </a:t>
            </a:r>
          </a:p>
        </p:txBody>
      </p:sp>
      <p:sp>
        <p:nvSpPr>
          <p:cNvPr id="38" name="Title 16">
            <a:extLst>
              <a:ext uri="{FF2B5EF4-FFF2-40B4-BE49-F238E27FC236}">
                <a16:creationId xmlns:a16="http://schemas.microsoft.com/office/drawing/2014/main" id="{124A4A7F-4904-4645-AEF7-28AEBD45D1C3}"/>
              </a:ext>
            </a:extLst>
          </p:cNvPr>
          <p:cNvSpPr>
            <a:spLocks noGrp="1"/>
          </p:cNvSpPr>
          <p:nvPr>
            <p:ph type="title" hasCustomPrompt="1"/>
          </p:nvPr>
        </p:nvSpPr>
        <p:spPr>
          <a:xfrm>
            <a:off x="304801" y="1726100"/>
            <a:ext cx="7619999" cy="2071868"/>
          </a:xfrm>
          <a:prstGeom prst="rect">
            <a:avLst/>
          </a:prstGeom>
          <a:noFill/>
        </p:spPr>
        <p:txBody>
          <a:bodyPr wrap="square" lIns="0" tIns="0" rIns="0" bIns="0" anchor="b">
            <a:noAutofit/>
          </a:bodyPr>
          <a:lstStyle>
            <a:lvl1pPr>
              <a:lnSpc>
                <a:spcPct val="110000"/>
              </a:lnSpc>
              <a:defRPr sz="2800" b="1">
                <a:solidFill>
                  <a:schemeClr val="tx1"/>
                </a:solidFill>
                <a:latin typeface="+mj-lt"/>
                <a:ea typeface="+mj-ea"/>
                <a:cs typeface="+mj-cs"/>
                <a:sym typeface="+mj-lt"/>
              </a:defRPr>
            </a:lvl1pPr>
          </a:lstStyle>
          <a:p>
            <a:r>
              <a:rPr lang="en-US" dirty="0"/>
              <a:t>Title [28pt Arial Bold] </a:t>
            </a:r>
          </a:p>
        </p:txBody>
      </p:sp>
      <p:sp>
        <p:nvSpPr>
          <p:cNvPr id="39" name="Text Placeholder 15">
            <a:extLst>
              <a:ext uri="{FF2B5EF4-FFF2-40B4-BE49-F238E27FC236}">
                <a16:creationId xmlns:a16="http://schemas.microsoft.com/office/drawing/2014/main" id="{0DF0839E-0C0A-8E4B-9B47-CC686D239594}"/>
              </a:ext>
            </a:extLst>
          </p:cNvPr>
          <p:cNvSpPr>
            <a:spLocks noGrp="1"/>
          </p:cNvSpPr>
          <p:nvPr>
            <p:ph type="body" sz="quarter" idx="14" hasCustomPrompt="1"/>
          </p:nvPr>
        </p:nvSpPr>
        <p:spPr>
          <a:xfrm>
            <a:off x="304800" y="4255834"/>
            <a:ext cx="7619999"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tx1"/>
                </a:solidFill>
                <a:latin typeface="+mn-lt"/>
                <a:ea typeface="+mn-ea"/>
                <a:cs typeface="+mn-cs"/>
                <a:sym typeface="+mn-lt"/>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dirty="0"/>
              <a:t>Presenter Title [14pt Arial]</a:t>
            </a:r>
            <a:br>
              <a:rPr lang="en-US" dirty="0"/>
            </a:br>
            <a:r>
              <a:rPr lang="en-US" dirty="0"/>
              <a:t>Date [14pt Arial] </a:t>
            </a:r>
          </a:p>
        </p:txBody>
      </p:sp>
    </p:spTree>
    <p:extLst>
      <p:ext uri="{BB962C8B-B14F-4D97-AF65-F5344CB8AC3E}">
        <p14:creationId xmlns:p14="http://schemas.microsoft.com/office/powerpoint/2010/main" val="23996583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ustom title slide">
    <p:bg>
      <p:bgPr>
        <a:gradFill>
          <a:gsLst>
            <a:gs pos="0">
              <a:schemeClr val="bg1"/>
            </a:gs>
            <a:gs pos="45000">
              <a:schemeClr val="bg1"/>
            </a:gs>
            <a:gs pos="66000">
              <a:schemeClr val="bg2"/>
            </a:gs>
          </a:gsLst>
          <a:lin ang="108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D81229D-8FA6-49CF-BEF5-9CD5C1BDECAB}"/>
              </a:ext>
            </a:extLst>
          </p:cNvPr>
          <p:cNvGraphicFramePr>
            <a:graphicFrameLocks noChangeAspect="1"/>
          </p:cNvGraphicFramePr>
          <p:nvPr userDrawn="1">
            <p:custDataLst>
              <p:tags r:id="rId1"/>
            </p:custDataLst>
            <p:extLst>
              <p:ext uri="{D42A27DB-BD31-4B8C-83A1-F6EECF244321}">
                <p14:modId xmlns:p14="http://schemas.microsoft.com/office/powerpoint/2010/main" val="732356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3" name="Object 2" hidden="1">
                        <a:extLst>
                          <a:ext uri="{FF2B5EF4-FFF2-40B4-BE49-F238E27FC236}">
                            <a16:creationId xmlns:a16="http://schemas.microsoft.com/office/drawing/2014/main" id="{9D81229D-8FA6-49CF-BEF5-9CD5C1BDEC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3795482-CE51-445E-966B-400CBB289E4E}"/>
              </a:ext>
            </a:extLst>
          </p:cNvPr>
          <p:cNvSpPr/>
          <p:nvPr userDrawn="1">
            <p:custDataLst>
              <p:tags r:id="rId2"/>
            </p:custDataLst>
          </p:nvPr>
        </p:nvSpPr>
        <p:spPr bwMode="auto">
          <a:xfrm>
            <a:off x="0" y="0"/>
            <a:ext cx="158750" cy="158750"/>
          </a:xfrm>
          <a:prstGeom prst="rect">
            <a:avLst/>
          </a:prstGeom>
          <a:solidFill>
            <a:schemeClr val="tx2"/>
          </a:solidFill>
          <a:ln w="317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ctr" defTabSz="914400" eaLnBrk="0" fontAlgn="base" hangingPunct="0">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14" name="Picture Placeholder 13">
            <a:extLst>
              <a:ext uri="{FF2B5EF4-FFF2-40B4-BE49-F238E27FC236}">
                <a16:creationId xmlns:a16="http://schemas.microsoft.com/office/drawing/2014/main" id="{2DF2EB01-DB3A-564C-8485-CADA3C9CF3AF}"/>
              </a:ext>
            </a:extLst>
          </p:cNvPr>
          <p:cNvSpPr>
            <a:spLocks noGrp="1"/>
          </p:cNvSpPr>
          <p:nvPr>
            <p:ph type="pic" sz="quarter" idx="11" hasCustomPrompt="1"/>
          </p:nvPr>
        </p:nvSpPr>
        <p:spPr>
          <a:xfrm>
            <a:off x="5560459" y="1"/>
            <a:ext cx="6631541" cy="6857999"/>
          </a:xfrm>
          <a:custGeom>
            <a:avLst/>
            <a:gdLst>
              <a:gd name="connsiteX0" fmla="*/ 2183862 w 6631541"/>
              <a:gd name="connsiteY0" fmla="*/ 0 h 6857999"/>
              <a:gd name="connsiteX1" fmla="*/ 6631541 w 6631541"/>
              <a:gd name="connsiteY1" fmla="*/ 0 h 6857999"/>
              <a:gd name="connsiteX2" fmla="*/ 6631541 w 6631541"/>
              <a:gd name="connsiteY2" fmla="*/ 6857999 h 6857999"/>
              <a:gd name="connsiteX3" fmla="*/ 0 w 66315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631541" h="6857999">
                <a:moveTo>
                  <a:pt x="2183862" y="0"/>
                </a:moveTo>
                <a:lnTo>
                  <a:pt x="6631541" y="0"/>
                </a:lnTo>
                <a:lnTo>
                  <a:pt x="6631541" y="6857999"/>
                </a:lnTo>
                <a:lnTo>
                  <a:pt x="0" y="6857999"/>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dirty="0">
                <a:latin typeface="+mn-lt"/>
                <a:ea typeface="+mn-ea"/>
                <a:cs typeface="+mn-cs"/>
                <a:sym typeface="+mn-lt"/>
              </a:defRPr>
            </a:lvl1pPr>
          </a:lstStyle>
          <a:p>
            <a:pPr marR="0" lvl="0" algn="ctr" fontAlgn="auto">
              <a:spcAft>
                <a:spcPts val="0"/>
              </a:spcAft>
              <a:buClrTx/>
              <a:buSzTx/>
              <a:buNone/>
              <a:tabLst/>
            </a:pPr>
            <a:r>
              <a:rPr lang="en-US" dirty="0"/>
              <a:t>Add photo</a:t>
            </a:r>
          </a:p>
        </p:txBody>
      </p:sp>
      <p:grpSp>
        <p:nvGrpSpPr>
          <p:cNvPr id="7" name="Group 6">
            <a:extLst>
              <a:ext uri="{FF2B5EF4-FFF2-40B4-BE49-F238E27FC236}">
                <a16:creationId xmlns:a16="http://schemas.microsoft.com/office/drawing/2014/main" id="{B1F511C6-A535-A245-B123-CC04435D2DAF}"/>
              </a:ext>
            </a:extLst>
          </p:cNvPr>
          <p:cNvGrpSpPr/>
          <p:nvPr userDrawn="1"/>
        </p:nvGrpSpPr>
        <p:grpSpPr>
          <a:xfrm>
            <a:off x="304799" y="0"/>
            <a:ext cx="2427681"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userDrawn="1"/>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mn-lt"/>
                  <a:ea typeface="+mn-ea"/>
                  <a:cs typeface="+mn-cs"/>
                  <a:sym typeface="+mn-lt"/>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11" name="Group 10">
            <a:extLst>
              <a:ext uri="{FF2B5EF4-FFF2-40B4-BE49-F238E27FC236}">
                <a16:creationId xmlns:a16="http://schemas.microsoft.com/office/drawing/2014/main" id="{BD8A84AE-AF33-DF45-94CF-C3F25C5B3C5F}"/>
              </a:ext>
            </a:extLst>
          </p:cNvPr>
          <p:cNvGrpSpPr/>
          <p:nvPr userDrawn="1"/>
        </p:nvGrpSpPr>
        <p:grpSpPr>
          <a:xfrm>
            <a:off x="283193" y="5970590"/>
            <a:ext cx="5053203" cy="441233"/>
            <a:chOff x="5155556" y="6168462"/>
            <a:chExt cx="5053203" cy="441233"/>
          </a:xfrm>
        </p:grpSpPr>
        <p:sp>
          <p:nvSpPr>
            <p:cNvPr id="12" name="TextBox 11">
              <a:extLst>
                <a:ext uri="{FF2B5EF4-FFF2-40B4-BE49-F238E27FC236}">
                  <a16:creationId xmlns:a16="http://schemas.microsoft.com/office/drawing/2014/main" id="{5DF5D896-302C-C647-8B84-3EA145C1337B}"/>
                </a:ext>
              </a:extLst>
            </p:cNvPr>
            <p:cNvSpPr txBox="1"/>
            <p:nvPr userDrawn="1"/>
          </p:nvSpPr>
          <p:spPr>
            <a:xfrm>
              <a:off x="5656050" y="6168462"/>
              <a:ext cx="4552709" cy="441233"/>
            </a:xfrm>
            <a:prstGeom prst="rect">
              <a:avLst/>
            </a:prstGeom>
            <a:noFill/>
          </p:spPr>
          <p:txBody>
            <a:bodyPr vert="horz" wrap="square" lIns="0" tIns="0" rIns="0" bIns="0" rtlCol="0" anchor="ctr" anchorCtr="0">
              <a:noAutofit/>
            </a:bodyPr>
            <a:lstStyle/>
            <a:p>
              <a:pPr algn="l"/>
              <a:r>
                <a:rPr lang="en-US" sz="2000" dirty="0">
                  <a:solidFill>
                    <a:schemeClr val="tx1"/>
                  </a:solidFill>
                  <a:latin typeface="+mn-lt"/>
                  <a:ea typeface="+mn-ea"/>
                  <a:cs typeface="+mn-cs"/>
                  <a:sym typeface="+mn-lt"/>
                </a:rPr>
                <a:t>The world leader in serving science</a:t>
              </a:r>
            </a:p>
          </p:txBody>
        </p:sp>
        <p:sp>
          <p:nvSpPr>
            <p:cNvPr id="13" name="Parallelogram 12">
              <a:extLst>
                <a:ext uri="{FF2B5EF4-FFF2-40B4-BE49-F238E27FC236}">
                  <a16:creationId xmlns:a16="http://schemas.microsoft.com/office/drawing/2014/main" id="{9BC00B89-C038-314A-AC65-15CF9FEFA67A}"/>
                </a:ext>
              </a:extLst>
            </p:cNvPr>
            <p:cNvSpPr/>
            <p:nvPr userDrawn="1"/>
          </p:nvSpPr>
          <p:spPr bwMode="auto">
            <a:xfrm>
              <a:off x="5155556" y="6302295"/>
              <a:ext cx="310510" cy="188737"/>
            </a:xfrm>
            <a:prstGeom prst="parallelogram">
              <a:avLst>
                <a:gd name="adj" fmla="val 31844"/>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mn-lt"/>
                  <a:ea typeface="+mn-ea"/>
                  <a:cs typeface="+mn-cs"/>
                  <a:sym typeface="+mn-lt"/>
                </a:rPr>
                <a:t> </a:t>
              </a:r>
            </a:p>
          </p:txBody>
        </p:sp>
      </p:grpSp>
      <p:sp>
        <p:nvSpPr>
          <p:cNvPr id="17" name="Text Placeholder 15">
            <a:extLst>
              <a:ext uri="{FF2B5EF4-FFF2-40B4-BE49-F238E27FC236}">
                <a16:creationId xmlns:a16="http://schemas.microsoft.com/office/drawing/2014/main" id="{066B560F-B405-E64F-9BDF-0CBAACB3D079}"/>
              </a:ext>
            </a:extLst>
          </p:cNvPr>
          <p:cNvSpPr>
            <a:spLocks noGrp="1"/>
          </p:cNvSpPr>
          <p:nvPr>
            <p:ph type="body" sz="quarter" idx="10" hasCustomPrompt="1"/>
          </p:nvPr>
        </p:nvSpPr>
        <p:spPr>
          <a:xfrm>
            <a:off x="304800" y="3903896"/>
            <a:ext cx="5791199" cy="308120"/>
          </a:xfrm>
          <a:prstGeom prst="rect">
            <a:avLst/>
          </a:prstGeom>
        </p:spPr>
        <p:txBody>
          <a:bodyPr lIns="0" tIns="0" rIns="0" bIns="0" anchor="b"/>
          <a:lstStyle>
            <a:lvl1pPr>
              <a:spcBef>
                <a:spcPts val="0"/>
              </a:spcBef>
              <a:spcAft>
                <a:spcPts val="0"/>
              </a:spcAft>
              <a:buFontTx/>
              <a:buNone/>
              <a:defRPr sz="1600" b="0" baseline="0">
                <a:solidFill>
                  <a:schemeClr val="tx2"/>
                </a:solidFill>
                <a:latin typeface="+mn-lt"/>
                <a:ea typeface="+mn-ea"/>
                <a:cs typeface="+mn-cs"/>
                <a:sym typeface="+mn-lt"/>
              </a:defRPr>
            </a:lvl1pPr>
            <a:lvl2pPr marL="114300" indent="4763">
              <a:spcAft>
                <a:spcPts val="0"/>
              </a:spcAft>
              <a:buFontTx/>
              <a:buNone/>
              <a:defRPr sz="1400" i="1" baseline="0">
                <a:solidFill>
                  <a:schemeClr val="tx1"/>
                </a:solidFill>
              </a:defRPr>
            </a:lvl2pPr>
          </a:lstStyle>
          <a:p>
            <a:pPr lvl="0"/>
            <a:r>
              <a:rPr lang="en-US" dirty="0"/>
              <a:t>Presenter name [16pt Arial] </a:t>
            </a:r>
          </a:p>
        </p:txBody>
      </p:sp>
      <p:sp>
        <p:nvSpPr>
          <p:cNvPr id="18" name="Title 16">
            <a:extLst>
              <a:ext uri="{FF2B5EF4-FFF2-40B4-BE49-F238E27FC236}">
                <a16:creationId xmlns:a16="http://schemas.microsoft.com/office/drawing/2014/main" id="{98A0AF47-0118-3245-A388-D5866C77A994}"/>
              </a:ext>
            </a:extLst>
          </p:cNvPr>
          <p:cNvSpPr>
            <a:spLocks noGrp="1"/>
          </p:cNvSpPr>
          <p:nvPr>
            <p:ph type="title" hasCustomPrompt="1"/>
          </p:nvPr>
        </p:nvSpPr>
        <p:spPr>
          <a:xfrm>
            <a:off x="304801" y="1726100"/>
            <a:ext cx="5791199" cy="2071868"/>
          </a:xfrm>
          <a:prstGeom prst="rect">
            <a:avLst/>
          </a:prstGeom>
          <a:noFill/>
        </p:spPr>
        <p:txBody>
          <a:bodyPr wrap="square" lIns="0" tIns="0" rIns="0" bIns="0" anchor="b">
            <a:noAutofit/>
          </a:bodyPr>
          <a:lstStyle>
            <a:lvl1pPr>
              <a:lnSpc>
                <a:spcPct val="90000"/>
              </a:lnSpc>
              <a:defRPr sz="2800" b="1">
                <a:solidFill>
                  <a:schemeClr val="tx1"/>
                </a:solidFill>
                <a:latin typeface="+mj-lt"/>
                <a:ea typeface="+mj-ea"/>
                <a:cs typeface="+mj-cs"/>
                <a:sym typeface="+mj-lt"/>
              </a:defRPr>
            </a:lvl1pPr>
          </a:lstStyle>
          <a:p>
            <a:r>
              <a:rPr lang="en-US" dirty="0"/>
              <a:t>Title [28pt Arial Bold] </a:t>
            </a:r>
          </a:p>
        </p:txBody>
      </p:sp>
      <p:sp>
        <p:nvSpPr>
          <p:cNvPr id="21" name="Footer Placeholder 1">
            <a:extLst>
              <a:ext uri="{FF2B5EF4-FFF2-40B4-BE49-F238E27FC236}">
                <a16:creationId xmlns:a16="http://schemas.microsoft.com/office/drawing/2014/main" id="{0417725A-1D63-8B41-B75E-4A7C276235C4}"/>
              </a:ext>
            </a:extLst>
          </p:cNvPr>
          <p:cNvSpPr>
            <a:spLocks noGrp="1"/>
          </p:cNvSpPr>
          <p:nvPr>
            <p:ph type="ftr" sz="quarter" idx="15"/>
          </p:nvPr>
        </p:nvSpPr>
        <p:spPr>
          <a:xfrm>
            <a:off x="304800" y="6553200"/>
            <a:ext cx="3960000" cy="304799"/>
          </a:xfrm>
        </p:spPr>
        <p:txBody>
          <a:bodyPr/>
          <a:lstStyle>
            <a:lvl1pPr>
              <a:defRPr>
                <a:latin typeface="+mn-lt"/>
                <a:ea typeface="+mn-ea"/>
                <a:cs typeface="+mn-cs"/>
                <a:sym typeface="+mn-lt"/>
              </a:defRPr>
            </a:lvl1pPr>
          </a:lstStyle>
          <a:p>
            <a:r>
              <a:rPr lang="en-US"/>
              <a:t>system.support.fi@thermofisher.com | 31-August-2020</a:t>
            </a:r>
            <a:endParaRPr lang="en-US" dirty="0"/>
          </a:p>
        </p:txBody>
      </p:sp>
      <p:sp>
        <p:nvSpPr>
          <p:cNvPr id="22" name="Slide Number Placeholder 2">
            <a:extLst>
              <a:ext uri="{FF2B5EF4-FFF2-40B4-BE49-F238E27FC236}">
                <a16:creationId xmlns:a16="http://schemas.microsoft.com/office/drawing/2014/main" id="{2EFD93CC-9AAB-B446-8966-4FFCA1CA2633}"/>
              </a:ext>
            </a:extLst>
          </p:cNvPr>
          <p:cNvSpPr>
            <a:spLocks noGrp="1"/>
          </p:cNvSpPr>
          <p:nvPr>
            <p:ph type="sldNum" sz="quarter" idx="12"/>
          </p:nvPr>
        </p:nvSpPr>
        <p:spPr>
          <a:xfrm>
            <a:off x="1" y="6553200"/>
            <a:ext cx="304799" cy="304799"/>
          </a:xfrm>
        </p:spPr>
        <p:txBody>
          <a:bodyPr/>
          <a:lstStyle>
            <a:lvl1pPr>
              <a:defRPr>
                <a:latin typeface="+mn-lt"/>
                <a:ea typeface="+mn-ea"/>
                <a:cs typeface="+mn-cs"/>
                <a:sym typeface="+mn-lt"/>
              </a:defRPr>
            </a:lvl1pPr>
          </a:lstStyle>
          <a:p>
            <a:fld id="{89006F1E-66CD-4A4B-9370-B4A3080F0E6C}" type="slidenum">
              <a:rPr lang="en-US" smtClean="0"/>
              <a:pPr/>
              <a:t>‹#›</a:t>
            </a:fld>
            <a:endParaRPr lang="en-US" dirty="0"/>
          </a:p>
        </p:txBody>
      </p:sp>
      <p:sp>
        <p:nvSpPr>
          <p:cNvPr id="15" name="Text Placeholder 15">
            <a:extLst>
              <a:ext uri="{FF2B5EF4-FFF2-40B4-BE49-F238E27FC236}">
                <a16:creationId xmlns:a16="http://schemas.microsoft.com/office/drawing/2014/main" id="{DA6AB682-877D-F244-8431-46BA64252685}"/>
              </a:ext>
            </a:extLst>
          </p:cNvPr>
          <p:cNvSpPr>
            <a:spLocks noGrp="1"/>
          </p:cNvSpPr>
          <p:nvPr>
            <p:ph type="body" sz="quarter" idx="14" hasCustomPrompt="1"/>
          </p:nvPr>
        </p:nvSpPr>
        <p:spPr>
          <a:xfrm>
            <a:off x="304801" y="4255834"/>
            <a:ext cx="5791200"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tx1"/>
                </a:solidFill>
                <a:latin typeface="+mn-lt"/>
                <a:ea typeface="+mn-ea"/>
                <a:cs typeface="+mn-cs"/>
                <a:sym typeface="+mn-lt"/>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dirty="0"/>
              <a:t>Presenter Title [14pt Arial]</a:t>
            </a:r>
            <a:br>
              <a:rPr lang="en-US" dirty="0"/>
            </a:br>
            <a:r>
              <a:rPr lang="en-US" dirty="0"/>
              <a:t>Date [14pt Arial] </a:t>
            </a:r>
          </a:p>
        </p:txBody>
      </p:sp>
    </p:spTree>
    <p:extLst>
      <p:ext uri="{BB962C8B-B14F-4D97-AF65-F5344CB8AC3E}">
        <p14:creationId xmlns:p14="http://schemas.microsoft.com/office/powerpoint/2010/main" val="18408870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with image">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3ABFE0-F30F-4444-9D24-3AB92A35AA14}"/>
              </a:ext>
            </a:extLst>
          </p:cNvPr>
          <p:cNvGraphicFramePr>
            <a:graphicFrameLocks noChangeAspect="1"/>
          </p:cNvGraphicFramePr>
          <p:nvPr userDrawn="1">
            <p:custDataLst>
              <p:tags r:id="rId1"/>
            </p:custDataLst>
            <p:extLst>
              <p:ext uri="{D42A27DB-BD31-4B8C-83A1-F6EECF244321}">
                <p14:modId xmlns:p14="http://schemas.microsoft.com/office/powerpoint/2010/main" val="2123780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4" name="Object 3" hidden="1">
                        <a:extLst>
                          <a:ext uri="{FF2B5EF4-FFF2-40B4-BE49-F238E27FC236}">
                            <a16:creationId xmlns:a16="http://schemas.microsoft.com/office/drawing/2014/main" id="{8A3ABFE0-F30F-4444-9D24-3AB92A35AA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59BACE5-2D46-4D72-B8E6-DA578223E7CC}"/>
              </a:ext>
            </a:extLst>
          </p:cNvPr>
          <p:cNvSpPr/>
          <p:nvPr userDrawn="1">
            <p:custDataLst>
              <p:tags r:id="rId2"/>
            </p:custDataLst>
          </p:nvPr>
        </p:nvSpPr>
        <p:spPr bwMode="auto">
          <a:xfrm>
            <a:off x="0" y="0"/>
            <a:ext cx="158750" cy="158750"/>
          </a:xfrm>
          <a:prstGeom prst="rect">
            <a:avLst/>
          </a:prstGeom>
          <a:solidFill>
            <a:schemeClr val="tx2"/>
          </a:solidFill>
          <a:ln w="317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ctr" defTabSz="914400" eaLnBrk="0" fontAlgn="base" hangingPunct="0">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13" name="Picture Placeholder 12">
            <a:extLst>
              <a:ext uri="{FF2B5EF4-FFF2-40B4-BE49-F238E27FC236}">
                <a16:creationId xmlns:a16="http://schemas.microsoft.com/office/drawing/2014/main" id="{6AE08B2E-D136-8942-AB0C-32CBAFB45A4D}"/>
              </a:ext>
            </a:extLst>
          </p:cNvPr>
          <p:cNvSpPr>
            <a:spLocks noGrp="1"/>
          </p:cNvSpPr>
          <p:nvPr>
            <p:ph type="pic" sz="quarter" idx="11" hasCustomPrompt="1"/>
          </p:nvPr>
        </p:nvSpPr>
        <p:spPr>
          <a:xfrm>
            <a:off x="5560459" y="-1"/>
            <a:ext cx="6631541" cy="6858000"/>
          </a:xfrm>
          <a:custGeom>
            <a:avLst/>
            <a:gdLst>
              <a:gd name="connsiteX0" fmla="*/ 4761301 w 6631541"/>
              <a:gd name="connsiteY0" fmla="*/ 1 h 6858000"/>
              <a:gd name="connsiteX1" fmla="*/ 4761301 w 6631541"/>
              <a:gd name="connsiteY1" fmla="*/ 673805 h 6858000"/>
              <a:gd name="connsiteX2" fmla="*/ 6326740 w 6631541"/>
              <a:gd name="connsiteY2" fmla="*/ 673805 h 6858000"/>
              <a:gd name="connsiteX3" fmla="*/ 6326740 w 6631541"/>
              <a:gd name="connsiteY3" fmla="*/ 1 h 6858000"/>
              <a:gd name="connsiteX4" fmla="*/ 2183862 w 6631541"/>
              <a:gd name="connsiteY4" fmla="*/ 0 h 6858000"/>
              <a:gd name="connsiteX5" fmla="*/ 6631541 w 6631541"/>
              <a:gd name="connsiteY5" fmla="*/ 0 h 6858000"/>
              <a:gd name="connsiteX6" fmla="*/ 6631541 w 6631541"/>
              <a:gd name="connsiteY6" fmla="*/ 6858000 h 6858000"/>
              <a:gd name="connsiteX7" fmla="*/ 0 w 6631541"/>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1541" h="6858000">
                <a:moveTo>
                  <a:pt x="4761301" y="1"/>
                </a:moveTo>
                <a:lnTo>
                  <a:pt x="4761301" y="673805"/>
                </a:lnTo>
                <a:lnTo>
                  <a:pt x="6326740" y="673805"/>
                </a:lnTo>
                <a:lnTo>
                  <a:pt x="6326740" y="1"/>
                </a:lnTo>
                <a:close/>
                <a:moveTo>
                  <a:pt x="2183862" y="0"/>
                </a:moveTo>
                <a:lnTo>
                  <a:pt x="6631541" y="0"/>
                </a:lnTo>
                <a:lnTo>
                  <a:pt x="6631541" y="6858000"/>
                </a:lnTo>
                <a:lnTo>
                  <a:pt x="0" y="6858000"/>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dirty="0">
                <a:latin typeface="+mn-lt"/>
                <a:ea typeface="+mn-ea"/>
                <a:cs typeface="+mn-cs"/>
                <a:sym typeface="+mn-lt"/>
              </a:defRPr>
            </a:lvl1pPr>
          </a:lstStyle>
          <a:p>
            <a:pPr marR="0" lvl="0" algn="ctr" fontAlgn="auto">
              <a:spcAft>
                <a:spcPts val="0"/>
              </a:spcAft>
              <a:buClrTx/>
              <a:buSzTx/>
              <a:buNone/>
              <a:tabLst/>
            </a:pPr>
            <a:r>
              <a:rPr lang="en-US" dirty="0"/>
              <a:t>Add photo</a:t>
            </a:r>
          </a:p>
        </p:txBody>
      </p:sp>
      <p:sp>
        <p:nvSpPr>
          <p:cNvPr id="12" name="Slide Number Placeholder 11">
            <a:extLst>
              <a:ext uri="{FF2B5EF4-FFF2-40B4-BE49-F238E27FC236}">
                <a16:creationId xmlns:a16="http://schemas.microsoft.com/office/drawing/2014/main" id="{47161BDA-83E9-E143-BE27-DC11E94DC4B5}"/>
              </a:ext>
            </a:extLst>
          </p:cNvPr>
          <p:cNvSpPr>
            <a:spLocks noGrp="1"/>
          </p:cNvSpPr>
          <p:nvPr>
            <p:ph type="sldNum" sz="quarter" idx="10"/>
          </p:nvPr>
        </p:nvSpPr>
        <p:spPr/>
        <p:txBody>
          <a:bodyPr lIns="0" tIns="0" rIns="0" bIns="0"/>
          <a:lstStyle>
            <a:lvl1pPr>
              <a:defRPr>
                <a:latin typeface="+mn-lt"/>
                <a:ea typeface="+mn-ea"/>
                <a:cs typeface="+mn-cs"/>
                <a:sym typeface="+mn-lt"/>
              </a:defRPr>
            </a:lvl1pPr>
          </a:lstStyle>
          <a:p>
            <a:fld id="{89006F1E-66CD-4A4B-9370-B4A3080F0E6C}" type="slidenum">
              <a:rPr lang="en-US" smtClean="0"/>
              <a:pPr/>
              <a:t>‹#›</a:t>
            </a:fld>
            <a:endParaRPr lang="en-US" dirty="0"/>
          </a:p>
        </p:txBody>
      </p:sp>
      <p:sp>
        <p:nvSpPr>
          <p:cNvPr id="17" name="Title 16">
            <a:extLst>
              <a:ext uri="{FF2B5EF4-FFF2-40B4-BE49-F238E27FC236}">
                <a16:creationId xmlns:a16="http://schemas.microsoft.com/office/drawing/2014/main" id="{FB477BD4-B3C4-0245-87E7-210A11A609FB}"/>
              </a:ext>
            </a:extLst>
          </p:cNvPr>
          <p:cNvSpPr>
            <a:spLocks noGrp="1"/>
          </p:cNvSpPr>
          <p:nvPr>
            <p:ph type="title"/>
          </p:nvPr>
        </p:nvSpPr>
        <p:spPr/>
        <p:txBody>
          <a:bodyPr/>
          <a:lstStyle>
            <a:lvl1pPr>
              <a:defRPr>
                <a:latin typeface="+mj-lt"/>
                <a:ea typeface="+mj-ea"/>
                <a:cs typeface="+mj-cs"/>
                <a:sym typeface="+mj-lt"/>
              </a:defRPr>
            </a:lvl1pPr>
          </a:lstStyle>
          <a:p>
            <a:r>
              <a:rPr lang="en-US" dirty="0"/>
              <a:t>Click to edit Master title style</a:t>
            </a:r>
          </a:p>
        </p:txBody>
      </p:sp>
      <p:sp>
        <p:nvSpPr>
          <p:cNvPr id="2" name="Footer Placeholder 1">
            <a:extLst>
              <a:ext uri="{FF2B5EF4-FFF2-40B4-BE49-F238E27FC236}">
                <a16:creationId xmlns:a16="http://schemas.microsoft.com/office/drawing/2014/main" id="{A45E3DEE-D37C-1D48-B059-905D05A3A480}"/>
              </a:ext>
            </a:extLst>
          </p:cNvPr>
          <p:cNvSpPr>
            <a:spLocks noGrp="1"/>
          </p:cNvSpPr>
          <p:nvPr>
            <p:ph type="ftr" sz="quarter" idx="12"/>
          </p:nvPr>
        </p:nvSpPr>
        <p:spPr>
          <a:xfrm>
            <a:off x="304798" y="6553201"/>
            <a:ext cx="3960000" cy="304800"/>
          </a:xfrm>
          <a:prstGeom prst="rect">
            <a:avLst/>
          </a:prstGeom>
        </p:spPr>
        <p:txBody>
          <a:bodyPr/>
          <a:lstStyle>
            <a:lvl1pPr>
              <a:defRPr>
                <a:solidFill>
                  <a:schemeClr val="accent5"/>
                </a:solidFill>
                <a:latin typeface="+mn-lt"/>
                <a:ea typeface="+mn-ea"/>
                <a:cs typeface="+mn-cs"/>
                <a:sym typeface="+mn-lt"/>
              </a:defRPr>
            </a:lvl1pPr>
          </a:lstStyle>
          <a:p>
            <a:r>
              <a:rPr lang="en-US"/>
              <a:t>system.support.fi@thermofisher.com | 31-August-2020</a:t>
            </a:r>
            <a:endParaRPr lang="en-US" dirty="0"/>
          </a:p>
        </p:txBody>
      </p:sp>
      <p:sp>
        <p:nvSpPr>
          <p:cNvPr id="8" name="Content Placeholder 3">
            <a:extLst>
              <a:ext uri="{FF2B5EF4-FFF2-40B4-BE49-F238E27FC236}">
                <a16:creationId xmlns:a16="http://schemas.microsoft.com/office/drawing/2014/main" id="{E78B1B2E-3D55-0E40-BE78-DE19E0E78115}"/>
              </a:ext>
            </a:extLst>
          </p:cNvPr>
          <p:cNvSpPr>
            <a:spLocks noGrp="1"/>
          </p:cNvSpPr>
          <p:nvPr>
            <p:ph sz="quarter" idx="14"/>
          </p:nvPr>
        </p:nvSpPr>
        <p:spPr>
          <a:xfrm>
            <a:off x="304800" y="1447800"/>
            <a:ext cx="5791200" cy="4607954"/>
          </a:xfrm>
          <a:prstGeom prst="rect">
            <a:avLst/>
          </a:prstGeom>
        </p:spPr>
        <p:txBody>
          <a:bodyPr vert="horz" lIns="0" tIns="0" rIns="0" bIns="0" rtlCol="0" anchor="t" anchorCtr="0">
            <a:noAutofit/>
          </a:bodyPr>
          <a:lstStyle>
            <a:lvl1pPr>
              <a:defRPr lang="en-US" dirty="0" smtClean="0">
                <a:latin typeface="+mn-lt"/>
                <a:ea typeface="+mn-ea"/>
                <a:cs typeface="+mn-cs"/>
                <a:sym typeface="+mn-lt"/>
              </a:defRPr>
            </a:lvl1pPr>
            <a:lvl2pPr>
              <a:defRPr lang="en-US" dirty="0" smtClean="0">
                <a:latin typeface="+mn-lt"/>
                <a:ea typeface="+mn-ea"/>
                <a:cs typeface="+mn-cs"/>
                <a:sym typeface="+mn-lt"/>
              </a:defRPr>
            </a:lvl2pPr>
            <a:lvl3pPr>
              <a:defRPr lang="en-US" dirty="0" smtClean="0">
                <a:latin typeface="+mn-lt"/>
                <a:ea typeface="+mn-ea"/>
                <a:cs typeface="+mn-cs"/>
                <a:sym typeface="+mn-lt"/>
              </a:defRPr>
            </a:lvl3pPr>
            <a:lvl4pPr>
              <a:defRPr lang="en-US" dirty="0" smtClean="0">
                <a:latin typeface="+mn-lt"/>
                <a:ea typeface="+mn-ea"/>
                <a:cs typeface="+mn-cs"/>
                <a:sym typeface="+mn-lt"/>
              </a:defRPr>
            </a:lvl4pPr>
            <a:lvl5pPr>
              <a:defRPr lang="en-US" dirty="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7">
            <a:extLst>
              <a:ext uri="{FF2B5EF4-FFF2-40B4-BE49-F238E27FC236}">
                <a16:creationId xmlns:a16="http://schemas.microsoft.com/office/drawing/2014/main" id="{913AD51C-A540-614E-BCCA-04DD383D383F}"/>
              </a:ext>
            </a:extLst>
          </p:cNvPr>
          <p:cNvSpPr>
            <a:spLocks noGrp="1"/>
          </p:cNvSpPr>
          <p:nvPr>
            <p:ph type="body" sz="quarter" idx="15" hasCustomPrompt="1"/>
          </p:nvPr>
        </p:nvSpPr>
        <p:spPr>
          <a:xfrm>
            <a:off x="304798" y="6055756"/>
            <a:ext cx="5255662" cy="489204"/>
          </a:xfrm>
          <a:prstGeom prst="rect">
            <a:avLst/>
          </a:prstGeom>
        </p:spPr>
        <p:txBody>
          <a:bodyPr anchor="b">
            <a:normAutofit/>
          </a:bodyPr>
          <a:lstStyle>
            <a:lvl1pPr marL="0" indent="0">
              <a:spcBef>
                <a:spcPts val="100"/>
              </a:spcBef>
              <a:buNone/>
              <a:defRPr sz="1000">
                <a:solidFill>
                  <a:schemeClr val="accent5"/>
                </a:solidFill>
                <a:latin typeface="+mn-lt"/>
                <a:ea typeface="+mn-ea"/>
                <a:cs typeface="+mn-cs"/>
                <a:sym typeface="+mn-lt"/>
              </a:defRPr>
            </a:lvl1pPr>
          </a:lstStyle>
          <a:p>
            <a:pPr lvl="0"/>
            <a:r>
              <a:rPr lang="en-US" dirty="0"/>
              <a:t>Source notes</a:t>
            </a:r>
          </a:p>
        </p:txBody>
      </p:sp>
      <p:sp>
        <p:nvSpPr>
          <p:cNvPr id="10" name="Text Placeholder 7">
            <a:extLst>
              <a:ext uri="{FF2B5EF4-FFF2-40B4-BE49-F238E27FC236}">
                <a16:creationId xmlns:a16="http://schemas.microsoft.com/office/drawing/2014/main" id="{C408A322-1049-7D40-BE0C-3E8E57A90330}"/>
              </a:ext>
            </a:extLst>
          </p:cNvPr>
          <p:cNvSpPr>
            <a:spLocks noGrp="1"/>
          </p:cNvSpPr>
          <p:nvPr>
            <p:ph type="body" sz="quarter" idx="16"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latin typeface="+mn-lt"/>
                <a:ea typeface="+mn-ea"/>
                <a:cs typeface="+mn-cs"/>
                <a:sym typeface="+mn-lt"/>
              </a:defRPr>
            </a:lvl1pPr>
          </a:lstStyle>
          <a:p>
            <a:pPr lvl="0"/>
            <a:r>
              <a:rPr lang="en-US" dirty="0"/>
              <a:t>Click to add </a:t>
            </a:r>
            <a:r>
              <a:rPr lang="en-US" dirty="0" err="1"/>
              <a:t>subheader</a:t>
            </a:r>
            <a:endParaRPr lang="en-US" dirty="0"/>
          </a:p>
        </p:txBody>
      </p:sp>
    </p:spTree>
    <p:extLst>
      <p:ext uri="{BB962C8B-B14F-4D97-AF65-F5344CB8AC3E}">
        <p14:creationId xmlns:p14="http://schemas.microsoft.com/office/powerpoint/2010/main" val="5795388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733E84-76AE-4FEC-9C4A-26BF01A759B9}"/>
              </a:ext>
            </a:extLst>
          </p:cNvPr>
          <p:cNvGraphicFramePr>
            <a:graphicFrameLocks noChangeAspect="1"/>
          </p:cNvGraphicFramePr>
          <p:nvPr userDrawn="1">
            <p:custDataLst>
              <p:tags r:id="rId1"/>
            </p:custDataLst>
            <p:extLst>
              <p:ext uri="{D42A27DB-BD31-4B8C-83A1-F6EECF244321}">
                <p14:modId xmlns:p14="http://schemas.microsoft.com/office/powerpoint/2010/main" val="1096894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4" name="Object 3" hidden="1">
                        <a:extLst>
                          <a:ext uri="{FF2B5EF4-FFF2-40B4-BE49-F238E27FC236}">
                            <a16:creationId xmlns:a16="http://schemas.microsoft.com/office/drawing/2014/main" id="{E0733E84-76AE-4FEC-9C4A-26BF01A759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CA4F588-673D-4A5E-9CBA-1E90D3249DEE}"/>
              </a:ext>
            </a:extLst>
          </p:cNvPr>
          <p:cNvSpPr/>
          <p:nvPr userDrawn="1">
            <p:custDataLst>
              <p:tags r:id="rId2"/>
            </p:custDataLst>
          </p:nvPr>
        </p:nvSpPr>
        <p:spPr bwMode="auto">
          <a:xfrm>
            <a:off x="0" y="0"/>
            <a:ext cx="158750" cy="158750"/>
          </a:xfrm>
          <a:prstGeom prst="rect">
            <a:avLst/>
          </a:prstGeom>
          <a:solidFill>
            <a:schemeClr val="tx2"/>
          </a:solidFill>
          <a:ln w="317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ctr" defTabSz="914400" eaLnBrk="0" fontAlgn="base" hangingPunct="0">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lvl1pPr>
              <a:defRPr>
                <a:latin typeface="+mj-lt"/>
                <a:ea typeface="+mj-ea"/>
                <a:cs typeface="+mj-cs"/>
                <a:sym typeface="+mj-lt"/>
              </a:defRPr>
            </a:lvl1pPr>
          </a:lstStyle>
          <a:p>
            <a:r>
              <a:rPr lang="en-US" dirty="0"/>
              <a:t>Click to edit Master title style</a:t>
            </a:r>
          </a:p>
        </p:txBody>
      </p:sp>
      <p:sp>
        <p:nvSpPr>
          <p:cNvPr id="5" name="Slide Number Placeholder 11">
            <a:extLst>
              <a:ext uri="{FF2B5EF4-FFF2-40B4-BE49-F238E27FC236}">
                <a16:creationId xmlns:a16="http://schemas.microsoft.com/office/drawing/2014/main" id="{0D25D28A-A5EB-C240-A997-149159566C62}"/>
              </a:ext>
            </a:extLst>
          </p:cNvPr>
          <p:cNvSpPr>
            <a:spLocks noGrp="1"/>
          </p:cNvSpPr>
          <p:nvPr>
            <p:ph type="sldNum" sz="quarter" idx="10"/>
          </p:nvPr>
        </p:nvSpPr>
        <p:spPr>
          <a:xfrm>
            <a:off x="1" y="6553200"/>
            <a:ext cx="304799" cy="304799"/>
          </a:xfrm>
        </p:spPr>
        <p:txBody>
          <a:bodyPr lIns="0" tIns="0" rIns="0" bIns="0"/>
          <a:lstStyle>
            <a:lvl1pPr>
              <a:defRPr>
                <a:latin typeface="+mn-lt"/>
                <a:ea typeface="+mn-ea"/>
                <a:cs typeface="+mn-cs"/>
                <a:sym typeface="+mn-lt"/>
              </a:defRPr>
            </a:lvl1pPr>
          </a:lstStyle>
          <a:p>
            <a:fld id="{89006F1E-66CD-4A4B-9370-B4A3080F0E6C}" type="slidenum">
              <a:rPr lang="en-US" smtClean="0"/>
              <a:pPr/>
              <a:t>‹#›</a:t>
            </a:fld>
            <a:endParaRPr lang="en-US" dirty="0"/>
          </a:p>
        </p:txBody>
      </p:sp>
      <p:sp>
        <p:nvSpPr>
          <p:cNvPr id="6" name="Footer Placeholder 1">
            <a:extLst>
              <a:ext uri="{FF2B5EF4-FFF2-40B4-BE49-F238E27FC236}">
                <a16:creationId xmlns:a16="http://schemas.microsoft.com/office/drawing/2014/main" id="{EF39BEC2-E111-4A4B-836F-3D8401524587}"/>
              </a:ext>
            </a:extLst>
          </p:cNvPr>
          <p:cNvSpPr>
            <a:spLocks noGrp="1"/>
          </p:cNvSpPr>
          <p:nvPr>
            <p:ph type="ftr" sz="quarter" idx="12"/>
          </p:nvPr>
        </p:nvSpPr>
        <p:spPr>
          <a:xfrm>
            <a:off x="304799" y="6553201"/>
            <a:ext cx="4637591" cy="313038"/>
          </a:xfrm>
          <a:prstGeom prst="rect">
            <a:avLst/>
          </a:prstGeom>
        </p:spPr>
        <p:txBody>
          <a:bodyPr/>
          <a:lstStyle>
            <a:lvl1pPr>
              <a:defRPr>
                <a:solidFill>
                  <a:schemeClr val="accent5"/>
                </a:solidFill>
                <a:latin typeface="+mn-lt"/>
                <a:ea typeface="+mn-ea"/>
                <a:cs typeface="+mn-cs"/>
                <a:sym typeface="+mn-lt"/>
              </a:defRPr>
            </a:lvl1pPr>
          </a:lstStyle>
          <a:p>
            <a:r>
              <a:rPr lang="en-US"/>
              <a:t>system.support.fi@thermofisher.com | 31-August-2020</a:t>
            </a:r>
            <a:endParaRPr lang="en-US" dirty="0"/>
          </a:p>
        </p:txBody>
      </p:sp>
      <p:sp>
        <p:nvSpPr>
          <p:cNvPr id="8" name="Text Placeholder 7">
            <a:extLst>
              <a:ext uri="{FF2B5EF4-FFF2-40B4-BE49-F238E27FC236}">
                <a16:creationId xmlns:a16="http://schemas.microsoft.com/office/drawing/2014/main" id="{2A4CF7CB-ACF9-2E40-8360-1F09EA0AC0AC}"/>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latin typeface="+mn-lt"/>
                <a:ea typeface="+mn-ea"/>
                <a:cs typeface="+mn-cs"/>
                <a:sym typeface="+mn-lt"/>
              </a:defRPr>
            </a:lvl1pPr>
          </a:lstStyle>
          <a:p>
            <a:pPr lvl="0"/>
            <a:r>
              <a:rPr lang="en-US" dirty="0"/>
              <a:t>Click to add </a:t>
            </a:r>
            <a:r>
              <a:rPr lang="en-US" dirty="0" err="1"/>
              <a:t>subheader</a:t>
            </a:r>
            <a:endParaRPr lang="en-US" dirty="0"/>
          </a:p>
        </p:txBody>
      </p:sp>
      <p:sp>
        <p:nvSpPr>
          <p:cNvPr id="10" name="Text Placeholder 7">
            <a:extLst>
              <a:ext uri="{FF2B5EF4-FFF2-40B4-BE49-F238E27FC236}">
                <a16:creationId xmlns:a16="http://schemas.microsoft.com/office/drawing/2014/main" id="{EE5F834C-5A08-DA4E-82E7-AC5A7A2CC796}"/>
              </a:ext>
            </a:extLst>
          </p:cNvPr>
          <p:cNvSpPr>
            <a:spLocks noGrp="1"/>
          </p:cNvSpPr>
          <p:nvPr>
            <p:ph type="body" sz="quarter" idx="13" hasCustomPrompt="1"/>
          </p:nvPr>
        </p:nvSpPr>
        <p:spPr>
          <a:xfrm>
            <a:off x="304797" y="6055756"/>
            <a:ext cx="11582401" cy="489204"/>
          </a:xfrm>
          <a:prstGeom prst="rect">
            <a:avLst/>
          </a:prstGeom>
        </p:spPr>
        <p:txBody>
          <a:bodyPr anchor="b">
            <a:normAutofit/>
          </a:bodyPr>
          <a:lstStyle>
            <a:lvl1pPr marL="0" indent="0">
              <a:spcBef>
                <a:spcPts val="100"/>
              </a:spcBef>
              <a:buNone/>
              <a:defRPr sz="1000">
                <a:solidFill>
                  <a:schemeClr val="accent5"/>
                </a:solidFill>
                <a:latin typeface="+mn-lt"/>
                <a:ea typeface="+mn-ea"/>
                <a:cs typeface="+mn-cs"/>
                <a:sym typeface="+mn-lt"/>
              </a:defRPr>
            </a:lvl1pPr>
          </a:lstStyle>
          <a:p>
            <a:pPr lvl="0"/>
            <a:r>
              <a:rPr lang="en-US" dirty="0"/>
              <a:t>Source notes</a:t>
            </a:r>
          </a:p>
        </p:txBody>
      </p:sp>
      <p:sp>
        <p:nvSpPr>
          <p:cNvPr id="7" name="Content Placeholder 6">
            <a:extLst>
              <a:ext uri="{FF2B5EF4-FFF2-40B4-BE49-F238E27FC236}">
                <a16:creationId xmlns:a16="http://schemas.microsoft.com/office/drawing/2014/main" id="{AFD7366D-1388-3D45-9C8A-11D05A5A4315}"/>
              </a:ext>
            </a:extLst>
          </p:cNvPr>
          <p:cNvSpPr>
            <a:spLocks noGrp="1"/>
          </p:cNvSpPr>
          <p:nvPr>
            <p:ph sz="quarter" idx="14"/>
          </p:nvPr>
        </p:nvSpPr>
        <p:spPr>
          <a:xfrm>
            <a:off x="300038" y="1447800"/>
            <a:ext cx="11587162" cy="4608513"/>
          </a:xfrm>
        </p:spPr>
        <p:txBody>
          <a:bodyPr/>
          <a:lstStyle>
            <a:lvl1pPr marL="287338" indent="-287338">
              <a:buFont typeface="Arial" panose="020B0604020202020204" pitchFamily="34" charset="0"/>
              <a:buChar cha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0844740"/>
      </p:ext>
    </p:extLst>
  </p:cSld>
  <p:clrMapOvr>
    <a:masterClrMapping/>
  </p:clrMapOvr>
  <p:extLst>
    <p:ext uri="{DCECCB84-F9BA-43D5-87BE-67443E8EF086}">
      <p15:sldGuideLst xmlns:p15="http://schemas.microsoft.com/office/powerpoint/2012/main">
        <p15:guide id="1" orient="horz" pos="381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6E6FEC-F36A-4EF4-9C8E-D9CAAE42766D}"/>
              </a:ext>
            </a:extLst>
          </p:cNvPr>
          <p:cNvGraphicFramePr>
            <a:graphicFrameLocks noChangeAspect="1"/>
          </p:cNvGraphicFramePr>
          <p:nvPr userDrawn="1">
            <p:custDataLst>
              <p:tags r:id="rId1"/>
            </p:custDataLst>
            <p:extLst>
              <p:ext uri="{D42A27DB-BD31-4B8C-83A1-F6EECF244321}">
                <p14:modId xmlns:p14="http://schemas.microsoft.com/office/powerpoint/2010/main" val="3517809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4" name="Object 3" hidden="1">
                        <a:extLst>
                          <a:ext uri="{FF2B5EF4-FFF2-40B4-BE49-F238E27FC236}">
                            <a16:creationId xmlns:a16="http://schemas.microsoft.com/office/drawing/2014/main" id="{B86E6FEC-F36A-4EF4-9C8E-D9CAAE4276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8DF2964-7886-4D37-A243-8A6A490C79DE}"/>
              </a:ext>
            </a:extLst>
          </p:cNvPr>
          <p:cNvSpPr/>
          <p:nvPr userDrawn="1">
            <p:custDataLst>
              <p:tags r:id="rId2"/>
            </p:custDataLst>
          </p:nvPr>
        </p:nvSpPr>
        <p:spPr bwMode="auto">
          <a:xfrm>
            <a:off x="0" y="0"/>
            <a:ext cx="158750" cy="158750"/>
          </a:xfrm>
          <a:prstGeom prst="rect">
            <a:avLst/>
          </a:prstGeom>
          <a:solidFill>
            <a:schemeClr val="tx2"/>
          </a:solidFill>
          <a:ln w="317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ctr" defTabSz="914400" eaLnBrk="0" fontAlgn="base" hangingPunct="0">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lvl1pPr>
              <a:defRPr>
                <a:latin typeface="+mj-lt"/>
                <a:ea typeface="+mj-ea"/>
                <a:cs typeface="+mj-cs"/>
                <a:sym typeface="+mj-lt"/>
              </a:defRPr>
            </a:lvl1pPr>
          </a:lstStyle>
          <a:p>
            <a:r>
              <a:rPr lang="en-US" dirty="0"/>
              <a:t>Click to edit Master title style</a:t>
            </a:r>
          </a:p>
        </p:txBody>
      </p:sp>
      <p:sp>
        <p:nvSpPr>
          <p:cNvPr id="6" name="Slide Number Placeholder 11">
            <a:extLst>
              <a:ext uri="{FF2B5EF4-FFF2-40B4-BE49-F238E27FC236}">
                <a16:creationId xmlns:a16="http://schemas.microsoft.com/office/drawing/2014/main" id="{CA35970F-C7C4-F346-8F9C-43C9A251063B}"/>
              </a:ext>
            </a:extLst>
          </p:cNvPr>
          <p:cNvSpPr>
            <a:spLocks noGrp="1"/>
          </p:cNvSpPr>
          <p:nvPr>
            <p:ph type="sldNum" sz="quarter" idx="10"/>
          </p:nvPr>
        </p:nvSpPr>
        <p:spPr>
          <a:xfrm>
            <a:off x="1" y="6553200"/>
            <a:ext cx="304799" cy="304799"/>
          </a:xfrm>
        </p:spPr>
        <p:txBody>
          <a:bodyPr lIns="0" tIns="0" rIns="0" bIns="0"/>
          <a:lstStyle>
            <a:lvl1pPr>
              <a:defRPr>
                <a:latin typeface="+mn-lt"/>
                <a:ea typeface="+mn-ea"/>
                <a:cs typeface="+mn-cs"/>
                <a:sym typeface="+mn-lt"/>
              </a:defRPr>
            </a:lvl1pPr>
          </a:lstStyle>
          <a:p>
            <a:fld id="{89006F1E-66CD-4A4B-9370-B4A3080F0E6C}" type="slidenum">
              <a:rPr lang="en-US" smtClean="0"/>
              <a:pPr/>
              <a:t>‹#›</a:t>
            </a:fld>
            <a:endParaRPr lang="en-US" dirty="0"/>
          </a:p>
        </p:txBody>
      </p:sp>
      <p:sp>
        <p:nvSpPr>
          <p:cNvPr id="7" name="Footer Placeholder 1">
            <a:extLst>
              <a:ext uri="{FF2B5EF4-FFF2-40B4-BE49-F238E27FC236}">
                <a16:creationId xmlns:a16="http://schemas.microsoft.com/office/drawing/2014/main" id="{CE9EC605-3413-1E4D-96BF-ECCB56711FD5}"/>
              </a:ext>
            </a:extLst>
          </p:cNvPr>
          <p:cNvSpPr>
            <a:spLocks noGrp="1"/>
          </p:cNvSpPr>
          <p:nvPr>
            <p:ph type="ftr" sz="quarter" idx="13"/>
          </p:nvPr>
        </p:nvSpPr>
        <p:spPr>
          <a:xfrm>
            <a:off x="304798" y="6553201"/>
            <a:ext cx="3960000" cy="304800"/>
          </a:xfrm>
          <a:prstGeom prst="rect">
            <a:avLst/>
          </a:prstGeom>
        </p:spPr>
        <p:txBody>
          <a:bodyPr/>
          <a:lstStyle>
            <a:lvl1pPr>
              <a:defRPr>
                <a:solidFill>
                  <a:schemeClr val="accent5"/>
                </a:solidFill>
                <a:latin typeface="+mn-lt"/>
                <a:ea typeface="+mn-ea"/>
                <a:cs typeface="+mn-cs"/>
                <a:sym typeface="+mn-lt"/>
              </a:defRPr>
            </a:lvl1pPr>
          </a:lstStyle>
          <a:p>
            <a:r>
              <a:rPr lang="en-US"/>
              <a:t>system.support.fi@thermofisher.com | 31-August-2020</a:t>
            </a:r>
            <a:endParaRPr lang="en-US" dirty="0"/>
          </a:p>
        </p:txBody>
      </p:sp>
      <p:sp>
        <p:nvSpPr>
          <p:cNvPr id="8" name="Text Placeholder 7">
            <a:extLst>
              <a:ext uri="{FF2B5EF4-FFF2-40B4-BE49-F238E27FC236}">
                <a16:creationId xmlns:a16="http://schemas.microsoft.com/office/drawing/2014/main" id="{FE813D60-49DC-CC4E-8912-23F1B67BB019}"/>
              </a:ext>
            </a:extLst>
          </p:cNvPr>
          <p:cNvSpPr>
            <a:spLocks noGrp="1"/>
          </p:cNvSpPr>
          <p:nvPr>
            <p:ph type="body" sz="quarter" idx="14" hasCustomPrompt="1"/>
          </p:nvPr>
        </p:nvSpPr>
        <p:spPr>
          <a:xfrm>
            <a:off x="304797" y="6055756"/>
            <a:ext cx="11582400" cy="489204"/>
          </a:xfrm>
          <a:prstGeom prst="rect">
            <a:avLst/>
          </a:prstGeom>
        </p:spPr>
        <p:txBody>
          <a:bodyPr anchor="b">
            <a:normAutofit/>
          </a:bodyPr>
          <a:lstStyle>
            <a:lvl1pPr marL="0" indent="0">
              <a:spcBef>
                <a:spcPts val="100"/>
              </a:spcBef>
              <a:buNone/>
              <a:defRPr sz="1000">
                <a:solidFill>
                  <a:schemeClr val="accent5"/>
                </a:solidFill>
                <a:latin typeface="+mn-lt"/>
                <a:ea typeface="+mn-ea"/>
                <a:cs typeface="+mn-cs"/>
                <a:sym typeface="+mn-lt"/>
              </a:defRPr>
            </a:lvl1pPr>
          </a:lstStyle>
          <a:p>
            <a:pPr lvl="0"/>
            <a:r>
              <a:rPr lang="en-US" dirty="0"/>
              <a:t>Source notes</a:t>
            </a:r>
          </a:p>
        </p:txBody>
      </p:sp>
      <p:sp>
        <p:nvSpPr>
          <p:cNvPr id="12" name="Content Placeholder 3">
            <a:extLst>
              <a:ext uri="{FF2B5EF4-FFF2-40B4-BE49-F238E27FC236}">
                <a16:creationId xmlns:a16="http://schemas.microsoft.com/office/drawing/2014/main" id="{D38D7C33-9A72-7247-9B25-82BE39794E09}"/>
              </a:ext>
            </a:extLst>
          </p:cNvPr>
          <p:cNvSpPr>
            <a:spLocks noGrp="1"/>
          </p:cNvSpPr>
          <p:nvPr>
            <p:ph sz="quarter" idx="16"/>
          </p:nvPr>
        </p:nvSpPr>
        <p:spPr>
          <a:xfrm>
            <a:off x="304800" y="1447800"/>
            <a:ext cx="5638796" cy="4607954"/>
          </a:xfrm>
          <a:prstGeom prst="rect">
            <a:avLst/>
          </a:prstGeom>
        </p:spPr>
        <p:txBody>
          <a:bodyPr vert="horz" lIns="0" tIns="0" rIns="0" bIns="0" rtlCol="0">
            <a:noAutofit/>
          </a:bodyPr>
          <a:lstStyle>
            <a:lvl1pPr marL="342900" indent="-342900">
              <a:buFont typeface="Arial" panose="020B0604020202020204" pitchFamily="34" charset="0"/>
              <a:buChar char="•"/>
              <a:defRPr lang="en-US" dirty="0" smtClean="0">
                <a:latin typeface="+mn-lt"/>
                <a:ea typeface="+mn-ea"/>
                <a:cs typeface="+mn-cs"/>
                <a:sym typeface="+mn-lt"/>
              </a:defRPr>
            </a:lvl1pPr>
            <a:lvl2pPr>
              <a:defRPr lang="en-US" dirty="0" smtClean="0">
                <a:latin typeface="+mn-lt"/>
                <a:ea typeface="+mn-ea"/>
                <a:cs typeface="+mn-cs"/>
                <a:sym typeface="+mn-lt"/>
              </a:defRPr>
            </a:lvl2pPr>
            <a:lvl3pPr>
              <a:defRPr lang="en-US" dirty="0" smtClean="0">
                <a:latin typeface="+mn-lt"/>
                <a:ea typeface="+mn-ea"/>
                <a:cs typeface="+mn-cs"/>
                <a:sym typeface="+mn-lt"/>
              </a:defRPr>
            </a:lvl3pPr>
            <a:lvl4pPr>
              <a:defRPr lang="en-US" dirty="0" smtClean="0">
                <a:latin typeface="+mn-lt"/>
                <a:ea typeface="+mn-ea"/>
                <a:cs typeface="+mn-cs"/>
                <a:sym typeface="+mn-lt"/>
              </a:defRPr>
            </a:lvl4pPr>
            <a:lvl5pPr>
              <a:defRPr lang="en-US" dirty="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3">
            <a:extLst>
              <a:ext uri="{FF2B5EF4-FFF2-40B4-BE49-F238E27FC236}">
                <a16:creationId xmlns:a16="http://schemas.microsoft.com/office/drawing/2014/main" id="{4109D056-DC1B-0D4A-8CCD-D716570C884F}"/>
              </a:ext>
            </a:extLst>
          </p:cNvPr>
          <p:cNvSpPr>
            <a:spLocks noGrp="1"/>
          </p:cNvSpPr>
          <p:nvPr>
            <p:ph sz="quarter" idx="17"/>
          </p:nvPr>
        </p:nvSpPr>
        <p:spPr>
          <a:xfrm>
            <a:off x="6248398" y="1447800"/>
            <a:ext cx="5638799" cy="4607954"/>
          </a:xfrm>
          <a:prstGeom prst="rect">
            <a:avLst/>
          </a:prstGeom>
        </p:spPr>
        <p:txBody>
          <a:bodyPr vert="horz" lIns="0" tIns="0" rIns="0" bIns="0" rtlCol="0">
            <a:noAutofit/>
          </a:bodyPr>
          <a:lstStyle>
            <a:lvl1pPr>
              <a:defRPr lang="en-US" dirty="0" smtClean="0">
                <a:latin typeface="+mn-lt"/>
                <a:ea typeface="+mn-ea"/>
                <a:cs typeface="+mn-cs"/>
                <a:sym typeface="+mn-lt"/>
              </a:defRPr>
            </a:lvl1pPr>
            <a:lvl2pPr>
              <a:defRPr lang="en-US" dirty="0" smtClean="0">
                <a:latin typeface="+mn-lt"/>
                <a:ea typeface="+mn-ea"/>
                <a:cs typeface="+mn-cs"/>
                <a:sym typeface="+mn-lt"/>
              </a:defRPr>
            </a:lvl2pPr>
            <a:lvl3pPr>
              <a:defRPr lang="en-US" dirty="0" smtClean="0">
                <a:latin typeface="+mn-lt"/>
                <a:ea typeface="+mn-ea"/>
                <a:cs typeface="+mn-cs"/>
                <a:sym typeface="+mn-lt"/>
              </a:defRPr>
            </a:lvl3pPr>
            <a:lvl4pPr>
              <a:defRPr lang="en-US" dirty="0" smtClean="0">
                <a:latin typeface="+mn-lt"/>
                <a:ea typeface="+mn-ea"/>
                <a:cs typeface="+mn-cs"/>
                <a:sym typeface="+mn-lt"/>
              </a:defRPr>
            </a:lvl4pPr>
            <a:lvl5pPr>
              <a:defRPr lang="en-US" dirty="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95884C43-267B-8949-85E3-D9171D3F9D13}"/>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latin typeface="+mn-lt"/>
                <a:ea typeface="+mn-ea"/>
                <a:cs typeface="+mn-cs"/>
                <a:sym typeface="+mn-lt"/>
              </a:defRPr>
            </a:lvl1pPr>
          </a:lstStyle>
          <a:p>
            <a:pPr lvl="0"/>
            <a:r>
              <a:rPr lang="en-US" dirty="0"/>
              <a:t>Click to add </a:t>
            </a:r>
            <a:r>
              <a:rPr lang="en-US" dirty="0" err="1"/>
              <a:t>subheader</a:t>
            </a:r>
            <a:endParaRPr lang="en-US" dirty="0"/>
          </a:p>
        </p:txBody>
      </p:sp>
    </p:spTree>
    <p:extLst>
      <p:ext uri="{BB962C8B-B14F-4D97-AF65-F5344CB8AC3E}">
        <p14:creationId xmlns:p14="http://schemas.microsoft.com/office/powerpoint/2010/main" val="1401040068"/>
      </p:ext>
    </p:extLst>
  </p:cSld>
  <p:clrMapOvr>
    <a:masterClrMapping/>
  </p:clrMapOvr>
  <p:extLst>
    <p:ext uri="{DCECCB84-F9BA-43D5-87BE-67443E8EF086}">
      <p15:sldGuideLst xmlns:p15="http://schemas.microsoft.com/office/powerpoint/2012/main">
        <p15:guide id="1" orient="horz" pos="381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Nagłówek sekcj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odtytuł 2">
            <a:extLst>
              <a:ext uri="{FF2B5EF4-FFF2-40B4-BE49-F238E27FC236}">
                <a16:creationId xmlns:a16="http://schemas.microsoft.com/office/drawing/2014/main" id="{D47229E7-4004-4292-B8E3-B295BBCD3E5B}"/>
              </a:ext>
            </a:extLst>
          </p:cNvPr>
          <p:cNvSpPr>
            <a:spLocks noGrp="1"/>
          </p:cNvSpPr>
          <p:nvPr>
            <p:ph type="subTitle" idx="1"/>
          </p:nvPr>
        </p:nvSpPr>
        <p:spPr>
          <a:xfrm>
            <a:off x="815009" y="4277496"/>
            <a:ext cx="8176591" cy="1569307"/>
          </a:xfrm>
        </p:spPr>
        <p:txBody>
          <a:bodyPr>
            <a:normAutofit/>
          </a:bodyPr>
          <a:lstStyle>
            <a:lvl1pPr marL="0" indent="0" algn="l">
              <a:buNone/>
              <a:defRPr sz="2200" b="0" i="0">
                <a:solidFill>
                  <a:schemeClr val="bg1">
                    <a:lumMod val="95000"/>
                  </a:schemeClr>
                </a:solidFill>
                <a:latin typeface="+mn-lt"/>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l-PL" dirty="0"/>
              <a:t>Kliknij, aby edytować styl wzorca podtytułu</a:t>
            </a:r>
          </a:p>
        </p:txBody>
      </p:sp>
      <p:sp>
        <p:nvSpPr>
          <p:cNvPr id="6" name="Tytuł 1">
            <a:extLst>
              <a:ext uri="{FF2B5EF4-FFF2-40B4-BE49-F238E27FC236}">
                <a16:creationId xmlns:a16="http://schemas.microsoft.com/office/drawing/2014/main" id="{67E431A3-AC27-4ABA-A6C1-3D686E9A93B8}"/>
              </a:ext>
            </a:extLst>
          </p:cNvPr>
          <p:cNvSpPr>
            <a:spLocks noGrp="1"/>
          </p:cNvSpPr>
          <p:nvPr>
            <p:ph type="title" idx="11"/>
          </p:nvPr>
        </p:nvSpPr>
        <p:spPr>
          <a:xfrm>
            <a:off x="815009" y="2286000"/>
            <a:ext cx="8176591" cy="1830853"/>
          </a:xfrm>
          <a:prstGeom prst="rect">
            <a:avLst/>
          </a:prstGeom>
        </p:spPr>
        <p:txBody>
          <a:bodyPr vert="horz" rtlCol="0" anchor="b">
            <a:normAutofit/>
          </a:bodyPr>
          <a:lstStyle>
            <a:lvl1pPr lvl="0" algn="l">
              <a:defRPr lang="en-US" sz="4000" b="1" i="0" dirty="0">
                <a:solidFill>
                  <a:schemeClr val="bg1"/>
                </a:solidFill>
                <a:latin typeface="+mj-lt"/>
              </a:defRPr>
            </a:lvl1pPr>
          </a:lstStyle>
          <a:p>
            <a:r>
              <a:rPr lang="en-US" dirty="0"/>
              <a:t>Kliknij, aby edytować styl</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olumn">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CF5E8E-248F-411F-A0EB-A7E3AC424CC8}"/>
              </a:ext>
            </a:extLst>
          </p:cNvPr>
          <p:cNvGraphicFramePr>
            <a:graphicFrameLocks noChangeAspect="1"/>
          </p:cNvGraphicFramePr>
          <p:nvPr userDrawn="1">
            <p:custDataLst>
              <p:tags r:id="rId1"/>
            </p:custDataLst>
            <p:extLst>
              <p:ext uri="{D42A27DB-BD31-4B8C-83A1-F6EECF244321}">
                <p14:modId xmlns:p14="http://schemas.microsoft.com/office/powerpoint/2010/main" val="4240574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4" name="Object 3" hidden="1">
                        <a:extLst>
                          <a:ext uri="{FF2B5EF4-FFF2-40B4-BE49-F238E27FC236}">
                            <a16:creationId xmlns:a16="http://schemas.microsoft.com/office/drawing/2014/main" id="{16CF5E8E-248F-411F-A0EB-A7E3AC424C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740ECD4-7D20-4491-A140-A7A5756D7D81}"/>
              </a:ext>
            </a:extLst>
          </p:cNvPr>
          <p:cNvSpPr/>
          <p:nvPr userDrawn="1">
            <p:custDataLst>
              <p:tags r:id="rId2"/>
            </p:custDataLst>
          </p:nvPr>
        </p:nvSpPr>
        <p:spPr bwMode="auto">
          <a:xfrm>
            <a:off x="0" y="0"/>
            <a:ext cx="158750" cy="158750"/>
          </a:xfrm>
          <a:prstGeom prst="rect">
            <a:avLst/>
          </a:prstGeom>
          <a:solidFill>
            <a:schemeClr val="tx2"/>
          </a:solidFill>
          <a:ln w="317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ctr" defTabSz="914400" eaLnBrk="0" fontAlgn="base" hangingPunct="0">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lvl1pPr>
              <a:defRPr>
                <a:latin typeface="+mj-lt"/>
                <a:ea typeface="+mj-ea"/>
                <a:cs typeface="+mj-cs"/>
                <a:sym typeface="+mj-lt"/>
              </a:defRPr>
            </a:lvl1pPr>
          </a:lstStyle>
          <a:p>
            <a:r>
              <a:rPr lang="en-US" dirty="0"/>
              <a:t>Click to edit Master title style</a:t>
            </a:r>
          </a:p>
        </p:txBody>
      </p:sp>
      <p:sp>
        <p:nvSpPr>
          <p:cNvPr id="7" name="Slide Number Placeholder 11">
            <a:extLst>
              <a:ext uri="{FF2B5EF4-FFF2-40B4-BE49-F238E27FC236}">
                <a16:creationId xmlns:a16="http://schemas.microsoft.com/office/drawing/2014/main" id="{F81445D8-D3A2-A446-B35B-0A1E9B448962}"/>
              </a:ext>
            </a:extLst>
          </p:cNvPr>
          <p:cNvSpPr>
            <a:spLocks noGrp="1"/>
          </p:cNvSpPr>
          <p:nvPr>
            <p:ph type="sldNum" sz="quarter" idx="10"/>
          </p:nvPr>
        </p:nvSpPr>
        <p:spPr>
          <a:xfrm>
            <a:off x="1" y="6553200"/>
            <a:ext cx="304799" cy="304799"/>
          </a:xfrm>
        </p:spPr>
        <p:txBody>
          <a:bodyPr lIns="0" tIns="0" rIns="0" bIns="0"/>
          <a:lstStyle>
            <a:lvl1pPr>
              <a:defRPr>
                <a:latin typeface="+mn-lt"/>
                <a:ea typeface="+mn-ea"/>
                <a:cs typeface="+mn-cs"/>
                <a:sym typeface="+mn-lt"/>
              </a:defRPr>
            </a:lvl1pPr>
          </a:lstStyle>
          <a:p>
            <a:fld id="{89006F1E-66CD-4A4B-9370-B4A3080F0E6C}" type="slidenum">
              <a:rPr lang="en-US" smtClean="0"/>
              <a:pPr/>
              <a:t>‹#›</a:t>
            </a:fld>
            <a:endParaRPr lang="en-US" dirty="0"/>
          </a:p>
        </p:txBody>
      </p:sp>
      <p:sp>
        <p:nvSpPr>
          <p:cNvPr id="8" name="Footer Placeholder 1">
            <a:extLst>
              <a:ext uri="{FF2B5EF4-FFF2-40B4-BE49-F238E27FC236}">
                <a16:creationId xmlns:a16="http://schemas.microsoft.com/office/drawing/2014/main" id="{31F7B133-5860-D54B-A498-14C05567C68D}"/>
              </a:ext>
            </a:extLst>
          </p:cNvPr>
          <p:cNvSpPr>
            <a:spLocks noGrp="1"/>
          </p:cNvSpPr>
          <p:nvPr>
            <p:ph type="ftr" sz="quarter" idx="14"/>
          </p:nvPr>
        </p:nvSpPr>
        <p:spPr>
          <a:xfrm>
            <a:off x="304798" y="6553201"/>
            <a:ext cx="3960000" cy="304800"/>
          </a:xfrm>
          <a:prstGeom prst="rect">
            <a:avLst/>
          </a:prstGeom>
        </p:spPr>
        <p:txBody>
          <a:bodyPr/>
          <a:lstStyle>
            <a:lvl1pPr>
              <a:defRPr>
                <a:solidFill>
                  <a:schemeClr val="accent5"/>
                </a:solidFill>
                <a:latin typeface="+mn-lt"/>
                <a:ea typeface="+mn-ea"/>
                <a:cs typeface="+mn-cs"/>
                <a:sym typeface="+mn-lt"/>
              </a:defRPr>
            </a:lvl1pPr>
          </a:lstStyle>
          <a:p>
            <a:r>
              <a:rPr lang="en-US"/>
              <a:t>system</a:t>
            </a:r>
            <a:r>
              <a:rPr lang="en-US" dirty="0"/>
              <a:t>.support.fi@thermofisher.com | 31-August-2020</a:t>
            </a:r>
          </a:p>
        </p:txBody>
      </p:sp>
      <p:sp>
        <p:nvSpPr>
          <p:cNvPr id="9" name="Text Placeholder 7">
            <a:extLst>
              <a:ext uri="{FF2B5EF4-FFF2-40B4-BE49-F238E27FC236}">
                <a16:creationId xmlns:a16="http://schemas.microsoft.com/office/drawing/2014/main" id="{7F606DC1-8556-AC4B-B621-1C8A6F92D688}"/>
              </a:ext>
            </a:extLst>
          </p:cNvPr>
          <p:cNvSpPr>
            <a:spLocks noGrp="1"/>
          </p:cNvSpPr>
          <p:nvPr>
            <p:ph type="body" sz="quarter" idx="15" hasCustomPrompt="1"/>
          </p:nvPr>
        </p:nvSpPr>
        <p:spPr>
          <a:xfrm>
            <a:off x="304797" y="6055756"/>
            <a:ext cx="11582400" cy="489204"/>
          </a:xfrm>
          <a:prstGeom prst="rect">
            <a:avLst/>
          </a:prstGeom>
        </p:spPr>
        <p:txBody>
          <a:bodyPr anchor="b">
            <a:normAutofit/>
          </a:bodyPr>
          <a:lstStyle>
            <a:lvl1pPr marL="0" indent="0">
              <a:spcBef>
                <a:spcPts val="100"/>
              </a:spcBef>
              <a:buNone/>
              <a:defRPr sz="1000">
                <a:solidFill>
                  <a:schemeClr val="accent5"/>
                </a:solidFill>
                <a:latin typeface="+mn-lt"/>
                <a:ea typeface="+mn-ea"/>
                <a:cs typeface="+mn-cs"/>
                <a:sym typeface="+mn-lt"/>
              </a:defRPr>
            </a:lvl1pPr>
          </a:lstStyle>
          <a:p>
            <a:pPr lvl="0"/>
            <a:r>
              <a:rPr lang="en-US" dirty="0"/>
              <a:t>Source notes</a:t>
            </a:r>
          </a:p>
        </p:txBody>
      </p:sp>
      <p:sp>
        <p:nvSpPr>
          <p:cNvPr id="17" name="Text Placeholder 7">
            <a:extLst>
              <a:ext uri="{FF2B5EF4-FFF2-40B4-BE49-F238E27FC236}">
                <a16:creationId xmlns:a16="http://schemas.microsoft.com/office/drawing/2014/main" id="{C194A5C4-4D4E-424D-8DC1-C1FCDF1A8FC5}"/>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latin typeface="+mn-lt"/>
                <a:ea typeface="+mn-ea"/>
                <a:cs typeface="+mn-cs"/>
                <a:sym typeface="+mn-lt"/>
              </a:defRPr>
            </a:lvl1pPr>
          </a:lstStyle>
          <a:p>
            <a:pPr lvl="0"/>
            <a:r>
              <a:rPr lang="en-US" dirty="0"/>
              <a:t>Click to add </a:t>
            </a:r>
            <a:r>
              <a:rPr lang="en-US" dirty="0" err="1"/>
              <a:t>subheader</a:t>
            </a:r>
            <a:endParaRPr lang="en-US" dirty="0"/>
          </a:p>
        </p:txBody>
      </p:sp>
      <p:sp>
        <p:nvSpPr>
          <p:cNvPr id="18" name="Content Placeholder 3">
            <a:extLst>
              <a:ext uri="{FF2B5EF4-FFF2-40B4-BE49-F238E27FC236}">
                <a16:creationId xmlns:a16="http://schemas.microsoft.com/office/drawing/2014/main" id="{22065214-DE69-2246-B1F9-8B166D25671B}"/>
              </a:ext>
            </a:extLst>
          </p:cNvPr>
          <p:cNvSpPr>
            <a:spLocks noGrp="1"/>
          </p:cNvSpPr>
          <p:nvPr>
            <p:ph sz="quarter" idx="18"/>
          </p:nvPr>
        </p:nvSpPr>
        <p:spPr>
          <a:xfrm>
            <a:off x="304800" y="1447800"/>
            <a:ext cx="3657600" cy="4607954"/>
          </a:xfrm>
          <a:prstGeom prst="rect">
            <a:avLst/>
          </a:prstGeom>
        </p:spPr>
        <p:txBody>
          <a:bodyPr vert="horz" lIns="0" tIns="0" rIns="0" bIns="0" rtlCol="0">
            <a:noAutofit/>
          </a:bodyPr>
          <a:lstStyle>
            <a:lvl1pPr>
              <a:defRPr lang="en-US" dirty="0" smtClean="0">
                <a:latin typeface="+mn-lt"/>
                <a:ea typeface="+mn-ea"/>
                <a:cs typeface="+mn-cs"/>
                <a:sym typeface="+mn-lt"/>
              </a:defRPr>
            </a:lvl1pPr>
            <a:lvl2pPr>
              <a:defRPr lang="en-US" dirty="0" smtClean="0">
                <a:latin typeface="+mn-lt"/>
                <a:ea typeface="+mn-ea"/>
                <a:cs typeface="+mn-cs"/>
                <a:sym typeface="+mn-lt"/>
              </a:defRPr>
            </a:lvl2pPr>
            <a:lvl3pPr>
              <a:defRPr lang="en-US" dirty="0" smtClean="0">
                <a:latin typeface="+mn-lt"/>
                <a:ea typeface="+mn-ea"/>
                <a:cs typeface="+mn-cs"/>
                <a:sym typeface="+mn-lt"/>
              </a:defRPr>
            </a:lvl3pPr>
            <a:lvl4pPr>
              <a:defRPr lang="en-US" dirty="0" smtClean="0">
                <a:latin typeface="+mn-lt"/>
                <a:ea typeface="+mn-ea"/>
                <a:cs typeface="+mn-cs"/>
                <a:sym typeface="+mn-lt"/>
              </a:defRPr>
            </a:lvl4pPr>
            <a:lvl5pPr>
              <a:defRPr lang="en-US" dirty="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DE333DB3-CD71-1F4D-8ECF-51D4B490DCCC}"/>
              </a:ext>
            </a:extLst>
          </p:cNvPr>
          <p:cNvSpPr>
            <a:spLocks noGrp="1"/>
          </p:cNvSpPr>
          <p:nvPr>
            <p:ph sz="quarter" idx="19"/>
          </p:nvPr>
        </p:nvSpPr>
        <p:spPr>
          <a:xfrm>
            <a:off x="4267201" y="1447800"/>
            <a:ext cx="3657600" cy="4607954"/>
          </a:xfrm>
          <a:prstGeom prst="rect">
            <a:avLst/>
          </a:prstGeom>
        </p:spPr>
        <p:txBody>
          <a:bodyPr vert="horz" lIns="0" tIns="0" rIns="0" bIns="0" rtlCol="0">
            <a:noAutofit/>
          </a:bodyPr>
          <a:lstStyle>
            <a:lvl1pPr>
              <a:defRPr lang="en-US" dirty="0" smtClean="0">
                <a:latin typeface="+mn-lt"/>
                <a:ea typeface="+mn-ea"/>
                <a:cs typeface="+mn-cs"/>
                <a:sym typeface="+mn-lt"/>
              </a:defRPr>
            </a:lvl1pPr>
            <a:lvl2pPr>
              <a:defRPr lang="en-US" dirty="0" smtClean="0">
                <a:latin typeface="+mn-lt"/>
                <a:ea typeface="+mn-ea"/>
                <a:cs typeface="+mn-cs"/>
                <a:sym typeface="+mn-lt"/>
              </a:defRPr>
            </a:lvl2pPr>
            <a:lvl3pPr>
              <a:defRPr lang="en-US" dirty="0" smtClean="0">
                <a:latin typeface="+mn-lt"/>
                <a:ea typeface="+mn-ea"/>
                <a:cs typeface="+mn-cs"/>
                <a:sym typeface="+mn-lt"/>
              </a:defRPr>
            </a:lvl3pPr>
            <a:lvl4pPr>
              <a:defRPr lang="en-US" dirty="0" smtClean="0">
                <a:latin typeface="+mn-lt"/>
                <a:ea typeface="+mn-ea"/>
                <a:cs typeface="+mn-cs"/>
                <a:sym typeface="+mn-lt"/>
              </a:defRPr>
            </a:lvl4pPr>
            <a:lvl5pPr>
              <a:defRPr lang="en-US" dirty="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3">
            <a:extLst>
              <a:ext uri="{FF2B5EF4-FFF2-40B4-BE49-F238E27FC236}">
                <a16:creationId xmlns:a16="http://schemas.microsoft.com/office/drawing/2014/main" id="{8514F710-85FB-F040-B3B5-8573DB7FE6FE}"/>
              </a:ext>
            </a:extLst>
          </p:cNvPr>
          <p:cNvSpPr>
            <a:spLocks noGrp="1"/>
          </p:cNvSpPr>
          <p:nvPr>
            <p:ph sz="quarter" idx="21"/>
          </p:nvPr>
        </p:nvSpPr>
        <p:spPr>
          <a:xfrm>
            <a:off x="8229594" y="1447800"/>
            <a:ext cx="3657603" cy="4607954"/>
          </a:xfrm>
          <a:prstGeom prst="rect">
            <a:avLst/>
          </a:prstGeom>
        </p:spPr>
        <p:txBody>
          <a:bodyPr vert="horz" lIns="0" tIns="0" rIns="0" bIns="0" rtlCol="0">
            <a:noAutofit/>
          </a:bodyPr>
          <a:lstStyle>
            <a:lvl1pPr>
              <a:defRPr lang="en-US" dirty="0" smtClean="0">
                <a:latin typeface="+mn-lt"/>
                <a:ea typeface="+mn-ea"/>
                <a:cs typeface="+mn-cs"/>
                <a:sym typeface="+mn-lt"/>
              </a:defRPr>
            </a:lvl1pPr>
            <a:lvl2pPr>
              <a:defRPr lang="en-US" dirty="0" smtClean="0">
                <a:latin typeface="+mn-lt"/>
                <a:ea typeface="+mn-ea"/>
                <a:cs typeface="+mn-cs"/>
                <a:sym typeface="+mn-lt"/>
              </a:defRPr>
            </a:lvl2pPr>
            <a:lvl3pPr>
              <a:defRPr lang="en-US" dirty="0" smtClean="0">
                <a:latin typeface="+mn-lt"/>
                <a:ea typeface="+mn-ea"/>
                <a:cs typeface="+mn-cs"/>
                <a:sym typeface="+mn-lt"/>
              </a:defRPr>
            </a:lvl3pPr>
            <a:lvl4pPr>
              <a:defRPr lang="en-US" dirty="0" smtClean="0">
                <a:latin typeface="+mn-lt"/>
                <a:ea typeface="+mn-ea"/>
                <a:cs typeface="+mn-cs"/>
                <a:sym typeface="+mn-lt"/>
              </a:defRPr>
            </a:lvl4pPr>
            <a:lvl5pPr>
              <a:defRPr lang="en-US" dirty="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58654657"/>
      </p:ext>
    </p:extLst>
  </p:cSld>
  <p:clrMapOvr>
    <a:masterClrMapping/>
  </p:clrMapOvr>
  <p:extLst>
    <p:ext uri="{DCECCB84-F9BA-43D5-87BE-67443E8EF086}">
      <p15:sldGuideLst xmlns:p15="http://schemas.microsoft.com/office/powerpoint/2012/main">
        <p15:guide id="1" orient="horz" pos="381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column with images">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D08F26B-9234-46CC-97BB-E5EFD3CE3DF0}"/>
              </a:ext>
            </a:extLst>
          </p:cNvPr>
          <p:cNvGraphicFramePr>
            <a:graphicFrameLocks noChangeAspect="1"/>
          </p:cNvGraphicFramePr>
          <p:nvPr userDrawn="1">
            <p:custDataLst>
              <p:tags r:id="rId1"/>
            </p:custDataLst>
            <p:extLst>
              <p:ext uri="{D42A27DB-BD31-4B8C-83A1-F6EECF244321}">
                <p14:modId xmlns:p14="http://schemas.microsoft.com/office/powerpoint/2010/main" val="1832463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5" name="Object 4" hidden="1">
                        <a:extLst>
                          <a:ext uri="{FF2B5EF4-FFF2-40B4-BE49-F238E27FC236}">
                            <a16:creationId xmlns:a16="http://schemas.microsoft.com/office/drawing/2014/main" id="{BD08F26B-9234-46CC-97BB-E5EFD3CE3D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8D93B51-305A-4BE3-9B60-4A61242F1270}"/>
              </a:ext>
            </a:extLst>
          </p:cNvPr>
          <p:cNvSpPr/>
          <p:nvPr userDrawn="1">
            <p:custDataLst>
              <p:tags r:id="rId2"/>
            </p:custDataLst>
          </p:nvPr>
        </p:nvSpPr>
        <p:spPr bwMode="auto">
          <a:xfrm>
            <a:off x="0" y="0"/>
            <a:ext cx="158750" cy="158750"/>
          </a:xfrm>
          <a:prstGeom prst="rect">
            <a:avLst/>
          </a:prstGeom>
          <a:solidFill>
            <a:schemeClr val="tx2"/>
          </a:solidFill>
          <a:ln w="317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ctr" defTabSz="914400" eaLnBrk="0" fontAlgn="base" hangingPunct="0">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lvl1pPr>
              <a:defRPr>
                <a:latin typeface="+mj-lt"/>
                <a:ea typeface="+mj-ea"/>
                <a:cs typeface="+mj-cs"/>
                <a:sym typeface="+mj-lt"/>
              </a:defRPr>
            </a:lvl1pPr>
          </a:lstStyle>
          <a:p>
            <a:r>
              <a:rPr lang="en-US" dirty="0"/>
              <a:t>Click to edit Master title style</a:t>
            </a:r>
          </a:p>
        </p:txBody>
      </p:sp>
      <p:sp>
        <p:nvSpPr>
          <p:cNvPr id="7" name="Slide Number Placeholder 11">
            <a:extLst>
              <a:ext uri="{FF2B5EF4-FFF2-40B4-BE49-F238E27FC236}">
                <a16:creationId xmlns:a16="http://schemas.microsoft.com/office/drawing/2014/main" id="{F81445D8-D3A2-A446-B35B-0A1E9B448962}"/>
              </a:ext>
            </a:extLst>
          </p:cNvPr>
          <p:cNvSpPr>
            <a:spLocks noGrp="1"/>
          </p:cNvSpPr>
          <p:nvPr>
            <p:ph type="sldNum" sz="quarter" idx="10"/>
          </p:nvPr>
        </p:nvSpPr>
        <p:spPr>
          <a:xfrm>
            <a:off x="1" y="6553200"/>
            <a:ext cx="304799" cy="304799"/>
          </a:xfrm>
        </p:spPr>
        <p:txBody>
          <a:bodyPr lIns="0" tIns="0" rIns="0" bIns="0"/>
          <a:lstStyle>
            <a:lvl1pPr>
              <a:defRPr>
                <a:latin typeface="+mn-lt"/>
                <a:ea typeface="+mn-ea"/>
                <a:cs typeface="+mn-cs"/>
                <a:sym typeface="+mn-lt"/>
              </a:defRPr>
            </a:lvl1pPr>
          </a:lstStyle>
          <a:p>
            <a:fld id="{89006F1E-66CD-4A4B-9370-B4A3080F0E6C}" type="slidenum">
              <a:rPr lang="en-US" smtClean="0"/>
              <a:pPr/>
              <a:t>‹#›</a:t>
            </a:fld>
            <a:endParaRPr lang="en-US" dirty="0"/>
          </a:p>
        </p:txBody>
      </p:sp>
      <p:sp>
        <p:nvSpPr>
          <p:cNvPr id="8" name="Footer Placeholder 1">
            <a:extLst>
              <a:ext uri="{FF2B5EF4-FFF2-40B4-BE49-F238E27FC236}">
                <a16:creationId xmlns:a16="http://schemas.microsoft.com/office/drawing/2014/main" id="{31F7B133-5860-D54B-A498-14C05567C68D}"/>
              </a:ext>
            </a:extLst>
          </p:cNvPr>
          <p:cNvSpPr>
            <a:spLocks noGrp="1"/>
          </p:cNvSpPr>
          <p:nvPr>
            <p:ph type="ftr" sz="quarter" idx="14"/>
          </p:nvPr>
        </p:nvSpPr>
        <p:spPr>
          <a:xfrm>
            <a:off x="304798" y="6553201"/>
            <a:ext cx="3960000" cy="304800"/>
          </a:xfrm>
          <a:prstGeom prst="rect">
            <a:avLst/>
          </a:prstGeom>
        </p:spPr>
        <p:txBody>
          <a:bodyPr/>
          <a:lstStyle>
            <a:lvl1pPr>
              <a:defRPr>
                <a:solidFill>
                  <a:schemeClr val="accent5"/>
                </a:solidFill>
                <a:latin typeface="+mn-lt"/>
                <a:ea typeface="+mn-ea"/>
                <a:cs typeface="+mn-cs"/>
                <a:sym typeface="+mn-lt"/>
              </a:defRPr>
            </a:lvl1pPr>
          </a:lstStyle>
          <a:p>
            <a:r>
              <a:rPr lang="en-US"/>
              <a:t>system.support.fi@thermofisher.com | 31-August-2020</a:t>
            </a:r>
            <a:endParaRPr lang="en-US" dirty="0"/>
          </a:p>
        </p:txBody>
      </p:sp>
      <p:sp>
        <p:nvSpPr>
          <p:cNvPr id="9" name="Text Placeholder 7">
            <a:extLst>
              <a:ext uri="{FF2B5EF4-FFF2-40B4-BE49-F238E27FC236}">
                <a16:creationId xmlns:a16="http://schemas.microsoft.com/office/drawing/2014/main" id="{7F606DC1-8556-AC4B-B621-1C8A6F92D688}"/>
              </a:ext>
            </a:extLst>
          </p:cNvPr>
          <p:cNvSpPr>
            <a:spLocks noGrp="1"/>
          </p:cNvSpPr>
          <p:nvPr>
            <p:ph type="body" sz="quarter" idx="15" hasCustomPrompt="1"/>
          </p:nvPr>
        </p:nvSpPr>
        <p:spPr>
          <a:xfrm>
            <a:off x="304797" y="6055756"/>
            <a:ext cx="11591542" cy="489204"/>
          </a:xfrm>
          <a:prstGeom prst="rect">
            <a:avLst/>
          </a:prstGeom>
        </p:spPr>
        <p:txBody>
          <a:bodyPr anchor="b">
            <a:normAutofit/>
          </a:bodyPr>
          <a:lstStyle>
            <a:lvl1pPr marL="0" indent="0">
              <a:spcBef>
                <a:spcPts val="100"/>
              </a:spcBef>
              <a:buNone/>
              <a:defRPr sz="1000">
                <a:solidFill>
                  <a:schemeClr val="accent5"/>
                </a:solidFill>
                <a:latin typeface="+mn-lt"/>
                <a:ea typeface="+mn-ea"/>
                <a:cs typeface="+mn-cs"/>
                <a:sym typeface="+mn-lt"/>
              </a:defRPr>
            </a:lvl1pPr>
          </a:lstStyle>
          <a:p>
            <a:pPr lvl="0"/>
            <a:r>
              <a:rPr lang="en-US" dirty="0"/>
              <a:t>Source notes</a:t>
            </a:r>
          </a:p>
        </p:txBody>
      </p:sp>
      <p:sp>
        <p:nvSpPr>
          <p:cNvPr id="17" name="Text Placeholder 7">
            <a:extLst>
              <a:ext uri="{FF2B5EF4-FFF2-40B4-BE49-F238E27FC236}">
                <a16:creationId xmlns:a16="http://schemas.microsoft.com/office/drawing/2014/main" id="{C194A5C4-4D4E-424D-8DC1-C1FCDF1A8FC5}"/>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latin typeface="+mn-lt"/>
                <a:ea typeface="+mn-ea"/>
                <a:cs typeface="+mn-cs"/>
                <a:sym typeface="+mn-lt"/>
              </a:defRPr>
            </a:lvl1pPr>
          </a:lstStyle>
          <a:p>
            <a:pPr lvl="0"/>
            <a:r>
              <a:rPr lang="en-US" dirty="0"/>
              <a:t>Click to add </a:t>
            </a:r>
            <a:r>
              <a:rPr lang="en-US" dirty="0" err="1"/>
              <a:t>subheader</a:t>
            </a:r>
            <a:endParaRPr lang="en-US" dirty="0"/>
          </a:p>
        </p:txBody>
      </p:sp>
      <p:sp>
        <p:nvSpPr>
          <p:cNvPr id="18" name="Content Placeholder 3">
            <a:extLst>
              <a:ext uri="{FF2B5EF4-FFF2-40B4-BE49-F238E27FC236}">
                <a16:creationId xmlns:a16="http://schemas.microsoft.com/office/drawing/2014/main" id="{22065214-DE69-2246-B1F9-8B166D25671B}"/>
              </a:ext>
            </a:extLst>
          </p:cNvPr>
          <p:cNvSpPr>
            <a:spLocks noGrp="1"/>
          </p:cNvSpPr>
          <p:nvPr>
            <p:ph sz="quarter" idx="18"/>
          </p:nvPr>
        </p:nvSpPr>
        <p:spPr>
          <a:xfrm>
            <a:off x="304800" y="3512047"/>
            <a:ext cx="3657600" cy="2528783"/>
          </a:xfrm>
          <a:prstGeom prst="rect">
            <a:avLst/>
          </a:prstGeom>
        </p:spPr>
        <p:txBody>
          <a:bodyPr vert="horz" lIns="0" tIns="0" rIns="0" bIns="0" rtlCol="0">
            <a:noAutofit/>
          </a:bodyPr>
          <a:lstStyle>
            <a:lvl1pPr>
              <a:defRPr lang="en-US" dirty="0" smtClean="0">
                <a:latin typeface="+mn-lt"/>
                <a:ea typeface="+mn-ea"/>
                <a:cs typeface="+mn-cs"/>
                <a:sym typeface="+mn-lt"/>
              </a:defRPr>
            </a:lvl1pPr>
            <a:lvl2pPr>
              <a:defRPr lang="en-US" dirty="0" smtClean="0">
                <a:latin typeface="+mn-lt"/>
                <a:ea typeface="+mn-ea"/>
                <a:cs typeface="+mn-cs"/>
                <a:sym typeface="+mn-lt"/>
              </a:defRPr>
            </a:lvl2pPr>
            <a:lvl3pPr>
              <a:defRPr lang="en-US" dirty="0" smtClean="0">
                <a:latin typeface="+mn-lt"/>
                <a:ea typeface="+mn-ea"/>
                <a:cs typeface="+mn-cs"/>
                <a:sym typeface="+mn-lt"/>
              </a:defRPr>
            </a:lvl3pPr>
            <a:lvl4pPr>
              <a:defRPr lang="en-US" dirty="0" smtClean="0">
                <a:latin typeface="+mn-lt"/>
                <a:ea typeface="+mn-ea"/>
                <a:cs typeface="+mn-cs"/>
                <a:sym typeface="+mn-lt"/>
              </a:defRPr>
            </a:lvl4pPr>
            <a:lvl5pPr>
              <a:defRPr lang="en-US" dirty="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DE333DB3-CD71-1F4D-8ECF-51D4B490DCCC}"/>
              </a:ext>
            </a:extLst>
          </p:cNvPr>
          <p:cNvSpPr>
            <a:spLocks noGrp="1"/>
          </p:cNvSpPr>
          <p:nvPr>
            <p:ph sz="quarter" idx="19"/>
          </p:nvPr>
        </p:nvSpPr>
        <p:spPr>
          <a:xfrm>
            <a:off x="4267201" y="3512047"/>
            <a:ext cx="3657600" cy="2528783"/>
          </a:xfrm>
          <a:prstGeom prst="rect">
            <a:avLst/>
          </a:prstGeom>
        </p:spPr>
        <p:txBody>
          <a:bodyPr vert="horz" lIns="0" tIns="0" rIns="0" bIns="0" rtlCol="0">
            <a:noAutofit/>
          </a:bodyPr>
          <a:lstStyle>
            <a:lvl1pPr>
              <a:defRPr lang="en-US" dirty="0" smtClean="0">
                <a:latin typeface="+mn-lt"/>
                <a:ea typeface="+mn-ea"/>
                <a:cs typeface="+mn-cs"/>
                <a:sym typeface="+mn-lt"/>
              </a:defRPr>
            </a:lvl1pPr>
            <a:lvl2pPr>
              <a:defRPr lang="en-US" dirty="0" smtClean="0">
                <a:latin typeface="+mn-lt"/>
                <a:ea typeface="+mn-ea"/>
                <a:cs typeface="+mn-cs"/>
                <a:sym typeface="+mn-lt"/>
              </a:defRPr>
            </a:lvl2pPr>
            <a:lvl3pPr>
              <a:defRPr lang="en-US" dirty="0" smtClean="0">
                <a:latin typeface="+mn-lt"/>
                <a:ea typeface="+mn-ea"/>
                <a:cs typeface="+mn-cs"/>
                <a:sym typeface="+mn-lt"/>
              </a:defRPr>
            </a:lvl3pPr>
            <a:lvl4pPr>
              <a:defRPr lang="en-US" dirty="0" smtClean="0">
                <a:latin typeface="+mn-lt"/>
                <a:ea typeface="+mn-ea"/>
                <a:cs typeface="+mn-cs"/>
                <a:sym typeface="+mn-lt"/>
              </a:defRPr>
            </a:lvl4pPr>
            <a:lvl5pPr>
              <a:defRPr lang="en-US" dirty="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3">
            <a:extLst>
              <a:ext uri="{FF2B5EF4-FFF2-40B4-BE49-F238E27FC236}">
                <a16:creationId xmlns:a16="http://schemas.microsoft.com/office/drawing/2014/main" id="{8514F710-85FB-F040-B3B5-8573DB7FE6FE}"/>
              </a:ext>
            </a:extLst>
          </p:cNvPr>
          <p:cNvSpPr>
            <a:spLocks noGrp="1"/>
          </p:cNvSpPr>
          <p:nvPr>
            <p:ph sz="quarter" idx="21"/>
          </p:nvPr>
        </p:nvSpPr>
        <p:spPr>
          <a:xfrm>
            <a:off x="8229594" y="3512047"/>
            <a:ext cx="3657603" cy="2528783"/>
          </a:xfrm>
          <a:prstGeom prst="rect">
            <a:avLst/>
          </a:prstGeom>
        </p:spPr>
        <p:txBody>
          <a:bodyPr vert="horz" lIns="0" tIns="0" rIns="0" bIns="0" rtlCol="0">
            <a:noAutofit/>
          </a:bodyPr>
          <a:lstStyle>
            <a:lvl1pPr>
              <a:defRPr lang="en-US" dirty="0" smtClean="0">
                <a:latin typeface="+mn-lt"/>
                <a:ea typeface="+mn-ea"/>
                <a:cs typeface="+mn-cs"/>
                <a:sym typeface="+mn-lt"/>
              </a:defRPr>
            </a:lvl1pPr>
            <a:lvl2pPr>
              <a:defRPr lang="en-US" dirty="0" smtClean="0">
                <a:latin typeface="+mn-lt"/>
                <a:ea typeface="+mn-ea"/>
                <a:cs typeface="+mn-cs"/>
                <a:sym typeface="+mn-lt"/>
              </a:defRPr>
            </a:lvl2pPr>
            <a:lvl3pPr>
              <a:defRPr lang="en-US" dirty="0" smtClean="0">
                <a:latin typeface="+mn-lt"/>
                <a:ea typeface="+mn-ea"/>
                <a:cs typeface="+mn-cs"/>
                <a:sym typeface="+mn-lt"/>
              </a:defRPr>
            </a:lvl3pPr>
            <a:lvl4pPr>
              <a:defRPr lang="en-US" dirty="0" smtClean="0">
                <a:latin typeface="+mn-lt"/>
                <a:ea typeface="+mn-ea"/>
                <a:cs typeface="+mn-cs"/>
                <a:sym typeface="+mn-lt"/>
              </a:defRPr>
            </a:lvl4pPr>
            <a:lvl5pPr>
              <a:defRPr lang="en-US" dirty="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icture Placeholder 3">
            <a:extLst>
              <a:ext uri="{FF2B5EF4-FFF2-40B4-BE49-F238E27FC236}">
                <a16:creationId xmlns:a16="http://schemas.microsoft.com/office/drawing/2014/main" id="{21A45530-6C50-AD46-A233-590ADD356A0F}"/>
              </a:ext>
            </a:extLst>
          </p:cNvPr>
          <p:cNvSpPr>
            <a:spLocks noGrp="1"/>
          </p:cNvSpPr>
          <p:nvPr>
            <p:ph type="pic" sz="quarter" idx="22" hasCustomPrompt="1"/>
          </p:nvPr>
        </p:nvSpPr>
        <p:spPr>
          <a:xfrm>
            <a:off x="300226" y="1466405"/>
            <a:ext cx="3662174" cy="1947672"/>
          </a:xfrm>
          <a:prstGeom prst="rect">
            <a:avLst/>
          </a:prstGeom>
          <a:pattFill prst="pct5">
            <a:fgClr>
              <a:schemeClr val="bg1"/>
            </a:fgClr>
            <a:bgClr>
              <a:schemeClr val="bg2"/>
            </a:bgClr>
          </a:pattFill>
        </p:spPr>
        <p:txBody>
          <a:bodyPr anchor="ctr"/>
          <a:lstStyle>
            <a:lvl1pPr marL="0" indent="0" algn="ctr">
              <a:buNone/>
              <a:defRPr>
                <a:latin typeface="+mn-lt"/>
                <a:ea typeface="+mn-ea"/>
                <a:cs typeface="+mn-cs"/>
                <a:sym typeface="+mn-lt"/>
              </a:defRPr>
            </a:lvl1pPr>
          </a:lstStyle>
          <a:p>
            <a:r>
              <a:rPr lang="en-US" dirty="0"/>
              <a:t>Add photo</a:t>
            </a:r>
          </a:p>
        </p:txBody>
      </p:sp>
      <p:sp>
        <p:nvSpPr>
          <p:cNvPr id="14" name="Picture Placeholder 3">
            <a:extLst>
              <a:ext uri="{FF2B5EF4-FFF2-40B4-BE49-F238E27FC236}">
                <a16:creationId xmlns:a16="http://schemas.microsoft.com/office/drawing/2014/main" id="{93FDE34D-91F9-6E47-BC02-8A5F8FCC0810}"/>
              </a:ext>
            </a:extLst>
          </p:cNvPr>
          <p:cNvSpPr>
            <a:spLocks noGrp="1"/>
          </p:cNvSpPr>
          <p:nvPr>
            <p:ph type="pic" sz="quarter" idx="23" hasCustomPrompt="1"/>
          </p:nvPr>
        </p:nvSpPr>
        <p:spPr>
          <a:xfrm>
            <a:off x="4262626" y="1459723"/>
            <a:ext cx="3662174" cy="1947672"/>
          </a:xfrm>
          <a:prstGeom prst="rect">
            <a:avLst/>
          </a:prstGeom>
          <a:pattFill prst="pct5">
            <a:fgClr>
              <a:schemeClr val="bg1"/>
            </a:fgClr>
            <a:bgClr>
              <a:schemeClr val="bg2"/>
            </a:bgClr>
          </a:pattFill>
        </p:spPr>
        <p:txBody>
          <a:bodyPr anchor="ctr"/>
          <a:lstStyle>
            <a:lvl1pPr marL="0" indent="0" algn="ctr">
              <a:buNone/>
              <a:defRPr>
                <a:latin typeface="+mn-lt"/>
                <a:ea typeface="+mn-ea"/>
                <a:cs typeface="+mn-cs"/>
                <a:sym typeface="+mn-lt"/>
              </a:defRPr>
            </a:lvl1pPr>
          </a:lstStyle>
          <a:p>
            <a:r>
              <a:rPr lang="en-US" dirty="0"/>
              <a:t>Add photo</a:t>
            </a:r>
          </a:p>
        </p:txBody>
      </p:sp>
      <p:sp>
        <p:nvSpPr>
          <p:cNvPr id="15" name="Picture Placeholder 3">
            <a:extLst>
              <a:ext uri="{FF2B5EF4-FFF2-40B4-BE49-F238E27FC236}">
                <a16:creationId xmlns:a16="http://schemas.microsoft.com/office/drawing/2014/main" id="{918389EF-8958-AA48-B23D-A8082E0D8EAF}"/>
              </a:ext>
            </a:extLst>
          </p:cNvPr>
          <p:cNvSpPr>
            <a:spLocks noGrp="1"/>
          </p:cNvSpPr>
          <p:nvPr>
            <p:ph type="pic" sz="quarter" idx="24" hasCustomPrompt="1"/>
          </p:nvPr>
        </p:nvSpPr>
        <p:spPr>
          <a:xfrm>
            <a:off x="8227308" y="1466404"/>
            <a:ext cx="3662174" cy="1947672"/>
          </a:xfrm>
          <a:prstGeom prst="rect">
            <a:avLst/>
          </a:prstGeom>
          <a:pattFill prst="pct5">
            <a:fgClr>
              <a:schemeClr val="bg1"/>
            </a:fgClr>
            <a:bgClr>
              <a:schemeClr val="bg2"/>
            </a:bgClr>
          </a:pattFill>
        </p:spPr>
        <p:txBody>
          <a:bodyPr anchor="ctr"/>
          <a:lstStyle>
            <a:lvl1pPr marL="0" indent="0" algn="ctr">
              <a:buNone/>
              <a:defRPr>
                <a:latin typeface="+mn-lt"/>
                <a:ea typeface="+mn-ea"/>
                <a:cs typeface="+mn-cs"/>
                <a:sym typeface="+mn-lt"/>
              </a:defRPr>
            </a:lvl1pPr>
          </a:lstStyle>
          <a:p>
            <a:r>
              <a:rPr lang="en-US" dirty="0"/>
              <a:t>Add photo</a:t>
            </a:r>
          </a:p>
        </p:txBody>
      </p:sp>
      <p:grpSp>
        <p:nvGrpSpPr>
          <p:cNvPr id="16" name="Group 15">
            <a:extLst>
              <a:ext uri="{FF2B5EF4-FFF2-40B4-BE49-F238E27FC236}">
                <a16:creationId xmlns:a16="http://schemas.microsoft.com/office/drawing/2014/main" id="{954AA7D1-4A71-E04D-B394-33DE0DAB98E5}"/>
              </a:ext>
            </a:extLst>
          </p:cNvPr>
          <p:cNvGrpSpPr/>
          <p:nvPr userDrawn="1"/>
        </p:nvGrpSpPr>
        <p:grpSpPr>
          <a:xfrm>
            <a:off x="4114800" y="1474646"/>
            <a:ext cx="3968496" cy="4581107"/>
            <a:chOff x="4105421" y="1377388"/>
            <a:chExt cx="3964795" cy="2233914"/>
          </a:xfrm>
        </p:grpSpPr>
        <p:cxnSp>
          <p:nvCxnSpPr>
            <p:cNvPr id="20" name="Straight Connector 19">
              <a:extLst>
                <a:ext uri="{FF2B5EF4-FFF2-40B4-BE49-F238E27FC236}">
                  <a16:creationId xmlns:a16="http://schemas.microsoft.com/office/drawing/2014/main" id="{D653AB18-4CCB-094A-BBCE-63E28B9E9480}"/>
                </a:ext>
              </a:extLst>
            </p:cNvPr>
            <p:cNvCxnSpPr>
              <a:cxnSpLocks/>
            </p:cNvCxnSpPr>
            <p:nvPr/>
          </p:nvCxnSpPr>
          <p:spPr>
            <a:xfrm>
              <a:off x="4105421" y="1377388"/>
              <a:ext cx="0" cy="2233914"/>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629B770-7DAA-DE43-8441-3B367C83F5D4}"/>
                </a:ext>
              </a:extLst>
            </p:cNvPr>
            <p:cNvCxnSpPr>
              <a:cxnSpLocks/>
            </p:cNvCxnSpPr>
            <p:nvPr/>
          </p:nvCxnSpPr>
          <p:spPr>
            <a:xfrm>
              <a:off x="8070216" y="1377388"/>
              <a:ext cx="0" cy="2233914"/>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92660678"/>
      </p:ext>
    </p:extLst>
  </p:cSld>
  <p:clrMapOvr>
    <a:masterClrMapping/>
  </p:clrMapOvr>
  <p:extLst>
    <p:ext uri="{DCECCB84-F9BA-43D5-87BE-67443E8EF086}">
      <p15:sldGuideLst xmlns:p15="http://schemas.microsoft.com/office/powerpoint/2012/main">
        <p15:guide id="1" orient="horz" pos="381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column with full width image">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2E67EB0-222F-4EBA-BBF3-EEAA6C6D95A9}"/>
              </a:ext>
            </a:extLst>
          </p:cNvPr>
          <p:cNvGraphicFramePr>
            <a:graphicFrameLocks noChangeAspect="1"/>
          </p:cNvGraphicFramePr>
          <p:nvPr userDrawn="1">
            <p:custDataLst>
              <p:tags r:id="rId1"/>
            </p:custDataLst>
            <p:extLst>
              <p:ext uri="{D42A27DB-BD31-4B8C-83A1-F6EECF244321}">
                <p14:modId xmlns:p14="http://schemas.microsoft.com/office/powerpoint/2010/main" val="4036244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4" name="Object 3" hidden="1">
                        <a:extLst>
                          <a:ext uri="{FF2B5EF4-FFF2-40B4-BE49-F238E27FC236}">
                            <a16:creationId xmlns:a16="http://schemas.microsoft.com/office/drawing/2014/main" id="{72E67EB0-222F-4EBA-BBF3-EEAA6C6D95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3DB20-198E-4181-A23A-B3F6A4ECAF0B}"/>
              </a:ext>
            </a:extLst>
          </p:cNvPr>
          <p:cNvSpPr/>
          <p:nvPr userDrawn="1">
            <p:custDataLst>
              <p:tags r:id="rId2"/>
            </p:custDataLst>
          </p:nvPr>
        </p:nvSpPr>
        <p:spPr bwMode="auto">
          <a:xfrm>
            <a:off x="0" y="0"/>
            <a:ext cx="158750" cy="158750"/>
          </a:xfrm>
          <a:prstGeom prst="rect">
            <a:avLst/>
          </a:prstGeom>
          <a:solidFill>
            <a:schemeClr val="tx2"/>
          </a:solidFill>
          <a:ln w="317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ctr" defTabSz="914400" eaLnBrk="0" fontAlgn="base" hangingPunct="0">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3" name="Picture Placeholder 2">
            <a:extLst>
              <a:ext uri="{FF2B5EF4-FFF2-40B4-BE49-F238E27FC236}">
                <a16:creationId xmlns:a16="http://schemas.microsoft.com/office/drawing/2014/main" id="{558D3FC8-B671-4D4F-A345-B5E3B9CB827C}"/>
              </a:ext>
            </a:extLst>
          </p:cNvPr>
          <p:cNvSpPr>
            <a:spLocks noGrp="1"/>
          </p:cNvSpPr>
          <p:nvPr>
            <p:ph type="pic" sz="quarter" idx="13" hasCustomPrompt="1"/>
          </p:nvPr>
        </p:nvSpPr>
        <p:spPr>
          <a:xfrm>
            <a:off x="-1" y="4083050"/>
            <a:ext cx="12191999" cy="2774950"/>
          </a:xfrm>
          <a:prstGeom prst="rect">
            <a:avLst/>
          </a:prstGeom>
          <a:pattFill prst="pct5">
            <a:fgClr>
              <a:schemeClr val="bg1"/>
            </a:fgClr>
            <a:bgClr>
              <a:schemeClr val="bg2"/>
            </a:bgClr>
          </a:pattFill>
        </p:spPr>
        <p:txBody>
          <a:bodyPr vert="horz" wrap="square" lIns="0" tIns="0" rIns="0" bIns="0" rtlCol="0" anchor="ctr">
            <a:noAutofit/>
          </a:bodyPr>
          <a:lstStyle>
            <a:lvl1pPr marL="0" marR="0" indent="0" algn="ctr" defTabSz="914400" rtl="0" eaLnBrk="1" fontAlgn="auto" latinLnBrk="0" hangingPunct="1">
              <a:lnSpc>
                <a:spcPct val="120000"/>
              </a:lnSpc>
              <a:spcBef>
                <a:spcPts val="600"/>
              </a:spcBef>
              <a:spcAft>
                <a:spcPts val="0"/>
              </a:spcAft>
              <a:buClrTx/>
              <a:buSzTx/>
              <a:buFontTx/>
              <a:buNone/>
              <a:tabLst/>
              <a:defRPr lang="en-US" sz="1400">
                <a:solidFill>
                  <a:schemeClr val="tx1"/>
                </a:solidFill>
                <a:latin typeface="+mn-lt"/>
                <a:ea typeface="+mn-ea"/>
                <a:cs typeface="+mn-cs"/>
                <a:sym typeface="+mn-lt"/>
              </a:defRPr>
            </a:lvl1pPr>
          </a:lstStyle>
          <a:p>
            <a:pPr marL="411480" marR="0" lvl="0" indent="-411480" algn="ctr" defTabSz="914400" rtl="0" eaLnBrk="1" fontAlgn="auto" latinLnBrk="0" hangingPunct="1">
              <a:lnSpc>
                <a:spcPct val="120000"/>
              </a:lnSpc>
              <a:spcBef>
                <a:spcPts val="600"/>
              </a:spcBef>
              <a:spcAft>
                <a:spcPts val="0"/>
              </a:spcAft>
              <a:buClrTx/>
              <a:buSzTx/>
              <a:buFontTx/>
              <a:buNone/>
              <a:tabLst/>
              <a:defRPr/>
            </a:pPr>
            <a:r>
              <a:rPr lang="en-US" dirty="0"/>
              <a:t>Add photo</a:t>
            </a:r>
          </a:p>
        </p:txBody>
      </p:sp>
      <p:sp>
        <p:nvSpPr>
          <p:cNvPr id="11" name="Title 10">
            <a:extLst>
              <a:ext uri="{FF2B5EF4-FFF2-40B4-BE49-F238E27FC236}">
                <a16:creationId xmlns:a16="http://schemas.microsoft.com/office/drawing/2014/main" id="{06EA3E0F-6952-8B44-89C5-3A7230D81F97}"/>
              </a:ext>
            </a:extLst>
          </p:cNvPr>
          <p:cNvSpPr>
            <a:spLocks noGrp="1"/>
          </p:cNvSpPr>
          <p:nvPr>
            <p:ph type="title"/>
          </p:nvPr>
        </p:nvSpPr>
        <p:spPr/>
        <p:txBody>
          <a:bodyPr/>
          <a:lstStyle>
            <a:lvl1pPr>
              <a:defRPr>
                <a:solidFill>
                  <a:schemeClr val="tx2"/>
                </a:solidFill>
                <a:latin typeface="+mj-lt"/>
                <a:ea typeface="+mj-ea"/>
                <a:cs typeface="+mj-cs"/>
                <a:sym typeface="+mj-lt"/>
              </a:defRPr>
            </a:lvl1pPr>
          </a:lstStyle>
          <a:p>
            <a:r>
              <a:rPr lang="en-US" dirty="0"/>
              <a:t>Click to edit Master title style</a:t>
            </a:r>
          </a:p>
        </p:txBody>
      </p:sp>
      <p:sp>
        <p:nvSpPr>
          <p:cNvPr id="6" name="Slide Number Placeholder 2">
            <a:extLst>
              <a:ext uri="{FF2B5EF4-FFF2-40B4-BE49-F238E27FC236}">
                <a16:creationId xmlns:a16="http://schemas.microsoft.com/office/drawing/2014/main" id="{5DFF6035-90FF-3D47-AC34-F7AD5C37C983}"/>
              </a:ext>
            </a:extLst>
          </p:cNvPr>
          <p:cNvSpPr>
            <a:spLocks noGrp="1"/>
          </p:cNvSpPr>
          <p:nvPr>
            <p:ph type="sldNum" sz="quarter" idx="10"/>
          </p:nvPr>
        </p:nvSpPr>
        <p:spPr>
          <a:xfrm>
            <a:off x="1" y="6553200"/>
            <a:ext cx="304799" cy="304799"/>
          </a:xfrm>
        </p:spPr>
        <p:txBody>
          <a:bodyPr/>
          <a:lstStyle>
            <a:lvl1pPr>
              <a:defRPr>
                <a:solidFill>
                  <a:schemeClr val="bg1"/>
                </a:solidFill>
                <a:latin typeface="+mn-lt"/>
                <a:ea typeface="+mn-ea"/>
                <a:cs typeface="+mn-cs"/>
                <a:sym typeface="+mn-lt"/>
              </a:defRPr>
            </a:lvl1pPr>
          </a:lstStyle>
          <a:p>
            <a:fld id="{89006F1E-66CD-4A4B-9370-B4A3080F0E6C}" type="slidenum">
              <a:rPr lang="en-US" smtClean="0"/>
              <a:pPr/>
              <a:t>‹#›</a:t>
            </a:fld>
            <a:endParaRPr lang="en-US" dirty="0"/>
          </a:p>
        </p:txBody>
      </p:sp>
      <p:sp>
        <p:nvSpPr>
          <p:cNvPr id="7" name="Footer Placeholder 1">
            <a:extLst>
              <a:ext uri="{FF2B5EF4-FFF2-40B4-BE49-F238E27FC236}">
                <a16:creationId xmlns:a16="http://schemas.microsoft.com/office/drawing/2014/main" id="{9089E539-E9D2-AE4B-B72F-91FBD9A90964}"/>
              </a:ext>
            </a:extLst>
          </p:cNvPr>
          <p:cNvSpPr>
            <a:spLocks noGrp="1"/>
          </p:cNvSpPr>
          <p:nvPr>
            <p:ph type="ftr" sz="quarter" idx="14"/>
          </p:nvPr>
        </p:nvSpPr>
        <p:spPr>
          <a:xfrm>
            <a:off x="304798" y="6553201"/>
            <a:ext cx="3960000" cy="304800"/>
          </a:xfrm>
          <a:prstGeom prst="rect">
            <a:avLst/>
          </a:prstGeom>
        </p:spPr>
        <p:txBody>
          <a:bodyPr/>
          <a:lstStyle>
            <a:lvl1pPr>
              <a:defRPr>
                <a:solidFill>
                  <a:schemeClr val="bg1"/>
                </a:solidFill>
                <a:latin typeface="+mn-lt"/>
                <a:ea typeface="+mn-ea"/>
                <a:cs typeface="+mn-cs"/>
                <a:sym typeface="+mn-lt"/>
              </a:defRPr>
            </a:lvl1pPr>
          </a:lstStyle>
          <a:p>
            <a:r>
              <a:rPr lang="en-US"/>
              <a:t>system.support.fi@thermofisher.com | 31-August-2020</a:t>
            </a:r>
            <a:endParaRPr lang="en-US" dirty="0"/>
          </a:p>
        </p:txBody>
      </p:sp>
      <p:sp>
        <p:nvSpPr>
          <p:cNvPr id="8" name="Text Placeholder 7">
            <a:extLst>
              <a:ext uri="{FF2B5EF4-FFF2-40B4-BE49-F238E27FC236}">
                <a16:creationId xmlns:a16="http://schemas.microsoft.com/office/drawing/2014/main" id="{E5AA936C-79E4-0048-8C63-B027C15A3EF6}"/>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latin typeface="+mn-lt"/>
                <a:ea typeface="+mn-ea"/>
                <a:cs typeface="+mn-cs"/>
                <a:sym typeface="+mn-lt"/>
              </a:defRPr>
            </a:lvl1pPr>
          </a:lstStyle>
          <a:p>
            <a:pPr lvl="0"/>
            <a:r>
              <a:rPr lang="en-US" dirty="0"/>
              <a:t>Click to add </a:t>
            </a:r>
            <a:r>
              <a:rPr lang="en-US" dirty="0" err="1"/>
              <a:t>subheader</a:t>
            </a:r>
            <a:endParaRPr lang="en-US" dirty="0"/>
          </a:p>
        </p:txBody>
      </p:sp>
      <p:sp>
        <p:nvSpPr>
          <p:cNvPr id="9" name="Content Placeholder 3">
            <a:extLst>
              <a:ext uri="{FF2B5EF4-FFF2-40B4-BE49-F238E27FC236}">
                <a16:creationId xmlns:a16="http://schemas.microsoft.com/office/drawing/2014/main" id="{EFA71095-3F77-7F45-9E43-E80587323ACE}"/>
              </a:ext>
            </a:extLst>
          </p:cNvPr>
          <p:cNvSpPr>
            <a:spLocks noGrp="1"/>
          </p:cNvSpPr>
          <p:nvPr>
            <p:ph sz="quarter" idx="18"/>
          </p:nvPr>
        </p:nvSpPr>
        <p:spPr>
          <a:xfrm>
            <a:off x="304800" y="1447800"/>
            <a:ext cx="3657600" cy="2334768"/>
          </a:xfrm>
          <a:prstGeom prst="rect">
            <a:avLst/>
          </a:prstGeom>
        </p:spPr>
        <p:txBody>
          <a:bodyPr vert="horz" lIns="0" tIns="0" rIns="0" bIns="0" rtlCol="0">
            <a:noAutofit/>
          </a:bodyPr>
          <a:lstStyle>
            <a:lvl1pPr>
              <a:defRPr lang="en-US" dirty="0" smtClean="0">
                <a:latin typeface="+mn-lt"/>
                <a:ea typeface="+mn-ea"/>
                <a:cs typeface="+mn-cs"/>
                <a:sym typeface="+mn-lt"/>
              </a:defRPr>
            </a:lvl1pPr>
            <a:lvl2pPr>
              <a:defRPr lang="en-US" dirty="0" smtClean="0">
                <a:latin typeface="+mn-lt"/>
                <a:ea typeface="+mn-ea"/>
                <a:cs typeface="+mn-cs"/>
                <a:sym typeface="+mn-lt"/>
              </a:defRPr>
            </a:lvl2pPr>
            <a:lvl3pPr>
              <a:defRPr lang="en-US" dirty="0" smtClean="0">
                <a:latin typeface="+mn-lt"/>
                <a:ea typeface="+mn-ea"/>
                <a:cs typeface="+mn-cs"/>
                <a:sym typeface="+mn-lt"/>
              </a:defRPr>
            </a:lvl3pPr>
            <a:lvl4pPr>
              <a:defRPr lang="en-US" dirty="0" smtClean="0">
                <a:latin typeface="+mn-lt"/>
                <a:ea typeface="+mn-ea"/>
                <a:cs typeface="+mn-cs"/>
                <a:sym typeface="+mn-lt"/>
              </a:defRPr>
            </a:lvl4pPr>
            <a:lvl5pPr>
              <a:defRPr lang="en-US" dirty="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3">
            <a:extLst>
              <a:ext uri="{FF2B5EF4-FFF2-40B4-BE49-F238E27FC236}">
                <a16:creationId xmlns:a16="http://schemas.microsoft.com/office/drawing/2014/main" id="{B8762543-398C-384C-8B6E-8572E8FDC8D3}"/>
              </a:ext>
            </a:extLst>
          </p:cNvPr>
          <p:cNvSpPr>
            <a:spLocks noGrp="1"/>
          </p:cNvSpPr>
          <p:nvPr>
            <p:ph sz="quarter" idx="19"/>
          </p:nvPr>
        </p:nvSpPr>
        <p:spPr>
          <a:xfrm>
            <a:off x="4267201" y="1447800"/>
            <a:ext cx="3657600" cy="2334768"/>
          </a:xfrm>
          <a:prstGeom prst="rect">
            <a:avLst/>
          </a:prstGeom>
        </p:spPr>
        <p:txBody>
          <a:bodyPr vert="horz" lIns="0" tIns="0" rIns="0" bIns="0" rtlCol="0">
            <a:noAutofit/>
          </a:bodyPr>
          <a:lstStyle>
            <a:lvl1pPr>
              <a:defRPr lang="en-US" dirty="0" smtClean="0">
                <a:latin typeface="+mn-lt"/>
                <a:ea typeface="+mn-ea"/>
                <a:cs typeface="+mn-cs"/>
                <a:sym typeface="+mn-lt"/>
              </a:defRPr>
            </a:lvl1pPr>
            <a:lvl2pPr>
              <a:defRPr lang="en-US" dirty="0" smtClean="0">
                <a:latin typeface="+mn-lt"/>
                <a:ea typeface="+mn-ea"/>
                <a:cs typeface="+mn-cs"/>
                <a:sym typeface="+mn-lt"/>
              </a:defRPr>
            </a:lvl2pPr>
            <a:lvl3pPr>
              <a:defRPr lang="en-US" dirty="0" smtClean="0">
                <a:latin typeface="+mn-lt"/>
                <a:ea typeface="+mn-ea"/>
                <a:cs typeface="+mn-cs"/>
                <a:sym typeface="+mn-lt"/>
              </a:defRPr>
            </a:lvl3pPr>
            <a:lvl4pPr>
              <a:defRPr lang="en-US" dirty="0" smtClean="0">
                <a:latin typeface="+mn-lt"/>
                <a:ea typeface="+mn-ea"/>
                <a:cs typeface="+mn-cs"/>
                <a:sym typeface="+mn-lt"/>
              </a:defRPr>
            </a:lvl4pPr>
            <a:lvl5pPr>
              <a:defRPr lang="en-US" dirty="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a:extLst>
              <a:ext uri="{FF2B5EF4-FFF2-40B4-BE49-F238E27FC236}">
                <a16:creationId xmlns:a16="http://schemas.microsoft.com/office/drawing/2014/main" id="{C8CD3A37-ECA5-0F43-995E-663D6AC132E5}"/>
              </a:ext>
            </a:extLst>
          </p:cNvPr>
          <p:cNvSpPr>
            <a:spLocks noGrp="1"/>
          </p:cNvSpPr>
          <p:nvPr>
            <p:ph sz="quarter" idx="21"/>
          </p:nvPr>
        </p:nvSpPr>
        <p:spPr>
          <a:xfrm>
            <a:off x="8229594" y="1447800"/>
            <a:ext cx="3657603" cy="2334768"/>
          </a:xfrm>
          <a:prstGeom prst="rect">
            <a:avLst/>
          </a:prstGeom>
        </p:spPr>
        <p:txBody>
          <a:bodyPr vert="horz" lIns="0" tIns="0" rIns="0" bIns="0" rtlCol="0">
            <a:noAutofit/>
          </a:bodyPr>
          <a:lstStyle>
            <a:lvl1pPr>
              <a:defRPr lang="en-US" dirty="0" smtClean="0">
                <a:latin typeface="+mn-lt"/>
                <a:ea typeface="+mn-ea"/>
                <a:cs typeface="+mn-cs"/>
                <a:sym typeface="+mn-lt"/>
              </a:defRPr>
            </a:lvl1pPr>
            <a:lvl2pPr>
              <a:defRPr lang="en-US" dirty="0" smtClean="0">
                <a:latin typeface="+mn-lt"/>
                <a:ea typeface="+mn-ea"/>
                <a:cs typeface="+mn-cs"/>
                <a:sym typeface="+mn-lt"/>
              </a:defRPr>
            </a:lvl2pPr>
            <a:lvl3pPr>
              <a:defRPr lang="en-US" dirty="0" smtClean="0">
                <a:latin typeface="+mn-lt"/>
                <a:ea typeface="+mn-ea"/>
                <a:cs typeface="+mn-cs"/>
                <a:sym typeface="+mn-lt"/>
              </a:defRPr>
            </a:lvl3pPr>
            <a:lvl4pPr>
              <a:defRPr lang="en-US" dirty="0" smtClean="0">
                <a:latin typeface="+mn-lt"/>
                <a:ea typeface="+mn-ea"/>
                <a:cs typeface="+mn-cs"/>
                <a:sym typeface="+mn-lt"/>
              </a:defRPr>
            </a:lvl4pPr>
            <a:lvl5pPr>
              <a:defRPr lang="en-US" dirty="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97960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divider with photo background">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3F3EE2-5121-4ECD-A82A-ABBA69037790}"/>
              </a:ext>
            </a:extLst>
          </p:cNvPr>
          <p:cNvGraphicFramePr>
            <a:graphicFrameLocks noChangeAspect="1"/>
          </p:cNvGraphicFramePr>
          <p:nvPr userDrawn="1">
            <p:custDataLst>
              <p:tags r:id="rId1"/>
            </p:custDataLst>
            <p:extLst>
              <p:ext uri="{D42A27DB-BD31-4B8C-83A1-F6EECF244321}">
                <p14:modId xmlns:p14="http://schemas.microsoft.com/office/powerpoint/2010/main" val="3844133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 name="Object 1" hidden="1">
                        <a:extLst>
                          <a:ext uri="{FF2B5EF4-FFF2-40B4-BE49-F238E27FC236}">
                            <a16:creationId xmlns:a16="http://schemas.microsoft.com/office/drawing/2014/main" id="{AF3F3EE2-5121-4ECD-A82A-ABBA690377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FFE7B338-1383-7843-9E8D-F295A0DFF59D}"/>
              </a:ext>
            </a:extLst>
          </p:cNvPr>
          <p:cNvSpPr>
            <a:spLocks noGrp="1"/>
          </p:cNvSpPr>
          <p:nvPr>
            <p:ph type="pic" sz="quarter" idx="13" hasCustomPrompt="1"/>
          </p:nvPr>
        </p:nvSpPr>
        <p:spPr>
          <a:xfrm>
            <a:off x="-1" y="0"/>
            <a:ext cx="12191999" cy="6858000"/>
          </a:xfrm>
          <a:custGeom>
            <a:avLst/>
            <a:gdLst>
              <a:gd name="connsiteX0" fmla="*/ 0 w 12191999"/>
              <a:gd name="connsiteY0" fmla="*/ 0 h 6858000"/>
              <a:gd name="connsiteX1" fmla="*/ 10321761 w 12191999"/>
              <a:gd name="connsiteY1" fmla="*/ 0 h 6858000"/>
              <a:gd name="connsiteX2" fmla="*/ 10321761 w 12191999"/>
              <a:gd name="connsiteY2" fmla="*/ 673804 h 6858000"/>
              <a:gd name="connsiteX3" fmla="*/ 11887200 w 12191999"/>
              <a:gd name="connsiteY3" fmla="*/ 673804 h 6858000"/>
              <a:gd name="connsiteX4" fmla="*/ 11887200 w 12191999"/>
              <a:gd name="connsiteY4" fmla="*/ 0 h 6858000"/>
              <a:gd name="connsiteX5" fmla="*/ 12191999 w 12191999"/>
              <a:gd name="connsiteY5" fmla="*/ 0 h 6858000"/>
              <a:gd name="connsiteX6" fmla="*/ 12191999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0" y="0"/>
                </a:moveTo>
                <a:lnTo>
                  <a:pt x="10321761" y="0"/>
                </a:lnTo>
                <a:lnTo>
                  <a:pt x="10321761" y="673804"/>
                </a:lnTo>
                <a:lnTo>
                  <a:pt x="11887200" y="673804"/>
                </a:lnTo>
                <a:lnTo>
                  <a:pt x="11887200" y="0"/>
                </a:lnTo>
                <a:lnTo>
                  <a:pt x="12191999" y="0"/>
                </a:lnTo>
                <a:lnTo>
                  <a:pt x="12191999" y="6858000"/>
                </a:lnTo>
                <a:lnTo>
                  <a:pt x="0" y="6858000"/>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a:solidFill>
                  <a:schemeClr val="tx1"/>
                </a:solidFill>
                <a:latin typeface="+mn-lt"/>
                <a:ea typeface="+mn-ea"/>
                <a:cs typeface="+mn-cs"/>
                <a:sym typeface="+mn-lt"/>
              </a:defRPr>
            </a:lvl1pPr>
          </a:lstStyle>
          <a:p>
            <a:pPr lvl="0" algn="ctr">
              <a:buNone/>
            </a:pPr>
            <a:r>
              <a:rPr lang="en-US" dirty="0"/>
              <a:t>Add photo</a:t>
            </a:r>
          </a:p>
        </p:txBody>
      </p:sp>
      <p:sp>
        <p:nvSpPr>
          <p:cNvPr id="5" name="Slide Number Placeholder 2">
            <a:extLst>
              <a:ext uri="{FF2B5EF4-FFF2-40B4-BE49-F238E27FC236}">
                <a16:creationId xmlns:a16="http://schemas.microsoft.com/office/drawing/2014/main" id="{A634E9F6-D24E-5141-81EF-69349B9658EA}"/>
              </a:ext>
            </a:extLst>
          </p:cNvPr>
          <p:cNvSpPr>
            <a:spLocks noGrp="1"/>
          </p:cNvSpPr>
          <p:nvPr>
            <p:ph type="sldNum" sz="quarter" idx="10"/>
          </p:nvPr>
        </p:nvSpPr>
        <p:spPr>
          <a:xfrm>
            <a:off x="1" y="6553200"/>
            <a:ext cx="304799" cy="304799"/>
          </a:xfrm>
        </p:spPr>
        <p:txBody>
          <a:bodyPr/>
          <a:lstStyle>
            <a:lvl1pPr>
              <a:defRPr>
                <a:solidFill>
                  <a:schemeClr val="bg1"/>
                </a:solidFill>
                <a:latin typeface="+mn-lt"/>
                <a:ea typeface="+mn-ea"/>
                <a:cs typeface="+mn-cs"/>
                <a:sym typeface="+mn-lt"/>
              </a:defRPr>
            </a:lvl1pPr>
          </a:lstStyle>
          <a:p>
            <a:fld id="{89006F1E-66CD-4A4B-9370-B4A3080F0E6C}" type="slidenum">
              <a:rPr lang="en-US" smtClean="0"/>
              <a:pPr/>
              <a:t>‹#›</a:t>
            </a:fld>
            <a:endParaRPr lang="en-US" dirty="0"/>
          </a:p>
        </p:txBody>
      </p:sp>
      <p:sp>
        <p:nvSpPr>
          <p:cNvPr id="6" name="Footer Placeholder 1">
            <a:extLst>
              <a:ext uri="{FF2B5EF4-FFF2-40B4-BE49-F238E27FC236}">
                <a16:creationId xmlns:a16="http://schemas.microsoft.com/office/drawing/2014/main" id="{B41A9DDB-F5FB-5046-B179-F07475B09908}"/>
              </a:ext>
            </a:extLst>
          </p:cNvPr>
          <p:cNvSpPr>
            <a:spLocks noGrp="1"/>
          </p:cNvSpPr>
          <p:nvPr>
            <p:ph type="ftr" sz="quarter" idx="14"/>
          </p:nvPr>
        </p:nvSpPr>
        <p:spPr>
          <a:xfrm>
            <a:off x="304798" y="6553201"/>
            <a:ext cx="3960000" cy="304800"/>
          </a:xfrm>
          <a:prstGeom prst="rect">
            <a:avLst/>
          </a:prstGeom>
        </p:spPr>
        <p:txBody>
          <a:bodyPr/>
          <a:lstStyle>
            <a:lvl1pPr>
              <a:defRPr>
                <a:solidFill>
                  <a:schemeClr val="bg1"/>
                </a:solidFill>
                <a:latin typeface="+mn-lt"/>
                <a:ea typeface="+mn-ea"/>
                <a:cs typeface="+mn-cs"/>
                <a:sym typeface="+mn-lt"/>
              </a:defRPr>
            </a:lvl1pPr>
          </a:lstStyle>
          <a:p>
            <a:r>
              <a:rPr lang="en-US"/>
              <a:t>system.support.fi@thermofisher.com | 31-August-2020</a:t>
            </a:r>
            <a:endParaRPr lang="en-US" dirty="0"/>
          </a:p>
        </p:txBody>
      </p:sp>
      <p:sp>
        <p:nvSpPr>
          <p:cNvPr id="8" name="Content Placeholder 2">
            <a:extLst>
              <a:ext uri="{FF2B5EF4-FFF2-40B4-BE49-F238E27FC236}">
                <a16:creationId xmlns:a16="http://schemas.microsoft.com/office/drawing/2014/main" id="{5DC4D9F1-5E1A-DD4A-946F-32414E026F44}"/>
              </a:ext>
            </a:extLst>
          </p:cNvPr>
          <p:cNvSpPr>
            <a:spLocks noGrp="1"/>
          </p:cNvSpPr>
          <p:nvPr>
            <p:ph sz="quarter" idx="15" hasCustomPrompt="1"/>
          </p:nvPr>
        </p:nvSpPr>
        <p:spPr>
          <a:xfrm>
            <a:off x="0" y="3742192"/>
            <a:ext cx="6096000" cy="1071062"/>
          </a:xfrm>
          <a:solidFill>
            <a:schemeClr val="bg1"/>
          </a:solidFill>
        </p:spPr>
        <p:txBody>
          <a:bodyPr wrap="square" lIns="292608" tIns="201168" rIns="292608" bIns="91440" anchor="b">
            <a:spAutoFit/>
          </a:bodyPr>
          <a:lstStyle>
            <a:lvl1pPr marL="0" indent="0">
              <a:lnSpc>
                <a:spcPct val="90000"/>
              </a:lnSpc>
              <a:buNone/>
              <a:defRPr sz="2800" b="1">
                <a:solidFill>
                  <a:schemeClr val="tx2"/>
                </a:solidFill>
                <a:latin typeface="+mn-lt"/>
                <a:ea typeface="+mn-ea"/>
                <a:cs typeface="+mn-cs"/>
                <a:sym typeface="+mn-lt"/>
              </a:defRPr>
            </a:lvl1pPr>
          </a:lstStyle>
          <a:p>
            <a:pPr lvl="0"/>
            <a:r>
              <a:rPr lang="en-US" dirty="0"/>
              <a:t>Section title with full photo background</a:t>
            </a:r>
          </a:p>
        </p:txBody>
      </p:sp>
      <p:sp>
        <p:nvSpPr>
          <p:cNvPr id="10" name="Content Placeholder 2">
            <a:extLst>
              <a:ext uri="{FF2B5EF4-FFF2-40B4-BE49-F238E27FC236}">
                <a16:creationId xmlns:a16="http://schemas.microsoft.com/office/drawing/2014/main" id="{15406226-911A-D441-8417-8C4961D7AEF2}"/>
              </a:ext>
            </a:extLst>
          </p:cNvPr>
          <p:cNvSpPr>
            <a:spLocks noGrp="1"/>
          </p:cNvSpPr>
          <p:nvPr>
            <p:ph sz="quarter" idx="16" hasCustomPrompt="1"/>
          </p:nvPr>
        </p:nvSpPr>
        <p:spPr>
          <a:xfrm>
            <a:off x="0" y="4813254"/>
            <a:ext cx="6096000" cy="630814"/>
          </a:xfrm>
          <a:solidFill>
            <a:schemeClr val="bg1"/>
          </a:solidFill>
        </p:spPr>
        <p:txBody>
          <a:bodyPr wrap="square" lIns="292608" tIns="91440" rIns="292608" bIns="201168" anchor="t">
            <a:spAutoFit/>
          </a:bodyPr>
          <a:lstStyle>
            <a:lvl1pPr marL="0" marR="0" indent="0" algn="l" defTabSz="914400" rtl="0" eaLnBrk="1" fontAlgn="auto" latinLnBrk="0" hangingPunct="1">
              <a:lnSpc>
                <a:spcPct val="100000"/>
              </a:lnSpc>
              <a:spcBef>
                <a:spcPts val="200"/>
              </a:spcBef>
              <a:spcAft>
                <a:spcPts val="0"/>
              </a:spcAft>
              <a:buClr>
                <a:schemeClr val="tx2"/>
              </a:buClr>
              <a:buSzPct val="100000"/>
              <a:buFont typeface="Arial" panose="020B0604020202020204" pitchFamily="34" charset="0"/>
              <a:buNone/>
              <a:tabLst/>
              <a:defRPr lang="en-US" sz="2000" b="0" kern="1200" dirty="0">
                <a:solidFill>
                  <a:schemeClr val="tx1"/>
                </a:solidFill>
                <a:latin typeface="+mn-lt"/>
                <a:ea typeface="+mn-ea"/>
                <a:cs typeface="+mn-cs"/>
                <a:sym typeface="+mn-lt"/>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dirty="0"/>
              <a:t>Sub title and or description of next section</a:t>
            </a:r>
          </a:p>
        </p:txBody>
      </p:sp>
    </p:spTree>
    <p:extLst>
      <p:ext uri="{BB962C8B-B14F-4D97-AF65-F5344CB8AC3E}">
        <p14:creationId xmlns:p14="http://schemas.microsoft.com/office/powerpoint/2010/main" val="35676715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Red background">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E702B0-FF41-4192-AF5B-B4917CD5FA26}"/>
              </a:ext>
            </a:extLst>
          </p:cNvPr>
          <p:cNvGraphicFramePr>
            <a:graphicFrameLocks noChangeAspect="1"/>
          </p:cNvGraphicFramePr>
          <p:nvPr userDrawn="1">
            <p:custDataLst>
              <p:tags r:id="rId1"/>
            </p:custDataLst>
            <p:extLst>
              <p:ext uri="{D42A27DB-BD31-4B8C-83A1-F6EECF244321}">
                <p14:modId xmlns:p14="http://schemas.microsoft.com/office/powerpoint/2010/main" val="1673873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3" name="Object 2" hidden="1">
                        <a:extLst>
                          <a:ext uri="{FF2B5EF4-FFF2-40B4-BE49-F238E27FC236}">
                            <a16:creationId xmlns:a16="http://schemas.microsoft.com/office/drawing/2014/main" id="{08E702B0-FF41-4192-AF5B-B4917CD5FA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10B3759-6101-47BC-9B36-11270D266073}"/>
              </a:ext>
            </a:extLst>
          </p:cNvPr>
          <p:cNvSpPr/>
          <p:nvPr userDrawn="1">
            <p:custDataLst>
              <p:tags r:id="rId2"/>
            </p:custDataLst>
          </p:nvPr>
        </p:nvSpPr>
        <p:spPr bwMode="auto">
          <a:xfrm>
            <a:off x="0" y="0"/>
            <a:ext cx="158750" cy="158750"/>
          </a:xfrm>
          <a:prstGeom prst="rect">
            <a:avLst/>
          </a:prstGeom>
          <a:solidFill>
            <a:schemeClr val="tx2"/>
          </a:solidFill>
          <a:ln w="317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ctr" defTabSz="914400" eaLnBrk="0" fontAlgn="base" hangingPunct="0">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11" name="Title 10">
            <a:extLst>
              <a:ext uri="{FF2B5EF4-FFF2-40B4-BE49-F238E27FC236}">
                <a16:creationId xmlns:a16="http://schemas.microsoft.com/office/drawing/2014/main" id="{0BD60394-6B49-3F40-ACB2-84420DAC9383}"/>
              </a:ext>
            </a:extLst>
          </p:cNvPr>
          <p:cNvSpPr>
            <a:spLocks noGrp="1"/>
          </p:cNvSpPr>
          <p:nvPr>
            <p:ph type="title"/>
          </p:nvPr>
        </p:nvSpPr>
        <p:spPr/>
        <p:txBody>
          <a:bodyPr/>
          <a:lstStyle>
            <a:lvl1pPr>
              <a:defRPr>
                <a:solidFill>
                  <a:schemeClr val="bg1"/>
                </a:solidFill>
                <a:latin typeface="+mj-lt"/>
                <a:ea typeface="+mj-ea"/>
                <a:cs typeface="+mj-cs"/>
                <a:sym typeface="+mj-lt"/>
              </a:defRPr>
            </a:lvl1pPr>
          </a:lstStyle>
          <a:p>
            <a:r>
              <a:rPr lang="en-US" dirty="0"/>
              <a:t>Click to edit Master title style</a:t>
            </a:r>
          </a:p>
        </p:txBody>
      </p:sp>
      <p:sp>
        <p:nvSpPr>
          <p:cNvPr id="4" name="Slide Number Placeholder 2">
            <a:extLst>
              <a:ext uri="{FF2B5EF4-FFF2-40B4-BE49-F238E27FC236}">
                <a16:creationId xmlns:a16="http://schemas.microsoft.com/office/drawing/2014/main" id="{6D3BC3C2-2A41-544F-A0F8-7CFF39CCFFAC}"/>
              </a:ext>
            </a:extLst>
          </p:cNvPr>
          <p:cNvSpPr>
            <a:spLocks noGrp="1"/>
          </p:cNvSpPr>
          <p:nvPr>
            <p:ph type="sldNum" sz="quarter" idx="10"/>
          </p:nvPr>
        </p:nvSpPr>
        <p:spPr>
          <a:xfrm>
            <a:off x="1" y="6553200"/>
            <a:ext cx="304799" cy="304799"/>
          </a:xfrm>
        </p:spPr>
        <p:txBody>
          <a:bodyPr/>
          <a:lstStyle>
            <a:lvl1pPr>
              <a:defRPr>
                <a:solidFill>
                  <a:schemeClr val="bg1"/>
                </a:solidFill>
                <a:latin typeface="+mn-lt"/>
                <a:ea typeface="+mn-ea"/>
                <a:cs typeface="+mn-cs"/>
                <a:sym typeface="+mn-lt"/>
              </a:defRPr>
            </a:lvl1pPr>
          </a:lstStyle>
          <a:p>
            <a:fld id="{89006F1E-66CD-4A4B-9370-B4A3080F0E6C}" type="slidenum">
              <a:rPr lang="en-US" smtClean="0"/>
              <a:pPr/>
              <a:t>‹#›</a:t>
            </a:fld>
            <a:endParaRPr lang="en-US" dirty="0"/>
          </a:p>
        </p:txBody>
      </p:sp>
      <p:sp>
        <p:nvSpPr>
          <p:cNvPr id="5" name="Footer Placeholder 1">
            <a:extLst>
              <a:ext uri="{FF2B5EF4-FFF2-40B4-BE49-F238E27FC236}">
                <a16:creationId xmlns:a16="http://schemas.microsoft.com/office/drawing/2014/main" id="{9BCE1F3E-3D84-364B-BB1F-921E4AA1B217}"/>
              </a:ext>
            </a:extLst>
          </p:cNvPr>
          <p:cNvSpPr>
            <a:spLocks noGrp="1"/>
          </p:cNvSpPr>
          <p:nvPr>
            <p:ph type="ftr" sz="quarter" idx="14"/>
          </p:nvPr>
        </p:nvSpPr>
        <p:spPr>
          <a:xfrm>
            <a:off x="304798" y="6553201"/>
            <a:ext cx="3960000" cy="304800"/>
          </a:xfrm>
          <a:prstGeom prst="rect">
            <a:avLst/>
          </a:prstGeom>
        </p:spPr>
        <p:txBody>
          <a:bodyPr/>
          <a:lstStyle>
            <a:lvl1pPr>
              <a:defRPr>
                <a:solidFill>
                  <a:schemeClr val="bg1"/>
                </a:solidFill>
                <a:latin typeface="+mn-lt"/>
                <a:ea typeface="+mn-ea"/>
                <a:cs typeface="+mn-cs"/>
                <a:sym typeface="+mn-lt"/>
              </a:defRPr>
            </a:lvl1pPr>
          </a:lstStyle>
          <a:p>
            <a:r>
              <a:rPr lang="en-US"/>
              <a:t>system.support.fi@thermofisher.com | 31-August-2020</a:t>
            </a:r>
            <a:endParaRPr lang="en-US" dirty="0"/>
          </a:p>
        </p:txBody>
      </p:sp>
      <p:sp>
        <p:nvSpPr>
          <p:cNvPr id="6" name="Text Placeholder 7">
            <a:extLst>
              <a:ext uri="{FF2B5EF4-FFF2-40B4-BE49-F238E27FC236}">
                <a16:creationId xmlns:a16="http://schemas.microsoft.com/office/drawing/2014/main" id="{94199484-7909-9044-9003-EFED90CAC053}"/>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bg1"/>
                </a:solidFill>
                <a:latin typeface="+mn-lt"/>
                <a:ea typeface="+mn-ea"/>
                <a:cs typeface="+mn-cs"/>
                <a:sym typeface="+mn-lt"/>
              </a:defRPr>
            </a:lvl1pPr>
          </a:lstStyle>
          <a:p>
            <a:pPr lvl="0"/>
            <a:r>
              <a:rPr lang="en-US" dirty="0"/>
              <a:t>Click to add </a:t>
            </a:r>
            <a:r>
              <a:rPr lang="en-US" dirty="0" err="1"/>
              <a:t>subheader</a:t>
            </a:r>
            <a:endParaRPr lang="en-US" dirty="0"/>
          </a:p>
        </p:txBody>
      </p:sp>
    </p:spTree>
    <p:extLst>
      <p:ext uri="{BB962C8B-B14F-4D97-AF65-F5344CB8AC3E}">
        <p14:creationId xmlns:p14="http://schemas.microsoft.com/office/powerpoint/2010/main" val="34084664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hank you">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D44FD0-5584-422C-8847-8CDDCF739A7D}"/>
              </a:ext>
            </a:extLst>
          </p:cNvPr>
          <p:cNvGraphicFramePr>
            <a:graphicFrameLocks noChangeAspect="1"/>
          </p:cNvGraphicFramePr>
          <p:nvPr userDrawn="1">
            <p:custDataLst>
              <p:tags r:id="rId1"/>
            </p:custDataLst>
            <p:extLst>
              <p:ext uri="{D42A27DB-BD31-4B8C-83A1-F6EECF244321}">
                <p14:modId xmlns:p14="http://schemas.microsoft.com/office/powerpoint/2010/main" val="3762233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3" name="Object 2" hidden="1">
                        <a:extLst>
                          <a:ext uri="{FF2B5EF4-FFF2-40B4-BE49-F238E27FC236}">
                            <a16:creationId xmlns:a16="http://schemas.microsoft.com/office/drawing/2014/main" id="{21D44FD0-5584-422C-8847-8CDDCF739A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C7297DA-0943-4F9D-B4DC-D89E3C56E268}"/>
              </a:ext>
            </a:extLst>
          </p:cNvPr>
          <p:cNvSpPr/>
          <p:nvPr userDrawn="1"/>
        </p:nvSpPr>
        <p:spPr>
          <a:xfrm>
            <a:off x="251012" y="3890360"/>
            <a:ext cx="8912866" cy="1569660"/>
          </a:xfrm>
          <a:prstGeom prst="rect">
            <a:avLst/>
          </a:prstGeom>
        </p:spPr>
        <p:txBody>
          <a:bodyPr wrap="square">
            <a:spAutoFit/>
          </a:bodyPr>
          <a:lstStyle/>
          <a:p>
            <a:r>
              <a:rPr lang="en-US" sz="9600" b="1" dirty="0">
                <a:solidFill>
                  <a:schemeClr val="bg1"/>
                </a:solidFill>
                <a:latin typeface="+mn-lt"/>
                <a:ea typeface="+mn-ea"/>
                <a:cs typeface="+mn-cs"/>
                <a:sym typeface="+mn-lt"/>
              </a:rPr>
              <a:t>Thank you</a:t>
            </a:r>
            <a:endParaRPr lang="en-US" sz="2400" dirty="0">
              <a:solidFill>
                <a:schemeClr val="bg1"/>
              </a:solidFill>
              <a:latin typeface="+mn-lt"/>
              <a:ea typeface="+mn-ea"/>
              <a:cs typeface="+mn-cs"/>
              <a:sym typeface="+mn-lt"/>
            </a:endParaRPr>
          </a:p>
        </p:txBody>
      </p:sp>
      <p:grpSp>
        <p:nvGrpSpPr>
          <p:cNvPr id="9" name="Group 8">
            <a:extLst>
              <a:ext uri="{FF2B5EF4-FFF2-40B4-BE49-F238E27FC236}">
                <a16:creationId xmlns:a16="http://schemas.microsoft.com/office/drawing/2014/main" id="{1B3035E9-1E30-4A65-87BF-D87723B7387D}"/>
              </a:ext>
            </a:extLst>
          </p:cNvPr>
          <p:cNvGrpSpPr/>
          <p:nvPr userDrawn="1"/>
        </p:nvGrpSpPr>
        <p:grpSpPr>
          <a:xfrm>
            <a:off x="9662260" y="818784"/>
            <a:ext cx="2529740" cy="6039216"/>
            <a:chOff x="9662260" y="818784"/>
            <a:chExt cx="2529740" cy="6039216"/>
          </a:xfrm>
        </p:grpSpPr>
        <p:pic>
          <p:nvPicPr>
            <p:cNvPr id="10" name="Picture 9">
              <a:extLst>
                <a:ext uri="{FF2B5EF4-FFF2-40B4-BE49-F238E27FC236}">
                  <a16:creationId xmlns:a16="http://schemas.microsoft.com/office/drawing/2014/main" id="{9DFE8F35-3478-4D36-AE61-9902FA9E571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12" name="Picture 11">
              <a:extLst>
                <a:ext uri="{FF2B5EF4-FFF2-40B4-BE49-F238E27FC236}">
                  <a16:creationId xmlns:a16="http://schemas.microsoft.com/office/drawing/2014/main" id="{A63CB1BA-AEDB-454F-BBF3-A9613807210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13" name="Picture 12">
              <a:extLst>
                <a:ext uri="{FF2B5EF4-FFF2-40B4-BE49-F238E27FC236}">
                  <a16:creationId xmlns:a16="http://schemas.microsoft.com/office/drawing/2014/main" id="{28BB9361-2245-45C7-85B1-98F75F74B97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14" name="Picture 13">
              <a:extLst>
                <a:ext uri="{FF2B5EF4-FFF2-40B4-BE49-F238E27FC236}">
                  <a16:creationId xmlns:a16="http://schemas.microsoft.com/office/drawing/2014/main" id="{266621D9-C1BE-4A88-B2E8-40BCC4E56DF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15" name="Picture 14">
              <a:extLst>
                <a:ext uri="{FF2B5EF4-FFF2-40B4-BE49-F238E27FC236}">
                  <a16:creationId xmlns:a16="http://schemas.microsoft.com/office/drawing/2014/main" id="{98F6AB9F-8570-461E-BBA2-E013A3DA14EF}"/>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16" name="Picture 15">
              <a:extLst>
                <a:ext uri="{FF2B5EF4-FFF2-40B4-BE49-F238E27FC236}">
                  <a16:creationId xmlns:a16="http://schemas.microsoft.com/office/drawing/2014/main" id="{1EE6F465-A690-4861-87C0-E7A6A65E3377}"/>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11037236" y="818784"/>
              <a:ext cx="1154763" cy="1703758"/>
            </a:xfrm>
            <a:prstGeom prst="rect">
              <a:avLst/>
            </a:prstGeom>
          </p:spPr>
        </p:pic>
      </p:grpSp>
      <p:sp>
        <p:nvSpPr>
          <p:cNvPr id="17" name="Slide Number Placeholder 2">
            <a:extLst>
              <a:ext uri="{FF2B5EF4-FFF2-40B4-BE49-F238E27FC236}">
                <a16:creationId xmlns:a16="http://schemas.microsoft.com/office/drawing/2014/main" id="{8EE24E27-68F9-E941-9584-DF35AA5AA788}"/>
              </a:ext>
            </a:extLst>
          </p:cNvPr>
          <p:cNvSpPr>
            <a:spLocks noGrp="1"/>
          </p:cNvSpPr>
          <p:nvPr>
            <p:ph type="sldNum" sz="quarter" idx="10"/>
          </p:nvPr>
        </p:nvSpPr>
        <p:spPr>
          <a:xfrm>
            <a:off x="1" y="6553200"/>
            <a:ext cx="304799" cy="304799"/>
          </a:xfrm>
        </p:spPr>
        <p:txBody>
          <a:bodyPr/>
          <a:lstStyle>
            <a:lvl1pPr>
              <a:defRPr>
                <a:solidFill>
                  <a:schemeClr val="bg1"/>
                </a:solidFill>
                <a:latin typeface="+mn-lt"/>
                <a:ea typeface="+mn-ea"/>
                <a:cs typeface="+mn-cs"/>
                <a:sym typeface="+mn-lt"/>
              </a:defRPr>
            </a:lvl1pPr>
          </a:lstStyle>
          <a:p>
            <a:fld id="{89006F1E-66CD-4A4B-9370-B4A3080F0E6C}" type="slidenum">
              <a:rPr lang="en-US" smtClean="0"/>
              <a:pPr/>
              <a:t>‹#›</a:t>
            </a:fld>
            <a:endParaRPr lang="en-US" dirty="0"/>
          </a:p>
        </p:txBody>
      </p:sp>
      <p:sp>
        <p:nvSpPr>
          <p:cNvPr id="18" name="Footer Placeholder 1">
            <a:extLst>
              <a:ext uri="{FF2B5EF4-FFF2-40B4-BE49-F238E27FC236}">
                <a16:creationId xmlns:a16="http://schemas.microsoft.com/office/drawing/2014/main" id="{6380E455-E213-C44A-A7FC-3A9E06997A4C}"/>
              </a:ext>
            </a:extLst>
          </p:cNvPr>
          <p:cNvSpPr>
            <a:spLocks noGrp="1"/>
          </p:cNvSpPr>
          <p:nvPr>
            <p:ph type="ftr" sz="quarter" idx="14"/>
          </p:nvPr>
        </p:nvSpPr>
        <p:spPr>
          <a:xfrm>
            <a:off x="304798" y="6553201"/>
            <a:ext cx="3960000" cy="304800"/>
          </a:xfrm>
          <a:prstGeom prst="rect">
            <a:avLst/>
          </a:prstGeom>
        </p:spPr>
        <p:txBody>
          <a:bodyPr/>
          <a:lstStyle>
            <a:lvl1pPr>
              <a:defRPr>
                <a:solidFill>
                  <a:schemeClr val="bg1"/>
                </a:solidFill>
                <a:latin typeface="+mn-lt"/>
                <a:ea typeface="+mn-ea"/>
                <a:cs typeface="+mn-cs"/>
                <a:sym typeface="+mn-lt"/>
              </a:defRPr>
            </a:lvl1pPr>
          </a:lstStyle>
          <a:p>
            <a:r>
              <a:rPr lang="en-US"/>
              <a:t>system.support.fi@thermofisher.com | 31-August-2020</a:t>
            </a:r>
            <a:endParaRPr lang="en-US" dirty="0"/>
          </a:p>
        </p:txBody>
      </p:sp>
      <p:sp>
        <p:nvSpPr>
          <p:cNvPr id="20" name="Content Placeholder 4">
            <a:extLst>
              <a:ext uri="{FF2B5EF4-FFF2-40B4-BE49-F238E27FC236}">
                <a16:creationId xmlns:a16="http://schemas.microsoft.com/office/drawing/2014/main" id="{550E2B40-32DB-334B-95D1-E74B9D7847DA}"/>
              </a:ext>
            </a:extLst>
          </p:cNvPr>
          <p:cNvSpPr>
            <a:spLocks noGrp="1"/>
          </p:cNvSpPr>
          <p:nvPr>
            <p:ph sz="quarter" idx="16" hasCustomPrompt="1"/>
          </p:nvPr>
        </p:nvSpPr>
        <p:spPr>
          <a:xfrm>
            <a:off x="348473" y="5268999"/>
            <a:ext cx="7691658" cy="489250"/>
          </a:xfrm>
        </p:spPr>
        <p:txBody>
          <a:bodyPr/>
          <a:lstStyle>
            <a:lvl1pPr marL="0" marR="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solidFill>
                  <a:schemeClr val="bg1"/>
                </a:solidFill>
                <a:latin typeface="+mn-lt"/>
                <a:ea typeface="+mn-ea"/>
                <a:cs typeface="+mn-cs"/>
                <a:sym typeface="+mn-lt"/>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sz="2000" b="0" dirty="0">
                <a:solidFill>
                  <a:schemeClr val="bg1"/>
                </a:solidFill>
              </a:rPr>
              <a:t>Custom message…</a:t>
            </a:r>
            <a:endParaRPr lang="en-US" sz="2000" dirty="0">
              <a:solidFill>
                <a:schemeClr val="bg1"/>
              </a:solidFill>
            </a:endParaRPr>
          </a:p>
        </p:txBody>
      </p:sp>
      <p:sp>
        <p:nvSpPr>
          <p:cNvPr id="6" name="Text Placeholder 5">
            <a:extLst>
              <a:ext uri="{FF2B5EF4-FFF2-40B4-BE49-F238E27FC236}">
                <a16:creationId xmlns:a16="http://schemas.microsoft.com/office/drawing/2014/main" id="{FDF94BF9-AA4B-7348-B3AF-D5B86D50554B}"/>
              </a:ext>
            </a:extLst>
          </p:cNvPr>
          <p:cNvSpPr>
            <a:spLocks noGrp="1"/>
          </p:cNvSpPr>
          <p:nvPr>
            <p:ph type="body" sz="quarter" idx="17" hasCustomPrompt="1"/>
          </p:nvPr>
        </p:nvSpPr>
        <p:spPr>
          <a:xfrm>
            <a:off x="8229600" y="6553200"/>
            <a:ext cx="1609725" cy="304800"/>
          </a:xfrm>
        </p:spPr>
        <p:txBody>
          <a:bodyPr anchor="ctr">
            <a:normAutofit/>
          </a:bodyPr>
          <a:lstStyle>
            <a:lvl1pPr marL="0" indent="0">
              <a:buNone/>
              <a:defRPr sz="800">
                <a:solidFill>
                  <a:schemeClr val="bg1"/>
                </a:solidFill>
                <a:latin typeface="+mn-lt"/>
                <a:ea typeface="+mn-ea"/>
                <a:cs typeface="+mn-cs"/>
                <a:sym typeface="+mn-lt"/>
              </a:defRPr>
            </a:lvl1pPr>
          </a:lstStyle>
          <a:p>
            <a:pPr lvl="0"/>
            <a:r>
              <a:rPr lang="en-US" dirty="0"/>
              <a:t>Copyright 2020</a:t>
            </a:r>
          </a:p>
        </p:txBody>
      </p:sp>
    </p:spTree>
    <p:extLst>
      <p:ext uri="{BB962C8B-B14F-4D97-AF65-F5344CB8AC3E}">
        <p14:creationId xmlns:p14="http://schemas.microsoft.com/office/powerpoint/2010/main" val="2988093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hank you">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099C5E-A717-434F-BA88-7257493148D7}"/>
              </a:ext>
            </a:extLst>
          </p:cNvPr>
          <p:cNvGraphicFramePr>
            <a:graphicFrameLocks noChangeAspect="1"/>
          </p:cNvGraphicFramePr>
          <p:nvPr userDrawn="1">
            <p:custDataLst>
              <p:tags r:id="rId1"/>
            </p:custDataLst>
            <p:extLst>
              <p:ext uri="{D42A27DB-BD31-4B8C-83A1-F6EECF244321}">
                <p14:modId xmlns:p14="http://schemas.microsoft.com/office/powerpoint/2010/main" val="601913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3" name="Object 2" hidden="1">
                        <a:extLst>
                          <a:ext uri="{FF2B5EF4-FFF2-40B4-BE49-F238E27FC236}">
                            <a16:creationId xmlns:a16="http://schemas.microsoft.com/office/drawing/2014/main" id="{FA099C5E-A717-434F-BA88-7257493148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C7297DA-0943-4F9D-B4DC-D89E3C56E268}"/>
              </a:ext>
            </a:extLst>
          </p:cNvPr>
          <p:cNvSpPr/>
          <p:nvPr userDrawn="1"/>
        </p:nvSpPr>
        <p:spPr>
          <a:xfrm>
            <a:off x="251012" y="3890360"/>
            <a:ext cx="8912866" cy="1569660"/>
          </a:xfrm>
          <a:prstGeom prst="rect">
            <a:avLst/>
          </a:prstGeom>
        </p:spPr>
        <p:txBody>
          <a:bodyPr wrap="square">
            <a:spAutoFit/>
          </a:bodyPr>
          <a:lstStyle/>
          <a:p>
            <a:r>
              <a:rPr lang="en-US" sz="9600" b="1" dirty="0">
                <a:solidFill>
                  <a:schemeClr val="bg1"/>
                </a:solidFill>
                <a:latin typeface="+mn-lt"/>
                <a:ea typeface="+mn-ea"/>
                <a:cs typeface="+mn-cs"/>
                <a:sym typeface="+mn-lt"/>
              </a:rPr>
              <a:t>Questions</a:t>
            </a:r>
            <a:endParaRPr lang="en-US" sz="2400" dirty="0">
              <a:solidFill>
                <a:schemeClr val="bg1"/>
              </a:solidFill>
              <a:latin typeface="+mn-lt"/>
              <a:ea typeface="+mn-ea"/>
              <a:cs typeface="+mn-cs"/>
              <a:sym typeface="+mn-lt"/>
            </a:endParaRPr>
          </a:p>
        </p:txBody>
      </p:sp>
      <p:grpSp>
        <p:nvGrpSpPr>
          <p:cNvPr id="9" name="Group 8">
            <a:extLst>
              <a:ext uri="{FF2B5EF4-FFF2-40B4-BE49-F238E27FC236}">
                <a16:creationId xmlns:a16="http://schemas.microsoft.com/office/drawing/2014/main" id="{1B3035E9-1E30-4A65-87BF-D87723B7387D}"/>
              </a:ext>
            </a:extLst>
          </p:cNvPr>
          <p:cNvGrpSpPr/>
          <p:nvPr userDrawn="1"/>
        </p:nvGrpSpPr>
        <p:grpSpPr>
          <a:xfrm>
            <a:off x="9662260" y="818784"/>
            <a:ext cx="2529740" cy="6039216"/>
            <a:chOff x="9662260" y="818784"/>
            <a:chExt cx="2529740" cy="6039216"/>
          </a:xfrm>
        </p:grpSpPr>
        <p:pic>
          <p:nvPicPr>
            <p:cNvPr id="10" name="Picture 9">
              <a:extLst>
                <a:ext uri="{FF2B5EF4-FFF2-40B4-BE49-F238E27FC236}">
                  <a16:creationId xmlns:a16="http://schemas.microsoft.com/office/drawing/2014/main" id="{9DFE8F35-3478-4D36-AE61-9902FA9E571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12" name="Picture 11">
              <a:extLst>
                <a:ext uri="{FF2B5EF4-FFF2-40B4-BE49-F238E27FC236}">
                  <a16:creationId xmlns:a16="http://schemas.microsoft.com/office/drawing/2014/main" id="{A63CB1BA-AEDB-454F-BBF3-A9613807210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13" name="Picture 12">
              <a:extLst>
                <a:ext uri="{FF2B5EF4-FFF2-40B4-BE49-F238E27FC236}">
                  <a16:creationId xmlns:a16="http://schemas.microsoft.com/office/drawing/2014/main" id="{28BB9361-2245-45C7-85B1-98F75F74B97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14" name="Picture 13">
              <a:extLst>
                <a:ext uri="{FF2B5EF4-FFF2-40B4-BE49-F238E27FC236}">
                  <a16:creationId xmlns:a16="http://schemas.microsoft.com/office/drawing/2014/main" id="{266621D9-C1BE-4A88-B2E8-40BCC4E56DF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15" name="Picture 14">
              <a:extLst>
                <a:ext uri="{FF2B5EF4-FFF2-40B4-BE49-F238E27FC236}">
                  <a16:creationId xmlns:a16="http://schemas.microsoft.com/office/drawing/2014/main" id="{98F6AB9F-8570-461E-BBA2-E013A3DA14EF}"/>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16" name="Picture 15">
              <a:extLst>
                <a:ext uri="{FF2B5EF4-FFF2-40B4-BE49-F238E27FC236}">
                  <a16:creationId xmlns:a16="http://schemas.microsoft.com/office/drawing/2014/main" id="{1EE6F465-A690-4861-87C0-E7A6A65E3377}"/>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11037236" y="818784"/>
              <a:ext cx="1154763" cy="1703758"/>
            </a:xfrm>
            <a:prstGeom prst="rect">
              <a:avLst/>
            </a:prstGeom>
          </p:spPr>
        </p:pic>
      </p:grpSp>
      <p:sp>
        <p:nvSpPr>
          <p:cNvPr id="17" name="Slide Number Placeholder 2">
            <a:extLst>
              <a:ext uri="{FF2B5EF4-FFF2-40B4-BE49-F238E27FC236}">
                <a16:creationId xmlns:a16="http://schemas.microsoft.com/office/drawing/2014/main" id="{8EE24E27-68F9-E941-9584-DF35AA5AA788}"/>
              </a:ext>
            </a:extLst>
          </p:cNvPr>
          <p:cNvSpPr>
            <a:spLocks noGrp="1"/>
          </p:cNvSpPr>
          <p:nvPr>
            <p:ph type="sldNum" sz="quarter" idx="10"/>
          </p:nvPr>
        </p:nvSpPr>
        <p:spPr>
          <a:xfrm>
            <a:off x="1" y="6553200"/>
            <a:ext cx="304799" cy="304799"/>
          </a:xfrm>
        </p:spPr>
        <p:txBody>
          <a:bodyPr/>
          <a:lstStyle>
            <a:lvl1pPr>
              <a:defRPr>
                <a:solidFill>
                  <a:schemeClr val="bg1"/>
                </a:solidFill>
                <a:latin typeface="+mn-lt"/>
                <a:ea typeface="+mn-ea"/>
                <a:cs typeface="+mn-cs"/>
                <a:sym typeface="+mn-lt"/>
              </a:defRPr>
            </a:lvl1pPr>
          </a:lstStyle>
          <a:p>
            <a:fld id="{89006F1E-66CD-4A4B-9370-B4A3080F0E6C}" type="slidenum">
              <a:rPr lang="en-US" smtClean="0"/>
              <a:pPr/>
              <a:t>‹#›</a:t>
            </a:fld>
            <a:endParaRPr lang="en-US" dirty="0"/>
          </a:p>
        </p:txBody>
      </p:sp>
      <p:sp>
        <p:nvSpPr>
          <p:cNvPr id="18" name="Footer Placeholder 1">
            <a:extLst>
              <a:ext uri="{FF2B5EF4-FFF2-40B4-BE49-F238E27FC236}">
                <a16:creationId xmlns:a16="http://schemas.microsoft.com/office/drawing/2014/main" id="{6380E455-E213-C44A-A7FC-3A9E06997A4C}"/>
              </a:ext>
            </a:extLst>
          </p:cNvPr>
          <p:cNvSpPr>
            <a:spLocks noGrp="1"/>
          </p:cNvSpPr>
          <p:nvPr>
            <p:ph type="ftr" sz="quarter" idx="14"/>
          </p:nvPr>
        </p:nvSpPr>
        <p:spPr>
          <a:xfrm>
            <a:off x="304798" y="6553201"/>
            <a:ext cx="3960000" cy="304800"/>
          </a:xfrm>
          <a:prstGeom prst="rect">
            <a:avLst/>
          </a:prstGeom>
        </p:spPr>
        <p:txBody>
          <a:bodyPr/>
          <a:lstStyle>
            <a:lvl1pPr>
              <a:defRPr>
                <a:solidFill>
                  <a:schemeClr val="bg1"/>
                </a:solidFill>
                <a:latin typeface="+mn-lt"/>
                <a:ea typeface="+mn-ea"/>
                <a:cs typeface="+mn-cs"/>
                <a:sym typeface="+mn-lt"/>
              </a:defRPr>
            </a:lvl1pPr>
          </a:lstStyle>
          <a:p>
            <a:r>
              <a:rPr lang="en-US"/>
              <a:t>system.support.fi@thermofisher.com | 31-August-2020</a:t>
            </a:r>
            <a:endParaRPr lang="en-US" dirty="0"/>
          </a:p>
        </p:txBody>
      </p:sp>
      <p:sp>
        <p:nvSpPr>
          <p:cNvPr id="20" name="Content Placeholder 4">
            <a:extLst>
              <a:ext uri="{FF2B5EF4-FFF2-40B4-BE49-F238E27FC236}">
                <a16:creationId xmlns:a16="http://schemas.microsoft.com/office/drawing/2014/main" id="{550E2B40-32DB-334B-95D1-E74B9D7847DA}"/>
              </a:ext>
            </a:extLst>
          </p:cNvPr>
          <p:cNvSpPr>
            <a:spLocks noGrp="1"/>
          </p:cNvSpPr>
          <p:nvPr>
            <p:ph sz="quarter" idx="16" hasCustomPrompt="1"/>
          </p:nvPr>
        </p:nvSpPr>
        <p:spPr>
          <a:xfrm>
            <a:off x="348473" y="5268999"/>
            <a:ext cx="7691658" cy="489250"/>
          </a:xfrm>
        </p:spPr>
        <p:txBody>
          <a:bodyPr/>
          <a:lstStyle>
            <a:lvl1pPr marL="0" marR="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solidFill>
                  <a:schemeClr val="bg1"/>
                </a:solidFill>
                <a:latin typeface="+mn-lt"/>
                <a:ea typeface="+mn-ea"/>
                <a:cs typeface="+mn-cs"/>
                <a:sym typeface="+mn-lt"/>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sz="2000" b="0" dirty="0">
                <a:solidFill>
                  <a:schemeClr val="bg1"/>
                </a:solidFill>
              </a:rPr>
              <a:t>Custom message…</a:t>
            </a:r>
            <a:endParaRPr lang="en-US" sz="2000" dirty="0">
              <a:solidFill>
                <a:schemeClr val="bg1"/>
              </a:solidFill>
            </a:endParaRPr>
          </a:p>
        </p:txBody>
      </p:sp>
      <p:sp>
        <p:nvSpPr>
          <p:cNvPr id="6" name="Text Placeholder 5">
            <a:extLst>
              <a:ext uri="{FF2B5EF4-FFF2-40B4-BE49-F238E27FC236}">
                <a16:creationId xmlns:a16="http://schemas.microsoft.com/office/drawing/2014/main" id="{FDF94BF9-AA4B-7348-B3AF-D5B86D50554B}"/>
              </a:ext>
            </a:extLst>
          </p:cNvPr>
          <p:cNvSpPr>
            <a:spLocks noGrp="1"/>
          </p:cNvSpPr>
          <p:nvPr>
            <p:ph type="body" sz="quarter" idx="17" hasCustomPrompt="1"/>
          </p:nvPr>
        </p:nvSpPr>
        <p:spPr>
          <a:xfrm>
            <a:off x="8229600" y="6553200"/>
            <a:ext cx="1609725" cy="304800"/>
          </a:xfrm>
        </p:spPr>
        <p:txBody>
          <a:bodyPr anchor="ctr">
            <a:normAutofit/>
          </a:bodyPr>
          <a:lstStyle>
            <a:lvl1pPr marL="0" indent="0">
              <a:buNone/>
              <a:defRPr sz="800">
                <a:solidFill>
                  <a:schemeClr val="bg1"/>
                </a:solidFill>
                <a:latin typeface="+mn-lt"/>
                <a:ea typeface="+mn-ea"/>
                <a:cs typeface="+mn-cs"/>
                <a:sym typeface="+mn-lt"/>
              </a:defRPr>
            </a:lvl1pPr>
          </a:lstStyle>
          <a:p>
            <a:pPr lvl="0"/>
            <a:r>
              <a:rPr lang="en-US" dirty="0"/>
              <a:t>Copyright 2020</a:t>
            </a:r>
          </a:p>
        </p:txBody>
      </p:sp>
    </p:spTree>
    <p:extLst>
      <p:ext uri="{BB962C8B-B14F-4D97-AF65-F5344CB8AC3E}">
        <p14:creationId xmlns:p14="http://schemas.microsoft.com/office/powerpoint/2010/main" val="626295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5043D83-7F82-403F-8C28-00F5836D4750}"/>
              </a:ext>
            </a:extLst>
          </p:cNvPr>
          <p:cNvGraphicFramePr>
            <a:graphicFrameLocks noChangeAspect="1"/>
          </p:cNvGraphicFramePr>
          <p:nvPr userDrawn="1">
            <p:custDataLst>
              <p:tags r:id="rId1"/>
            </p:custDataLst>
            <p:extLst>
              <p:ext uri="{D42A27DB-BD31-4B8C-83A1-F6EECF244321}">
                <p14:modId xmlns:p14="http://schemas.microsoft.com/office/powerpoint/2010/main" val="2644105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7" name="Object 6" hidden="1">
                        <a:extLst>
                          <a:ext uri="{FF2B5EF4-FFF2-40B4-BE49-F238E27FC236}">
                            <a16:creationId xmlns:a16="http://schemas.microsoft.com/office/drawing/2014/main" id="{A5043D83-7F82-403F-8C28-00F5836D47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3FF9C3AF-0327-415A-8600-8831BDFDA19C}"/>
              </a:ext>
            </a:extLst>
          </p:cNvPr>
          <p:cNvSpPr/>
          <p:nvPr userDrawn="1">
            <p:custDataLst>
              <p:tags r:id="rId2"/>
            </p:custDataLst>
          </p:nvPr>
        </p:nvSpPr>
        <p:spPr bwMode="auto">
          <a:xfrm>
            <a:off x="0" y="0"/>
            <a:ext cx="158750" cy="158750"/>
          </a:xfrm>
          <a:prstGeom prst="rect">
            <a:avLst/>
          </a:prstGeom>
          <a:solidFill>
            <a:schemeClr val="tx2"/>
          </a:solidFill>
          <a:ln w="317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ctr" defTabSz="914400" eaLnBrk="0" fontAlgn="base" hangingPunct="0">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921AF264-71D4-E14C-8B25-6059E389D1EF}"/>
              </a:ext>
            </a:extLst>
          </p:cNvPr>
          <p:cNvSpPr>
            <a:spLocks noGrp="1"/>
          </p:cNvSpPr>
          <p:nvPr>
            <p:ph type="title" hasCustomPrompt="1"/>
          </p:nvPr>
        </p:nvSpPr>
        <p:spPr/>
        <p:txBody>
          <a:bodyPr/>
          <a:lstStyle>
            <a:lvl1pPr>
              <a:defRPr>
                <a:latin typeface="+mj-lt"/>
                <a:ea typeface="+mj-ea"/>
                <a:cs typeface="+mj-cs"/>
                <a:sym typeface="+mj-lt"/>
              </a:defRPr>
            </a:lvl1pPr>
          </a:lstStyle>
          <a:p>
            <a:r>
              <a:rPr lang="en-US" dirty="0"/>
              <a:t>Master slide column guide</a:t>
            </a:r>
          </a:p>
        </p:txBody>
      </p:sp>
      <p:grpSp>
        <p:nvGrpSpPr>
          <p:cNvPr id="325" name="Group 324">
            <a:extLst>
              <a:ext uri="{FF2B5EF4-FFF2-40B4-BE49-F238E27FC236}">
                <a16:creationId xmlns:a16="http://schemas.microsoft.com/office/drawing/2014/main" id="{0E576022-6E0B-8B45-82A4-5B378EE79A21}"/>
              </a:ext>
            </a:extLst>
          </p:cNvPr>
          <p:cNvGrpSpPr/>
          <p:nvPr userDrawn="1"/>
        </p:nvGrpSpPr>
        <p:grpSpPr>
          <a:xfrm>
            <a:off x="0" y="5297033"/>
            <a:ext cx="12192000" cy="304801"/>
            <a:chOff x="0" y="4254505"/>
            <a:chExt cx="12192000" cy="304801"/>
          </a:xfrm>
        </p:grpSpPr>
        <p:grpSp>
          <p:nvGrpSpPr>
            <p:cNvPr id="326" name="Group 325">
              <a:extLst>
                <a:ext uri="{FF2B5EF4-FFF2-40B4-BE49-F238E27FC236}">
                  <a16:creationId xmlns:a16="http://schemas.microsoft.com/office/drawing/2014/main" id="{4DAA919D-F34E-FF43-A568-E3081ADC91D8}"/>
                </a:ext>
              </a:extLst>
            </p:cNvPr>
            <p:cNvGrpSpPr/>
            <p:nvPr userDrawn="1"/>
          </p:nvGrpSpPr>
          <p:grpSpPr>
            <a:xfrm>
              <a:off x="152400" y="4254505"/>
              <a:ext cx="11887200" cy="304801"/>
              <a:chOff x="325695" y="4038600"/>
              <a:chExt cx="7555116" cy="304801"/>
            </a:xfrm>
          </p:grpSpPr>
          <p:sp>
            <p:nvSpPr>
              <p:cNvPr id="347" name="Rectangle 346">
                <a:extLst>
                  <a:ext uri="{FF2B5EF4-FFF2-40B4-BE49-F238E27FC236}">
                    <a16:creationId xmlns:a16="http://schemas.microsoft.com/office/drawing/2014/main" id="{2A515182-556A-4148-919D-DA6C41B2B82A}"/>
                  </a:ext>
                </a:extLst>
              </p:cNvPr>
              <p:cNvSpPr/>
              <p:nvPr userDrawn="1"/>
            </p:nvSpPr>
            <p:spPr>
              <a:xfrm>
                <a:off x="325695" y="4038601"/>
                <a:ext cx="2518372"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48" name="Rectangle 347">
                <a:extLst>
                  <a:ext uri="{FF2B5EF4-FFF2-40B4-BE49-F238E27FC236}">
                    <a16:creationId xmlns:a16="http://schemas.microsoft.com/office/drawing/2014/main" id="{2D5D4001-8E66-144D-92CA-7D645E8843C3}"/>
                  </a:ext>
                </a:extLst>
              </p:cNvPr>
              <p:cNvSpPr/>
              <p:nvPr userDrawn="1"/>
            </p:nvSpPr>
            <p:spPr>
              <a:xfrm>
                <a:off x="2844067" y="4038600"/>
                <a:ext cx="2518372"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49" name="Rectangle 348">
                <a:extLst>
                  <a:ext uri="{FF2B5EF4-FFF2-40B4-BE49-F238E27FC236}">
                    <a16:creationId xmlns:a16="http://schemas.microsoft.com/office/drawing/2014/main" id="{1F915BF6-6801-F445-8447-829313D55DE1}"/>
                  </a:ext>
                </a:extLst>
              </p:cNvPr>
              <p:cNvSpPr/>
              <p:nvPr userDrawn="1"/>
            </p:nvSpPr>
            <p:spPr>
              <a:xfrm>
                <a:off x="5362439" y="4038600"/>
                <a:ext cx="2518372"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327" name="Group 326">
              <a:extLst>
                <a:ext uri="{FF2B5EF4-FFF2-40B4-BE49-F238E27FC236}">
                  <a16:creationId xmlns:a16="http://schemas.microsoft.com/office/drawing/2014/main" id="{924C16AD-FBFC-F340-B828-919BD2EB7ACC}"/>
                </a:ext>
              </a:extLst>
            </p:cNvPr>
            <p:cNvGrpSpPr/>
            <p:nvPr userDrawn="1"/>
          </p:nvGrpSpPr>
          <p:grpSpPr>
            <a:xfrm>
              <a:off x="0" y="4254505"/>
              <a:ext cx="304800" cy="304800"/>
              <a:chOff x="4748283" y="3386554"/>
              <a:chExt cx="548640" cy="548640"/>
            </a:xfrm>
          </p:grpSpPr>
          <p:sp>
            <p:nvSpPr>
              <p:cNvPr id="343" name="Rectangle 342">
                <a:extLst>
                  <a:ext uri="{FF2B5EF4-FFF2-40B4-BE49-F238E27FC236}">
                    <a16:creationId xmlns:a16="http://schemas.microsoft.com/office/drawing/2014/main" id="{ABBD8C40-0074-E640-A619-5210E92593E7}"/>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44" name="Rectangle 343">
                <a:extLst>
                  <a:ext uri="{FF2B5EF4-FFF2-40B4-BE49-F238E27FC236}">
                    <a16:creationId xmlns:a16="http://schemas.microsoft.com/office/drawing/2014/main" id="{72E87A34-33CB-954D-BE63-B41FB54B8CE2}"/>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45" name="Rectangle 344">
                <a:extLst>
                  <a:ext uri="{FF2B5EF4-FFF2-40B4-BE49-F238E27FC236}">
                    <a16:creationId xmlns:a16="http://schemas.microsoft.com/office/drawing/2014/main" id="{8FE6B9C8-9996-154E-8F03-D9A578C3FA11}"/>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46" name="Rectangle 345">
                <a:extLst>
                  <a:ext uri="{FF2B5EF4-FFF2-40B4-BE49-F238E27FC236}">
                    <a16:creationId xmlns:a16="http://schemas.microsoft.com/office/drawing/2014/main" id="{88B4C5A1-0216-EE40-A0A9-1EFEB8C937C0}"/>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328" name="Group 327">
              <a:extLst>
                <a:ext uri="{FF2B5EF4-FFF2-40B4-BE49-F238E27FC236}">
                  <a16:creationId xmlns:a16="http://schemas.microsoft.com/office/drawing/2014/main" id="{5691AEF5-BAF9-2940-A428-476354829BBB}"/>
                </a:ext>
              </a:extLst>
            </p:cNvPr>
            <p:cNvGrpSpPr/>
            <p:nvPr userDrawn="1"/>
          </p:nvGrpSpPr>
          <p:grpSpPr>
            <a:xfrm>
              <a:off x="11887200" y="4254505"/>
              <a:ext cx="304800" cy="304800"/>
              <a:chOff x="11887200" y="3048000"/>
              <a:chExt cx="304800" cy="304800"/>
            </a:xfrm>
          </p:grpSpPr>
          <p:sp>
            <p:nvSpPr>
              <p:cNvPr id="339" name="Rectangle 338">
                <a:extLst>
                  <a:ext uri="{FF2B5EF4-FFF2-40B4-BE49-F238E27FC236}">
                    <a16:creationId xmlns:a16="http://schemas.microsoft.com/office/drawing/2014/main" id="{B7FCFCF0-CCF5-CB4C-A24B-79879CFEAB60}"/>
                  </a:ext>
                </a:extLst>
              </p:cNvPr>
              <p:cNvSpPr/>
              <p:nvPr userDrawn="1"/>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40" name="Rectangle 339">
                <a:extLst>
                  <a:ext uri="{FF2B5EF4-FFF2-40B4-BE49-F238E27FC236}">
                    <a16:creationId xmlns:a16="http://schemas.microsoft.com/office/drawing/2014/main" id="{5EC303BA-EB59-6B45-A4AA-0FBB43856C1D}"/>
                  </a:ext>
                </a:extLst>
              </p:cNvPr>
              <p:cNvSpPr/>
              <p:nvPr userDrawn="1"/>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41" name="Rectangle 340">
                <a:extLst>
                  <a:ext uri="{FF2B5EF4-FFF2-40B4-BE49-F238E27FC236}">
                    <a16:creationId xmlns:a16="http://schemas.microsoft.com/office/drawing/2014/main" id="{609F1807-73B8-2046-A52B-7F5C9E3F8D6C}"/>
                  </a:ext>
                </a:extLst>
              </p:cNvPr>
              <p:cNvSpPr/>
              <p:nvPr userDrawn="1"/>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42" name="Rectangle 341">
                <a:extLst>
                  <a:ext uri="{FF2B5EF4-FFF2-40B4-BE49-F238E27FC236}">
                    <a16:creationId xmlns:a16="http://schemas.microsoft.com/office/drawing/2014/main" id="{D64A44CB-312C-8D43-BADC-9C25A65786B7}"/>
                  </a:ext>
                </a:extLst>
              </p:cNvPr>
              <p:cNvSpPr/>
              <p:nvPr userDrawn="1"/>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329" name="Group 328">
              <a:extLst>
                <a:ext uri="{FF2B5EF4-FFF2-40B4-BE49-F238E27FC236}">
                  <a16:creationId xmlns:a16="http://schemas.microsoft.com/office/drawing/2014/main" id="{75DD42A7-110A-8A43-9999-FC5F6F629D9D}"/>
                </a:ext>
              </a:extLst>
            </p:cNvPr>
            <p:cNvGrpSpPr/>
            <p:nvPr userDrawn="1"/>
          </p:nvGrpSpPr>
          <p:grpSpPr>
            <a:xfrm>
              <a:off x="3963513" y="4254505"/>
              <a:ext cx="304800" cy="304800"/>
              <a:chOff x="4748283" y="3386554"/>
              <a:chExt cx="548640" cy="548640"/>
            </a:xfrm>
          </p:grpSpPr>
          <p:sp>
            <p:nvSpPr>
              <p:cNvPr id="335" name="Rectangle 334">
                <a:extLst>
                  <a:ext uri="{FF2B5EF4-FFF2-40B4-BE49-F238E27FC236}">
                    <a16:creationId xmlns:a16="http://schemas.microsoft.com/office/drawing/2014/main" id="{C2398D84-85F4-C846-A0B4-FDF603CF7ED5}"/>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36" name="Rectangle 335">
                <a:extLst>
                  <a:ext uri="{FF2B5EF4-FFF2-40B4-BE49-F238E27FC236}">
                    <a16:creationId xmlns:a16="http://schemas.microsoft.com/office/drawing/2014/main" id="{D89F6546-9921-1C4E-BC58-54CFEB3CD55B}"/>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37" name="Rectangle 336">
                <a:extLst>
                  <a:ext uri="{FF2B5EF4-FFF2-40B4-BE49-F238E27FC236}">
                    <a16:creationId xmlns:a16="http://schemas.microsoft.com/office/drawing/2014/main" id="{707F94D7-D94A-9341-9171-18F4E7328C50}"/>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38" name="Rectangle 337">
                <a:extLst>
                  <a:ext uri="{FF2B5EF4-FFF2-40B4-BE49-F238E27FC236}">
                    <a16:creationId xmlns:a16="http://schemas.microsoft.com/office/drawing/2014/main" id="{66B27AC9-65B0-4F45-B844-7C3544A7BA55}"/>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330" name="Group 329">
              <a:extLst>
                <a:ext uri="{FF2B5EF4-FFF2-40B4-BE49-F238E27FC236}">
                  <a16:creationId xmlns:a16="http://schemas.microsoft.com/office/drawing/2014/main" id="{FA980631-C869-934C-B0D5-27911A2317B3}"/>
                </a:ext>
              </a:extLst>
            </p:cNvPr>
            <p:cNvGrpSpPr/>
            <p:nvPr userDrawn="1"/>
          </p:nvGrpSpPr>
          <p:grpSpPr>
            <a:xfrm>
              <a:off x="7929263" y="4254505"/>
              <a:ext cx="304800" cy="304800"/>
              <a:chOff x="4748283" y="3386554"/>
              <a:chExt cx="548640" cy="548640"/>
            </a:xfrm>
          </p:grpSpPr>
          <p:sp>
            <p:nvSpPr>
              <p:cNvPr id="331" name="Rectangle 330">
                <a:extLst>
                  <a:ext uri="{FF2B5EF4-FFF2-40B4-BE49-F238E27FC236}">
                    <a16:creationId xmlns:a16="http://schemas.microsoft.com/office/drawing/2014/main" id="{406CDF3A-4352-B447-B53D-478B3765F657}"/>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32" name="Rectangle 331">
                <a:extLst>
                  <a:ext uri="{FF2B5EF4-FFF2-40B4-BE49-F238E27FC236}">
                    <a16:creationId xmlns:a16="http://schemas.microsoft.com/office/drawing/2014/main" id="{7D0AEF00-0DAE-8A4C-9382-FCE02F7929B8}"/>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33" name="Rectangle 332">
                <a:extLst>
                  <a:ext uri="{FF2B5EF4-FFF2-40B4-BE49-F238E27FC236}">
                    <a16:creationId xmlns:a16="http://schemas.microsoft.com/office/drawing/2014/main" id="{208533B0-3964-7F44-8026-7A9BA18798F4}"/>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34" name="Rectangle 333">
                <a:extLst>
                  <a:ext uri="{FF2B5EF4-FFF2-40B4-BE49-F238E27FC236}">
                    <a16:creationId xmlns:a16="http://schemas.microsoft.com/office/drawing/2014/main" id="{79B47363-1A18-3F4B-B904-4529B699E14B}"/>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grpSp>
        <p:nvGrpSpPr>
          <p:cNvPr id="350" name="Group 349">
            <a:extLst>
              <a:ext uri="{FF2B5EF4-FFF2-40B4-BE49-F238E27FC236}">
                <a16:creationId xmlns:a16="http://schemas.microsoft.com/office/drawing/2014/main" id="{550F5060-BDEE-9744-B34D-FB646DB2A2C9}"/>
              </a:ext>
            </a:extLst>
          </p:cNvPr>
          <p:cNvGrpSpPr/>
          <p:nvPr userDrawn="1"/>
        </p:nvGrpSpPr>
        <p:grpSpPr>
          <a:xfrm>
            <a:off x="0" y="4655678"/>
            <a:ext cx="12192000" cy="304801"/>
            <a:chOff x="0" y="3448053"/>
            <a:chExt cx="12192000" cy="304801"/>
          </a:xfrm>
        </p:grpSpPr>
        <p:grpSp>
          <p:nvGrpSpPr>
            <p:cNvPr id="351" name="Group 350">
              <a:extLst>
                <a:ext uri="{FF2B5EF4-FFF2-40B4-BE49-F238E27FC236}">
                  <a16:creationId xmlns:a16="http://schemas.microsoft.com/office/drawing/2014/main" id="{FF358C1B-964E-5C4E-B16C-3E18CE9CC942}"/>
                </a:ext>
              </a:extLst>
            </p:cNvPr>
            <p:cNvGrpSpPr/>
            <p:nvPr userDrawn="1"/>
          </p:nvGrpSpPr>
          <p:grpSpPr>
            <a:xfrm>
              <a:off x="152400" y="3448053"/>
              <a:ext cx="11887200" cy="304801"/>
              <a:chOff x="152400" y="4256566"/>
              <a:chExt cx="9591040" cy="304801"/>
            </a:xfrm>
          </p:grpSpPr>
          <p:sp>
            <p:nvSpPr>
              <p:cNvPr id="377" name="Rectangle 376">
                <a:extLst>
                  <a:ext uri="{FF2B5EF4-FFF2-40B4-BE49-F238E27FC236}">
                    <a16:creationId xmlns:a16="http://schemas.microsoft.com/office/drawing/2014/main" id="{409746C0-0633-8440-B5CF-DE04D82AFA84}"/>
                  </a:ext>
                </a:extLst>
              </p:cNvPr>
              <p:cNvSpPr/>
              <p:nvPr userDrawn="1"/>
            </p:nvSpPr>
            <p:spPr>
              <a:xfrm>
                <a:off x="152400" y="4256567"/>
                <a:ext cx="239776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78" name="Rectangle 377">
                <a:extLst>
                  <a:ext uri="{FF2B5EF4-FFF2-40B4-BE49-F238E27FC236}">
                    <a16:creationId xmlns:a16="http://schemas.microsoft.com/office/drawing/2014/main" id="{EB4B500C-F4AE-FC44-9061-B7345B89902B}"/>
                  </a:ext>
                </a:extLst>
              </p:cNvPr>
              <p:cNvSpPr/>
              <p:nvPr userDrawn="1"/>
            </p:nvSpPr>
            <p:spPr>
              <a:xfrm>
                <a:off x="2550160" y="4256566"/>
                <a:ext cx="239776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79" name="Rectangle 378">
                <a:extLst>
                  <a:ext uri="{FF2B5EF4-FFF2-40B4-BE49-F238E27FC236}">
                    <a16:creationId xmlns:a16="http://schemas.microsoft.com/office/drawing/2014/main" id="{0BF1E544-C1F3-ED4B-81EF-A461690F54E8}"/>
                  </a:ext>
                </a:extLst>
              </p:cNvPr>
              <p:cNvSpPr/>
              <p:nvPr userDrawn="1"/>
            </p:nvSpPr>
            <p:spPr>
              <a:xfrm>
                <a:off x="4947920" y="4256566"/>
                <a:ext cx="239776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80" name="Rectangle 379">
                <a:extLst>
                  <a:ext uri="{FF2B5EF4-FFF2-40B4-BE49-F238E27FC236}">
                    <a16:creationId xmlns:a16="http://schemas.microsoft.com/office/drawing/2014/main" id="{12BC584E-CCB4-E54D-B49E-9B06C53D232C}"/>
                  </a:ext>
                </a:extLst>
              </p:cNvPr>
              <p:cNvSpPr/>
              <p:nvPr userDrawn="1"/>
            </p:nvSpPr>
            <p:spPr>
              <a:xfrm>
                <a:off x="7345680" y="4256566"/>
                <a:ext cx="239776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352" name="Group 351">
              <a:extLst>
                <a:ext uri="{FF2B5EF4-FFF2-40B4-BE49-F238E27FC236}">
                  <a16:creationId xmlns:a16="http://schemas.microsoft.com/office/drawing/2014/main" id="{556235CC-2B49-304B-9713-0FD3E8F93696}"/>
                </a:ext>
              </a:extLst>
            </p:cNvPr>
            <p:cNvGrpSpPr/>
            <p:nvPr userDrawn="1"/>
          </p:nvGrpSpPr>
          <p:grpSpPr>
            <a:xfrm>
              <a:off x="0" y="3448053"/>
              <a:ext cx="304800" cy="304800"/>
              <a:chOff x="4748283" y="3386554"/>
              <a:chExt cx="548640" cy="548640"/>
            </a:xfrm>
          </p:grpSpPr>
          <p:sp>
            <p:nvSpPr>
              <p:cNvPr id="373" name="Rectangle 372">
                <a:extLst>
                  <a:ext uri="{FF2B5EF4-FFF2-40B4-BE49-F238E27FC236}">
                    <a16:creationId xmlns:a16="http://schemas.microsoft.com/office/drawing/2014/main" id="{D7097BE8-35D2-2746-887D-B177FD2F8D1B}"/>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74" name="Rectangle 373">
                <a:extLst>
                  <a:ext uri="{FF2B5EF4-FFF2-40B4-BE49-F238E27FC236}">
                    <a16:creationId xmlns:a16="http://schemas.microsoft.com/office/drawing/2014/main" id="{2ECE0126-EDDD-DD44-B0D0-CD7391099683}"/>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75" name="Rectangle 374">
                <a:extLst>
                  <a:ext uri="{FF2B5EF4-FFF2-40B4-BE49-F238E27FC236}">
                    <a16:creationId xmlns:a16="http://schemas.microsoft.com/office/drawing/2014/main" id="{CFBA5FA6-DEB5-9E4A-BBE4-396D213C732E}"/>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76" name="Rectangle 375">
                <a:extLst>
                  <a:ext uri="{FF2B5EF4-FFF2-40B4-BE49-F238E27FC236}">
                    <a16:creationId xmlns:a16="http://schemas.microsoft.com/office/drawing/2014/main" id="{43C3D7A8-8484-C149-879F-B9EAF5420993}"/>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353" name="Group 352">
              <a:extLst>
                <a:ext uri="{FF2B5EF4-FFF2-40B4-BE49-F238E27FC236}">
                  <a16:creationId xmlns:a16="http://schemas.microsoft.com/office/drawing/2014/main" id="{C69CF5F1-8CF6-A04A-8284-4F2839B94399}"/>
                </a:ext>
              </a:extLst>
            </p:cNvPr>
            <p:cNvGrpSpPr/>
            <p:nvPr userDrawn="1"/>
          </p:nvGrpSpPr>
          <p:grpSpPr>
            <a:xfrm>
              <a:off x="11887200" y="3448053"/>
              <a:ext cx="304800" cy="304800"/>
              <a:chOff x="11887200" y="3048000"/>
              <a:chExt cx="304800" cy="304800"/>
            </a:xfrm>
          </p:grpSpPr>
          <p:sp>
            <p:nvSpPr>
              <p:cNvPr id="369" name="Rectangle 368">
                <a:extLst>
                  <a:ext uri="{FF2B5EF4-FFF2-40B4-BE49-F238E27FC236}">
                    <a16:creationId xmlns:a16="http://schemas.microsoft.com/office/drawing/2014/main" id="{6DC74F9F-DF17-7A42-A69E-A3A4318BA705}"/>
                  </a:ext>
                </a:extLst>
              </p:cNvPr>
              <p:cNvSpPr/>
              <p:nvPr userDrawn="1"/>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70" name="Rectangle 369">
                <a:extLst>
                  <a:ext uri="{FF2B5EF4-FFF2-40B4-BE49-F238E27FC236}">
                    <a16:creationId xmlns:a16="http://schemas.microsoft.com/office/drawing/2014/main" id="{F82F6DBD-1B92-8F44-9ABE-BF11BA0EB50F}"/>
                  </a:ext>
                </a:extLst>
              </p:cNvPr>
              <p:cNvSpPr/>
              <p:nvPr userDrawn="1"/>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71" name="Rectangle 370">
                <a:extLst>
                  <a:ext uri="{FF2B5EF4-FFF2-40B4-BE49-F238E27FC236}">
                    <a16:creationId xmlns:a16="http://schemas.microsoft.com/office/drawing/2014/main" id="{36B84BE6-D1D3-2C4D-B113-FACC434F3138}"/>
                  </a:ext>
                </a:extLst>
              </p:cNvPr>
              <p:cNvSpPr/>
              <p:nvPr userDrawn="1"/>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72" name="Rectangle 371">
                <a:extLst>
                  <a:ext uri="{FF2B5EF4-FFF2-40B4-BE49-F238E27FC236}">
                    <a16:creationId xmlns:a16="http://schemas.microsoft.com/office/drawing/2014/main" id="{53707E28-EBC1-EE47-9A87-B7F889B0A9B9}"/>
                  </a:ext>
                </a:extLst>
              </p:cNvPr>
              <p:cNvSpPr/>
              <p:nvPr userDrawn="1"/>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354" name="Group 353">
              <a:extLst>
                <a:ext uri="{FF2B5EF4-FFF2-40B4-BE49-F238E27FC236}">
                  <a16:creationId xmlns:a16="http://schemas.microsoft.com/office/drawing/2014/main" id="{4FFE9B33-5860-1342-85F8-8499FD08D92D}"/>
                </a:ext>
              </a:extLst>
            </p:cNvPr>
            <p:cNvGrpSpPr/>
            <p:nvPr userDrawn="1"/>
          </p:nvGrpSpPr>
          <p:grpSpPr>
            <a:xfrm>
              <a:off x="2971800" y="3448053"/>
              <a:ext cx="304800" cy="304800"/>
              <a:chOff x="4748283" y="3386554"/>
              <a:chExt cx="548640" cy="548640"/>
            </a:xfrm>
          </p:grpSpPr>
          <p:sp>
            <p:nvSpPr>
              <p:cNvPr id="365" name="Rectangle 364">
                <a:extLst>
                  <a:ext uri="{FF2B5EF4-FFF2-40B4-BE49-F238E27FC236}">
                    <a16:creationId xmlns:a16="http://schemas.microsoft.com/office/drawing/2014/main" id="{0E96C0E4-9DDD-7B46-A150-FE31B0B3406F}"/>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66" name="Rectangle 365">
                <a:extLst>
                  <a:ext uri="{FF2B5EF4-FFF2-40B4-BE49-F238E27FC236}">
                    <a16:creationId xmlns:a16="http://schemas.microsoft.com/office/drawing/2014/main" id="{FFBE2D8A-C941-2D4C-A620-16C6BCEED752}"/>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67" name="Rectangle 366">
                <a:extLst>
                  <a:ext uri="{FF2B5EF4-FFF2-40B4-BE49-F238E27FC236}">
                    <a16:creationId xmlns:a16="http://schemas.microsoft.com/office/drawing/2014/main" id="{437C5ADA-D5C6-AA49-ABFC-C2BDB1A73DE2}"/>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68" name="Rectangle 367">
                <a:extLst>
                  <a:ext uri="{FF2B5EF4-FFF2-40B4-BE49-F238E27FC236}">
                    <a16:creationId xmlns:a16="http://schemas.microsoft.com/office/drawing/2014/main" id="{D5B3DA22-0555-D94D-B9CE-EFFD4D77A953}"/>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355" name="Group 354">
              <a:extLst>
                <a:ext uri="{FF2B5EF4-FFF2-40B4-BE49-F238E27FC236}">
                  <a16:creationId xmlns:a16="http://schemas.microsoft.com/office/drawing/2014/main" id="{0C1BF9D2-EC42-454D-9CE6-55A6E4DD7744}"/>
                </a:ext>
              </a:extLst>
            </p:cNvPr>
            <p:cNvGrpSpPr/>
            <p:nvPr userDrawn="1"/>
          </p:nvGrpSpPr>
          <p:grpSpPr>
            <a:xfrm>
              <a:off x="5943600" y="3448053"/>
              <a:ext cx="304800" cy="304800"/>
              <a:chOff x="4748283" y="3386554"/>
              <a:chExt cx="548640" cy="548640"/>
            </a:xfrm>
          </p:grpSpPr>
          <p:sp>
            <p:nvSpPr>
              <p:cNvPr id="361" name="Rectangle 360">
                <a:extLst>
                  <a:ext uri="{FF2B5EF4-FFF2-40B4-BE49-F238E27FC236}">
                    <a16:creationId xmlns:a16="http://schemas.microsoft.com/office/drawing/2014/main" id="{78D1B59D-87FF-2A4C-B245-29B4226A9601}"/>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62" name="Rectangle 361">
                <a:extLst>
                  <a:ext uri="{FF2B5EF4-FFF2-40B4-BE49-F238E27FC236}">
                    <a16:creationId xmlns:a16="http://schemas.microsoft.com/office/drawing/2014/main" id="{3DB64E46-B4A5-AE4F-B9CA-78D961D93013}"/>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63" name="Rectangle 362">
                <a:extLst>
                  <a:ext uri="{FF2B5EF4-FFF2-40B4-BE49-F238E27FC236}">
                    <a16:creationId xmlns:a16="http://schemas.microsoft.com/office/drawing/2014/main" id="{C230667B-5C71-2A4F-89CA-83AE9C87943F}"/>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64" name="Rectangle 363">
                <a:extLst>
                  <a:ext uri="{FF2B5EF4-FFF2-40B4-BE49-F238E27FC236}">
                    <a16:creationId xmlns:a16="http://schemas.microsoft.com/office/drawing/2014/main" id="{DA630AA0-3D34-5C48-AFB4-76E97A625B7B}"/>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356" name="Group 355">
              <a:extLst>
                <a:ext uri="{FF2B5EF4-FFF2-40B4-BE49-F238E27FC236}">
                  <a16:creationId xmlns:a16="http://schemas.microsoft.com/office/drawing/2014/main" id="{BFD5BADB-488A-A94F-8D20-EFBC3D598444}"/>
                </a:ext>
              </a:extLst>
            </p:cNvPr>
            <p:cNvGrpSpPr/>
            <p:nvPr userDrawn="1"/>
          </p:nvGrpSpPr>
          <p:grpSpPr>
            <a:xfrm>
              <a:off x="8915400" y="3448053"/>
              <a:ext cx="304800" cy="304800"/>
              <a:chOff x="4748283" y="3386554"/>
              <a:chExt cx="548640" cy="548640"/>
            </a:xfrm>
          </p:grpSpPr>
          <p:sp>
            <p:nvSpPr>
              <p:cNvPr id="357" name="Rectangle 356">
                <a:extLst>
                  <a:ext uri="{FF2B5EF4-FFF2-40B4-BE49-F238E27FC236}">
                    <a16:creationId xmlns:a16="http://schemas.microsoft.com/office/drawing/2014/main" id="{59B34A33-4617-B14B-A914-D9F3EA82C41F}"/>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58" name="Rectangle 357">
                <a:extLst>
                  <a:ext uri="{FF2B5EF4-FFF2-40B4-BE49-F238E27FC236}">
                    <a16:creationId xmlns:a16="http://schemas.microsoft.com/office/drawing/2014/main" id="{CDABBDD7-97EF-2348-9DD6-8F03290DFE79}"/>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59" name="Rectangle 358">
                <a:extLst>
                  <a:ext uri="{FF2B5EF4-FFF2-40B4-BE49-F238E27FC236}">
                    <a16:creationId xmlns:a16="http://schemas.microsoft.com/office/drawing/2014/main" id="{8FC44D92-36F7-5649-A759-0323F393CD43}"/>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60" name="Rectangle 359">
                <a:extLst>
                  <a:ext uri="{FF2B5EF4-FFF2-40B4-BE49-F238E27FC236}">
                    <a16:creationId xmlns:a16="http://schemas.microsoft.com/office/drawing/2014/main" id="{F91DAB7A-F766-F74E-ABBF-E2FB7A3CF921}"/>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grpSp>
        <p:nvGrpSpPr>
          <p:cNvPr id="381" name="Group 380">
            <a:extLst>
              <a:ext uri="{FF2B5EF4-FFF2-40B4-BE49-F238E27FC236}">
                <a16:creationId xmlns:a16="http://schemas.microsoft.com/office/drawing/2014/main" id="{E8110913-9069-DA4C-AA5A-860C663EEF8C}"/>
              </a:ext>
            </a:extLst>
          </p:cNvPr>
          <p:cNvGrpSpPr/>
          <p:nvPr userDrawn="1"/>
        </p:nvGrpSpPr>
        <p:grpSpPr>
          <a:xfrm>
            <a:off x="0" y="4019093"/>
            <a:ext cx="12192000" cy="304801"/>
            <a:chOff x="0" y="2679694"/>
            <a:chExt cx="12192000" cy="304801"/>
          </a:xfrm>
        </p:grpSpPr>
        <p:grpSp>
          <p:nvGrpSpPr>
            <p:cNvPr id="382" name="Group 381">
              <a:extLst>
                <a:ext uri="{FF2B5EF4-FFF2-40B4-BE49-F238E27FC236}">
                  <a16:creationId xmlns:a16="http://schemas.microsoft.com/office/drawing/2014/main" id="{36951F49-5417-EB45-B0D4-BA551A17CAB3}"/>
                </a:ext>
              </a:extLst>
            </p:cNvPr>
            <p:cNvGrpSpPr/>
            <p:nvPr userDrawn="1"/>
          </p:nvGrpSpPr>
          <p:grpSpPr>
            <a:xfrm>
              <a:off x="152400" y="2679694"/>
              <a:ext cx="11887200" cy="304801"/>
              <a:chOff x="152400" y="2946388"/>
              <a:chExt cx="14859000" cy="304801"/>
            </a:xfrm>
          </p:grpSpPr>
          <p:sp>
            <p:nvSpPr>
              <p:cNvPr id="413" name="Rectangle 412">
                <a:extLst>
                  <a:ext uri="{FF2B5EF4-FFF2-40B4-BE49-F238E27FC236}">
                    <a16:creationId xmlns:a16="http://schemas.microsoft.com/office/drawing/2014/main" id="{3C0DCD00-016C-8249-9E41-079096AFB3A6}"/>
                  </a:ext>
                </a:extLst>
              </p:cNvPr>
              <p:cNvSpPr/>
              <p:nvPr userDrawn="1"/>
            </p:nvSpPr>
            <p:spPr>
              <a:xfrm>
                <a:off x="152400" y="2946389"/>
                <a:ext cx="297180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14" name="Rectangle 413">
                <a:extLst>
                  <a:ext uri="{FF2B5EF4-FFF2-40B4-BE49-F238E27FC236}">
                    <a16:creationId xmlns:a16="http://schemas.microsoft.com/office/drawing/2014/main" id="{7D5C5BF9-225C-0945-9BD8-811FED6F7C6C}"/>
                  </a:ext>
                </a:extLst>
              </p:cNvPr>
              <p:cNvSpPr/>
              <p:nvPr userDrawn="1"/>
            </p:nvSpPr>
            <p:spPr>
              <a:xfrm>
                <a:off x="3124200" y="2946388"/>
                <a:ext cx="297180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15" name="Rectangle 414">
                <a:extLst>
                  <a:ext uri="{FF2B5EF4-FFF2-40B4-BE49-F238E27FC236}">
                    <a16:creationId xmlns:a16="http://schemas.microsoft.com/office/drawing/2014/main" id="{C63D455F-73BE-A943-8A70-41066037EB15}"/>
                  </a:ext>
                </a:extLst>
              </p:cNvPr>
              <p:cNvSpPr/>
              <p:nvPr userDrawn="1"/>
            </p:nvSpPr>
            <p:spPr>
              <a:xfrm>
                <a:off x="6096000" y="2946388"/>
                <a:ext cx="297180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16" name="Rectangle 415">
                <a:extLst>
                  <a:ext uri="{FF2B5EF4-FFF2-40B4-BE49-F238E27FC236}">
                    <a16:creationId xmlns:a16="http://schemas.microsoft.com/office/drawing/2014/main" id="{29C4F461-3408-F24E-93BE-7BE25C21160B}"/>
                  </a:ext>
                </a:extLst>
              </p:cNvPr>
              <p:cNvSpPr/>
              <p:nvPr userDrawn="1"/>
            </p:nvSpPr>
            <p:spPr>
              <a:xfrm>
                <a:off x="9067800" y="2946388"/>
                <a:ext cx="297180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17" name="Rectangle 416">
                <a:extLst>
                  <a:ext uri="{FF2B5EF4-FFF2-40B4-BE49-F238E27FC236}">
                    <a16:creationId xmlns:a16="http://schemas.microsoft.com/office/drawing/2014/main" id="{B07E25D9-5575-FA46-AE11-B58FECE45D22}"/>
                  </a:ext>
                </a:extLst>
              </p:cNvPr>
              <p:cNvSpPr/>
              <p:nvPr userDrawn="1"/>
            </p:nvSpPr>
            <p:spPr>
              <a:xfrm>
                <a:off x="12039600" y="2946388"/>
                <a:ext cx="297180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383" name="Group 382">
              <a:extLst>
                <a:ext uri="{FF2B5EF4-FFF2-40B4-BE49-F238E27FC236}">
                  <a16:creationId xmlns:a16="http://schemas.microsoft.com/office/drawing/2014/main" id="{CD0FDC72-FC9B-6943-B57B-C01216793CAE}"/>
                </a:ext>
              </a:extLst>
            </p:cNvPr>
            <p:cNvGrpSpPr/>
            <p:nvPr userDrawn="1"/>
          </p:nvGrpSpPr>
          <p:grpSpPr>
            <a:xfrm>
              <a:off x="0" y="2679694"/>
              <a:ext cx="304800" cy="304800"/>
              <a:chOff x="4748283" y="3386554"/>
              <a:chExt cx="548640" cy="548640"/>
            </a:xfrm>
          </p:grpSpPr>
          <p:sp>
            <p:nvSpPr>
              <p:cNvPr id="409" name="Rectangle 408">
                <a:extLst>
                  <a:ext uri="{FF2B5EF4-FFF2-40B4-BE49-F238E27FC236}">
                    <a16:creationId xmlns:a16="http://schemas.microsoft.com/office/drawing/2014/main" id="{1C699F7E-0E09-8B4E-A518-F3812BB194B0}"/>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10" name="Rectangle 409">
                <a:extLst>
                  <a:ext uri="{FF2B5EF4-FFF2-40B4-BE49-F238E27FC236}">
                    <a16:creationId xmlns:a16="http://schemas.microsoft.com/office/drawing/2014/main" id="{B8118C01-DA55-9740-B18A-0079C2AAA121}"/>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11" name="Rectangle 410">
                <a:extLst>
                  <a:ext uri="{FF2B5EF4-FFF2-40B4-BE49-F238E27FC236}">
                    <a16:creationId xmlns:a16="http://schemas.microsoft.com/office/drawing/2014/main" id="{74B07F51-45D2-EC4D-8FCF-448A0EBB53AE}"/>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12" name="Rectangle 411">
                <a:extLst>
                  <a:ext uri="{FF2B5EF4-FFF2-40B4-BE49-F238E27FC236}">
                    <a16:creationId xmlns:a16="http://schemas.microsoft.com/office/drawing/2014/main" id="{38AC2B4E-EE6C-824B-81E8-6C58F3A283DC}"/>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384" name="Group 383">
              <a:extLst>
                <a:ext uri="{FF2B5EF4-FFF2-40B4-BE49-F238E27FC236}">
                  <a16:creationId xmlns:a16="http://schemas.microsoft.com/office/drawing/2014/main" id="{CCDC25C0-61FE-A246-8120-D29F16B1BC40}"/>
                </a:ext>
              </a:extLst>
            </p:cNvPr>
            <p:cNvGrpSpPr/>
            <p:nvPr userDrawn="1"/>
          </p:nvGrpSpPr>
          <p:grpSpPr>
            <a:xfrm>
              <a:off x="11887200" y="2679694"/>
              <a:ext cx="304800" cy="304800"/>
              <a:chOff x="11887200" y="3048000"/>
              <a:chExt cx="304800" cy="304800"/>
            </a:xfrm>
          </p:grpSpPr>
          <p:sp>
            <p:nvSpPr>
              <p:cNvPr id="405" name="Rectangle 404">
                <a:extLst>
                  <a:ext uri="{FF2B5EF4-FFF2-40B4-BE49-F238E27FC236}">
                    <a16:creationId xmlns:a16="http://schemas.microsoft.com/office/drawing/2014/main" id="{1D646414-A87B-3B4E-9F53-684910FB6838}"/>
                  </a:ext>
                </a:extLst>
              </p:cNvPr>
              <p:cNvSpPr/>
              <p:nvPr userDrawn="1"/>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06" name="Rectangle 405">
                <a:extLst>
                  <a:ext uri="{FF2B5EF4-FFF2-40B4-BE49-F238E27FC236}">
                    <a16:creationId xmlns:a16="http://schemas.microsoft.com/office/drawing/2014/main" id="{2D7165AC-E3E1-884C-95BA-5093037DF15B}"/>
                  </a:ext>
                </a:extLst>
              </p:cNvPr>
              <p:cNvSpPr/>
              <p:nvPr userDrawn="1"/>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07" name="Rectangle 406">
                <a:extLst>
                  <a:ext uri="{FF2B5EF4-FFF2-40B4-BE49-F238E27FC236}">
                    <a16:creationId xmlns:a16="http://schemas.microsoft.com/office/drawing/2014/main" id="{75293567-A7C0-574E-AFF1-86E2F48DFC84}"/>
                  </a:ext>
                </a:extLst>
              </p:cNvPr>
              <p:cNvSpPr/>
              <p:nvPr userDrawn="1"/>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08" name="Rectangle 407">
                <a:extLst>
                  <a:ext uri="{FF2B5EF4-FFF2-40B4-BE49-F238E27FC236}">
                    <a16:creationId xmlns:a16="http://schemas.microsoft.com/office/drawing/2014/main" id="{26E245A6-6498-E441-94A9-B88A598F627F}"/>
                  </a:ext>
                </a:extLst>
              </p:cNvPr>
              <p:cNvSpPr/>
              <p:nvPr userDrawn="1"/>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385" name="Group 384">
              <a:extLst>
                <a:ext uri="{FF2B5EF4-FFF2-40B4-BE49-F238E27FC236}">
                  <a16:creationId xmlns:a16="http://schemas.microsoft.com/office/drawing/2014/main" id="{989EC034-C725-FA42-90CC-5765123F5A65}"/>
                </a:ext>
              </a:extLst>
            </p:cNvPr>
            <p:cNvGrpSpPr/>
            <p:nvPr userDrawn="1"/>
          </p:nvGrpSpPr>
          <p:grpSpPr>
            <a:xfrm>
              <a:off x="2377440" y="2679694"/>
              <a:ext cx="304800" cy="304800"/>
              <a:chOff x="4748283" y="3386554"/>
              <a:chExt cx="548640" cy="548640"/>
            </a:xfrm>
          </p:grpSpPr>
          <p:sp>
            <p:nvSpPr>
              <p:cNvPr id="401" name="Rectangle 400">
                <a:extLst>
                  <a:ext uri="{FF2B5EF4-FFF2-40B4-BE49-F238E27FC236}">
                    <a16:creationId xmlns:a16="http://schemas.microsoft.com/office/drawing/2014/main" id="{0DDE99E9-598E-0F44-AB53-F02225E90BC7}"/>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02" name="Rectangle 401">
                <a:extLst>
                  <a:ext uri="{FF2B5EF4-FFF2-40B4-BE49-F238E27FC236}">
                    <a16:creationId xmlns:a16="http://schemas.microsoft.com/office/drawing/2014/main" id="{A7D19A18-2156-C149-B92D-4FD908CB17A9}"/>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03" name="Rectangle 402">
                <a:extLst>
                  <a:ext uri="{FF2B5EF4-FFF2-40B4-BE49-F238E27FC236}">
                    <a16:creationId xmlns:a16="http://schemas.microsoft.com/office/drawing/2014/main" id="{B3F003EA-7D96-E24F-BB9E-9AAE5316A51F}"/>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04" name="Rectangle 403">
                <a:extLst>
                  <a:ext uri="{FF2B5EF4-FFF2-40B4-BE49-F238E27FC236}">
                    <a16:creationId xmlns:a16="http://schemas.microsoft.com/office/drawing/2014/main" id="{0DC78CC9-EA57-4B4F-B013-1F7359159C54}"/>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386" name="Group 385">
              <a:extLst>
                <a:ext uri="{FF2B5EF4-FFF2-40B4-BE49-F238E27FC236}">
                  <a16:creationId xmlns:a16="http://schemas.microsoft.com/office/drawing/2014/main" id="{AE6D9F72-7FDF-CE4B-838F-B774D274FE81}"/>
                </a:ext>
              </a:extLst>
            </p:cNvPr>
            <p:cNvGrpSpPr/>
            <p:nvPr userDrawn="1"/>
          </p:nvGrpSpPr>
          <p:grpSpPr>
            <a:xfrm>
              <a:off x="4758055" y="2679694"/>
              <a:ext cx="304800" cy="304800"/>
              <a:chOff x="4748283" y="3386554"/>
              <a:chExt cx="548640" cy="548640"/>
            </a:xfrm>
          </p:grpSpPr>
          <p:sp>
            <p:nvSpPr>
              <p:cNvPr id="397" name="Rectangle 396">
                <a:extLst>
                  <a:ext uri="{FF2B5EF4-FFF2-40B4-BE49-F238E27FC236}">
                    <a16:creationId xmlns:a16="http://schemas.microsoft.com/office/drawing/2014/main" id="{D4306F08-E512-C247-AC3A-33B8571D0607}"/>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98" name="Rectangle 397">
                <a:extLst>
                  <a:ext uri="{FF2B5EF4-FFF2-40B4-BE49-F238E27FC236}">
                    <a16:creationId xmlns:a16="http://schemas.microsoft.com/office/drawing/2014/main" id="{FBFE0CD7-01DE-9E49-A774-0F480A65A987}"/>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99" name="Rectangle 398">
                <a:extLst>
                  <a:ext uri="{FF2B5EF4-FFF2-40B4-BE49-F238E27FC236}">
                    <a16:creationId xmlns:a16="http://schemas.microsoft.com/office/drawing/2014/main" id="{64E61B29-4CCA-D244-BE9E-C336449655D2}"/>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00" name="Rectangle 399">
                <a:extLst>
                  <a:ext uri="{FF2B5EF4-FFF2-40B4-BE49-F238E27FC236}">
                    <a16:creationId xmlns:a16="http://schemas.microsoft.com/office/drawing/2014/main" id="{FEF820F9-53F6-7F4C-B259-E4EEC67D3CF1}"/>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387" name="Group 386">
              <a:extLst>
                <a:ext uri="{FF2B5EF4-FFF2-40B4-BE49-F238E27FC236}">
                  <a16:creationId xmlns:a16="http://schemas.microsoft.com/office/drawing/2014/main" id="{DDD1F4FD-197A-BA44-8771-712C08E93361}"/>
                </a:ext>
              </a:extLst>
            </p:cNvPr>
            <p:cNvGrpSpPr/>
            <p:nvPr userDrawn="1"/>
          </p:nvGrpSpPr>
          <p:grpSpPr>
            <a:xfrm>
              <a:off x="7129145" y="2679694"/>
              <a:ext cx="304800" cy="304800"/>
              <a:chOff x="4748283" y="3386554"/>
              <a:chExt cx="548640" cy="548640"/>
            </a:xfrm>
          </p:grpSpPr>
          <p:sp>
            <p:nvSpPr>
              <p:cNvPr id="393" name="Rectangle 392">
                <a:extLst>
                  <a:ext uri="{FF2B5EF4-FFF2-40B4-BE49-F238E27FC236}">
                    <a16:creationId xmlns:a16="http://schemas.microsoft.com/office/drawing/2014/main" id="{3233BE51-1EAF-1A41-9AC1-13E1AC9AEBB2}"/>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94" name="Rectangle 393">
                <a:extLst>
                  <a:ext uri="{FF2B5EF4-FFF2-40B4-BE49-F238E27FC236}">
                    <a16:creationId xmlns:a16="http://schemas.microsoft.com/office/drawing/2014/main" id="{F509AB97-B09E-0546-9E8C-09437E384CE2}"/>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95" name="Rectangle 394">
                <a:extLst>
                  <a:ext uri="{FF2B5EF4-FFF2-40B4-BE49-F238E27FC236}">
                    <a16:creationId xmlns:a16="http://schemas.microsoft.com/office/drawing/2014/main" id="{8BA1AAD5-A563-FB47-87A9-0B94FE6A8C09}"/>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96" name="Rectangle 395">
                <a:extLst>
                  <a:ext uri="{FF2B5EF4-FFF2-40B4-BE49-F238E27FC236}">
                    <a16:creationId xmlns:a16="http://schemas.microsoft.com/office/drawing/2014/main" id="{514B41BA-A84E-364A-8308-CF1D949AC83F}"/>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388" name="Group 387">
              <a:extLst>
                <a:ext uri="{FF2B5EF4-FFF2-40B4-BE49-F238E27FC236}">
                  <a16:creationId xmlns:a16="http://schemas.microsoft.com/office/drawing/2014/main" id="{D3F98928-573C-0247-BEFC-C171D6C6A2BC}"/>
                </a:ext>
              </a:extLst>
            </p:cNvPr>
            <p:cNvGrpSpPr/>
            <p:nvPr userDrawn="1"/>
          </p:nvGrpSpPr>
          <p:grpSpPr>
            <a:xfrm>
              <a:off x="9509760" y="2679694"/>
              <a:ext cx="304800" cy="304800"/>
              <a:chOff x="4748283" y="3386554"/>
              <a:chExt cx="548640" cy="548640"/>
            </a:xfrm>
          </p:grpSpPr>
          <p:sp>
            <p:nvSpPr>
              <p:cNvPr id="389" name="Rectangle 388">
                <a:extLst>
                  <a:ext uri="{FF2B5EF4-FFF2-40B4-BE49-F238E27FC236}">
                    <a16:creationId xmlns:a16="http://schemas.microsoft.com/office/drawing/2014/main" id="{65B33E1B-D72C-6545-A163-15FE54C9CA79}"/>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90" name="Rectangle 389">
                <a:extLst>
                  <a:ext uri="{FF2B5EF4-FFF2-40B4-BE49-F238E27FC236}">
                    <a16:creationId xmlns:a16="http://schemas.microsoft.com/office/drawing/2014/main" id="{21AFCDF0-CBB3-9C45-B0C2-A3F3E5EAF632}"/>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91" name="Rectangle 390">
                <a:extLst>
                  <a:ext uri="{FF2B5EF4-FFF2-40B4-BE49-F238E27FC236}">
                    <a16:creationId xmlns:a16="http://schemas.microsoft.com/office/drawing/2014/main" id="{1531E71B-D937-F742-9957-0713B4C42C88}"/>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392" name="Rectangle 391">
                <a:extLst>
                  <a:ext uri="{FF2B5EF4-FFF2-40B4-BE49-F238E27FC236}">
                    <a16:creationId xmlns:a16="http://schemas.microsoft.com/office/drawing/2014/main" id="{214FB835-5426-5540-B3AC-57A83A66F095}"/>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grpSp>
        <p:nvGrpSpPr>
          <p:cNvPr id="418" name="Group 417">
            <a:extLst>
              <a:ext uri="{FF2B5EF4-FFF2-40B4-BE49-F238E27FC236}">
                <a16:creationId xmlns:a16="http://schemas.microsoft.com/office/drawing/2014/main" id="{C3FA0D4E-3551-B443-B764-A560BB0F31B4}"/>
              </a:ext>
            </a:extLst>
          </p:cNvPr>
          <p:cNvGrpSpPr/>
          <p:nvPr userDrawn="1"/>
        </p:nvGrpSpPr>
        <p:grpSpPr>
          <a:xfrm>
            <a:off x="0" y="5943600"/>
            <a:ext cx="12192000" cy="304801"/>
            <a:chOff x="0" y="5060956"/>
            <a:chExt cx="12192000" cy="304801"/>
          </a:xfrm>
        </p:grpSpPr>
        <p:grpSp>
          <p:nvGrpSpPr>
            <p:cNvPr id="419" name="Group 418">
              <a:extLst>
                <a:ext uri="{FF2B5EF4-FFF2-40B4-BE49-F238E27FC236}">
                  <a16:creationId xmlns:a16="http://schemas.microsoft.com/office/drawing/2014/main" id="{3ED4F498-0EE3-5340-A78D-81AE3B278C25}"/>
                </a:ext>
              </a:extLst>
            </p:cNvPr>
            <p:cNvGrpSpPr/>
            <p:nvPr userDrawn="1"/>
          </p:nvGrpSpPr>
          <p:grpSpPr>
            <a:xfrm>
              <a:off x="152400" y="5060956"/>
              <a:ext cx="11887200" cy="304801"/>
              <a:chOff x="152400" y="5468945"/>
              <a:chExt cx="5943600" cy="304801"/>
            </a:xfrm>
          </p:grpSpPr>
          <p:sp>
            <p:nvSpPr>
              <p:cNvPr id="435" name="Rectangle 434">
                <a:extLst>
                  <a:ext uri="{FF2B5EF4-FFF2-40B4-BE49-F238E27FC236}">
                    <a16:creationId xmlns:a16="http://schemas.microsoft.com/office/drawing/2014/main" id="{168AE306-A0D3-924E-88F9-CBCC203C5193}"/>
                  </a:ext>
                </a:extLst>
              </p:cNvPr>
              <p:cNvSpPr/>
              <p:nvPr userDrawn="1"/>
            </p:nvSpPr>
            <p:spPr>
              <a:xfrm>
                <a:off x="152400" y="5468946"/>
                <a:ext cx="297180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36" name="Rectangle 435">
                <a:extLst>
                  <a:ext uri="{FF2B5EF4-FFF2-40B4-BE49-F238E27FC236}">
                    <a16:creationId xmlns:a16="http://schemas.microsoft.com/office/drawing/2014/main" id="{A3B192E7-794D-C14E-BC0F-394A020FA684}"/>
                  </a:ext>
                </a:extLst>
              </p:cNvPr>
              <p:cNvSpPr/>
              <p:nvPr userDrawn="1"/>
            </p:nvSpPr>
            <p:spPr>
              <a:xfrm>
                <a:off x="3124200" y="5468945"/>
                <a:ext cx="297180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420" name="Group 419">
              <a:extLst>
                <a:ext uri="{FF2B5EF4-FFF2-40B4-BE49-F238E27FC236}">
                  <a16:creationId xmlns:a16="http://schemas.microsoft.com/office/drawing/2014/main" id="{AD6C7E3C-C334-6F4A-B514-6C52AB007244}"/>
                </a:ext>
              </a:extLst>
            </p:cNvPr>
            <p:cNvGrpSpPr/>
            <p:nvPr userDrawn="1"/>
          </p:nvGrpSpPr>
          <p:grpSpPr>
            <a:xfrm>
              <a:off x="0" y="5060956"/>
              <a:ext cx="304800" cy="304800"/>
              <a:chOff x="4748283" y="3386554"/>
              <a:chExt cx="548640" cy="548640"/>
            </a:xfrm>
          </p:grpSpPr>
          <p:sp>
            <p:nvSpPr>
              <p:cNvPr id="431" name="Rectangle 430">
                <a:extLst>
                  <a:ext uri="{FF2B5EF4-FFF2-40B4-BE49-F238E27FC236}">
                    <a16:creationId xmlns:a16="http://schemas.microsoft.com/office/drawing/2014/main" id="{5D7210F9-038B-204E-B075-F05CEE6F58A4}"/>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32" name="Rectangle 431">
                <a:extLst>
                  <a:ext uri="{FF2B5EF4-FFF2-40B4-BE49-F238E27FC236}">
                    <a16:creationId xmlns:a16="http://schemas.microsoft.com/office/drawing/2014/main" id="{B9F22585-23A9-BE4A-8A3D-AB57FE6FB1D1}"/>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33" name="Rectangle 432">
                <a:extLst>
                  <a:ext uri="{FF2B5EF4-FFF2-40B4-BE49-F238E27FC236}">
                    <a16:creationId xmlns:a16="http://schemas.microsoft.com/office/drawing/2014/main" id="{67C0138B-AD3C-F24C-A766-18F10DEF3926}"/>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34" name="Rectangle 433">
                <a:extLst>
                  <a:ext uri="{FF2B5EF4-FFF2-40B4-BE49-F238E27FC236}">
                    <a16:creationId xmlns:a16="http://schemas.microsoft.com/office/drawing/2014/main" id="{6B65B973-2985-1A46-9D7E-B54790574FFD}"/>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421" name="Group 420">
              <a:extLst>
                <a:ext uri="{FF2B5EF4-FFF2-40B4-BE49-F238E27FC236}">
                  <a16:creationId xmlns:a16="http://schemas.microsoft.com/office/drawing/2014/main" id="{89E6048A-324B-7B4A-96E3-0182AFDA4E0F}"/>
                </a:ext>
              </a:extLst>
            </p:cNvPr>
            <p:cNvGrpSpPr/>
            <p:nvPr userDrawn="1"/>
          </p:nvGrpSpPr>
          <p:grpSpPr>
            <a:xfrm>
              <a:off x="11887200" y="5060956"/>
              <a:ext cx="304800" cy="304800"/>
              <a:chOff x="11887200" y="3048000"/>
              <a:chExt cx="304800" cy="304800"/>
            </a:xfrm>
          </p:grpSpPr>
          <p:sp>
            <p:nvSpPr>
              <p:cNvPr id="427" name="Rectangle 426">
                <a:extLst>
                  <a:ext uri="{FF2B5EF4-FFF2-40B4-BE49-F238E27FC236}">
                    <a16:creationId xmlns:a16="http://schemas.microsoft.com/office/drawing/2014/main" id="{35B7F55A-CA3E-6A49-9AAB-B8F4A9806129}"/>
                  </a:ext>
                </a:extLst>
              </p:cNvPr>
              <p:cNvSpPr/>
              <p:nvPr userDrawn="1"/>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28" name="Rectangle 427">
                <a:extLst>
                  <a:ext uri="{FF2B5EF4-FFF2-40B4-BE49-F238E27FC236}">
                    <a16:creationId xmlns:a16="http://schemas.microsoft.com/office/drawing/2014/main" id="{A3353706-2E52-E144-8A63-6273B78CB93E}"/>
                  </a:ext>
                </a:extLst>
              </p:cNvPr>
              <p:cNvSpPr/>
              <p:nvPr userDrawn="1"/>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29" name="Rectangle 428">
                <a:extLst>
                  <a:ext uri="{FF2B5EF4-FFF2-40B4-BE49-F238E27FC236}">
                    <a16:creationId xmlns:a16="http://schemas.microsoft.com/office/drawing/2014/main" id="{DE0C3521-EDAC-1A49-8ED8-2DA7FC9C5BC9}"/>
                  </a:ext>
                </a:extLst>
              </p:cNvPr>
              <p:cNvSpPr/>
              <p:nvPr userDrawn="1"/>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30" name="Rectangle 429">
                <a:extLst>
                  <a:ext uri="{FF2B5EF4-FFF2-40B4-BE49-F238E27FC236}">
                    <a16:creationId xmlns:a16="http://schemas.microsoft.com/office/drawing/2014/main" id="{1B3C97FD-7422-3B49-9A32-5439ECC9129E}"/>
                  </a:ext>
                </a:extLst>
              </p:cNvPr>
              <p:cNvSpPr/>
              <p:nvPr userDrawn="1"/>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422" name="Group 421">
              <a:extLst>
                <a:ext uri="{FF2B5EF4-FFF2-40B4-BE49-F238E27FC236}">
                  <a16:creationId xmlns:a16="http://schemas.microsoft.com/office/drawing/2014/main" id="{13909B4A-16B1-EB41-8EBA-C21C3846E275}"/>
                </a:ext>
              </a:extLst>
            </p:cNvPr>
            <p:cNvGrpSpPr/>
            <p:nvPr userDrawn="1"/>
          </p:nvGrpSpPr>
          <p:grpSpPr>
            <a:xfrm>
              <a:off x="5943600" y="5060956"/>
              <a:ext cx="304800" cy="304800"/>
              <a:chOff x="4748283" y="3386554"/>
              <a:chExt cx="548640" cy="548640"/>
            </a:xfrm>
          </p:grpSpPr>
          <p:sp>
            <p:nvSpPr>
              <p:cNvPr id="423" name="Rectangle 422">
                <a:extLst>
                  <a:ext uri="{FF2B5EF4-FFF2-40B4-BE49-F238E27FC236}">
                    <a16:creationId xmlns:a16="http://schemas.microsoft.com/office/drawing/2014/main" id="{78BBE9C9-671C-F143-A4EA-2DF4B70C6E9E}"/>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24" name="Rectangle 423">
                <a:extLst>
                  <a:ext uri="{FF2B5EF4-FFF2-40B4-BE49-F238E27FC236}">
                    <a16:creationId xmlns:a16="http://schemas.microsoft.com/office/drawing/2014/main" id="{D1572C1F-31B0-A449-AF07-F0C75F9333B5}"/>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25" name="Rectangle 424">
                <a:extLst>
                  <a:ext uri="{FF2B5EF4-FFF2-40B4-BE49-F238E27FC236}">
                    <a16:creationId xmlns:a16="http://schemas.microsoft.com/office/drawing/2014/main" id="{DA2AA3D6-DE7C-1648-95ED-0FDE1A3715AE}"/>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26" name="Rectangle 425">
                <a:extLst>
                  <a:ext uri="{FF2B5EF4-FFF2-40B4-BE49-F238E27FC236}">
                    <a16:creationId xmlns:a16="http://schemas.microsoft.com/office/drawing/2014/main" id="{ED8EFBE5-713C-AE42-B222-0B2BCDBA868C}"/>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grpSp>
        <p:nvGrpSpPr>
          <p:cNvPr id="437" name="Group 436">
            <a:extLst>
              <a:ext uri="{FF2B5EF4-FFF2-40B4-BE49-F238E27FC236}">
                <a16:creationId xmlns:a16="http://schemas.microsoft.com/office/drawing/2014/main" id="{BF14D695-A0CE-114E-8019-2ED18154094C}"/>
              </a:ext>
            </a:extLst>
          </p:cNvPr>
          <p:cNvGrpSpPr/>
          <p:nvPr userDrawn="1"/>
        </p:nvGrpSpPr>
        <p:grpSpPr>
          <a:xfrm>
            <a:off x="0" y="3336768"/>
            <a:ext cx="12192000" cy="304801"/>
            <a:chOff x="0" y="1720842"/>
            <a:chExt cx="12192000" cy="304801"/>
          </a:xfrm>
        </p:grpSpPr>
        <p:grpSp>
          <p:nvGrpSpPr>
            <p:cNvPr id="438" name="Group 437">
              <a:extLst>
                <a:ext uri="{FF2B5EF4-FFF2-40B4-BE49-F238E27FC236}">
                  <a16:creationId xmlns:a16="http://schemas.microsoft.com/office/drawing/2014/main" id="{B258BE61-F68C-6447-A182-49356BB4705F}"/>
                </a:ext>
              </a:extLst>
            </p:cNvPr>
            <p:cNvGrpSpPr/>
            <p:nvPr userDrawn="1"/>
          </p:nvGrpSpPr>
          <p:grpSpPr>
            <a:xfrm>
              <a:off x="152400" y="1720842"/>
              <a:ext cx="11887200" cy="304801"/>
              <a:chOff x="152400" y="1720842"/>
              <a:chExt cx="10226040" cy="304801"/>
            </a:xfrm>
          </p:grpSpPr>
          <p:sp>
            <p:nvSpPr>
              <p:cNvPr id="474" name="Rectangle 473">
                <a:extLst>
                  <a:ext uri="{FF2B5EF4-FFF2-40B4-BE49-F238E27FC236}">
                    <a16:creationId xmlns:a16="http://schemas.microsoft.com/office/drawing/2014/main" id="{2E39ADA9-047C-064C-B38A-58491F27D38A}"/>
                  </a:ext>
                </a:extLst>
              </p:cNvPr>
              <p:cNvSpPr/>
              <p:nvPr userDrawn="1"/>
            </p:nvSpPr>
            <p:spPr>
              <a:xfrm>
                <a:off x="152400" y="1720843"/>
                <a:ext cx="170434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75" name="Rectangle 474">
                <a:extLst>
                  <a:ext uri="{FF2B5EF4-FFF2-40B4-BE49-F238E27FC236}">
                    <a16:creationId xmlns:a16="http://schemas.microsoft.com/office/drawing/2014/main" id="{950CBAF9-139A-444A-99D3-8878A71E1230}"/>
                  </a:ext>
                </a:extLst>
              </p:cNvPr>
              <p:cNvSpPr/>
              <p:nvPr userDrawn="1"/>
            </p:nvSpPr>
            <p:spPr>
              <a:xfrm>
                <a:off x="1856740" y="1720842"/>
                <a:ext cx="170434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76" name="Rectangle 475">
                <a:extLst>
                  <a:ext uri="{FF2B5EF4-FFF2-40B4-BE49-F238E27FC236}">
                    <a16:creationId xmlns:a16="http://schemas.microsoft.com/office/drawing/2014/main" id="{B5A13F0A-72FA-0D47-801F-47CA60E80C0C}"/>
                  </a:ext>
                </a:extLst>
              </p:cNvPr>
              <p:cNvSpPr/>
              <p:nvPr userDrawn="1"/>
            </p:nvSpPr>
            <p:spPr>
              <a:xfrm>
                <a:off x="3561080" y="1720842"/>
                <a:ext cx="170434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77" name="Rectangle 476">
                <a:extLst>
                  <a:ext uri="{FF2B5EF4-FFF2-40B4-BE49-F238E27FC236}">
                    <a16:creationId xmlns:a16="http://schemas.microsoft.com/office/drawing/2014/main" id="{4FEF358F-4817-F64B-8CC4-0FD0C1FABF29}"/>
                  </a:ext>
                </a:extLst>
              </p:cNvPr>
              <p:cNvSpPr/>
              <p:nvPr userDrawn="1"/>
            </p:nvSpPr>
            <p:spPr>
              <a:xfrm>
                <a:off x="5265420" y="1720842"/>
                <a:ext cx="170434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78" name="Rectangle 477">
                <a:extLst>
                  <a:ext uri="{FF2B5EF4-FFF2-40B4-BE49-F238E27FC236}">
                    <a16:creationId xmlns:a16="http://schemas.microsoft.com/office/drawing/2014/main" id="{EFF11427-1778-1747-93D7-55F0840A0284}"/>
                  </a:ext>
                </a:extLst>
              </p:cNvPr>
              <p:cNvSpPr/>
              <p:nvPr userDrawn="1"/>
            </p:nvSpPr>
            <p:spPr>
              <a:xfrm>
                <a:off x="6969760" y="1720842"/>
                <a:ext cx="170434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79" name="Rectangle 478">
                <a:extLst>
                  <a:ext uri="{FF2B5EF4-FFF2-40B4-BE49-F238E27FC236}">
                    <a16:creationId xmlns:a16="http://schemas.microsoft.com/office/drawing/2014/main" id="{F3D80D4E-21FD-8E4F-BCC2-F182D2FB139B}"/>
                  </a:ext>
                </a:extLst>
              </p:cNvPr>
              <p:cNvSpPr/>
              <p:nvPr userDrawn="1"/>
            </p:nvSpPr>
            <p:spPr>
              <a:xfrm>
                <a:off x="8674100" y="1720842"/>
                <a:ext cx="170434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439" name="Group 438">
              <a:extLst>
                <a:ext uri="{FF2B5EF4-FFF2-40B4-BE49-F238E27FC236}">
                  <a16:creationId xmlns:a16="http://schemas.microsoft.com/office/drawing/2014/main" id="{772AB51C-F49A-0A4A-BA0B-000FC84A5867}"/>
                </a:ext>
              </a:extLst>
            </p:cNvPr>
            <p:cNvGrpSpPr/>
            <p:nvPr userDrawn="1"/>
          </p:nvGrpSpPr>
          <p:grpSpPr>
            <a:xfrm>
              <a:off x="0" y="1720842"/>
              <a:ext cx="304800" cy="304800"/>
              <a:chOff x="4748283" y="3386554"/>
              <a:chExt cx="548640" cy="548640"/>
            </a:xfrm>
          </p:grpSpPr>
          <p:sp>
            <p:nvSpPr>
              <p:cNvPr id="470" name="Rectangle 469">
                <a:extLst>
                  <a:ext uri="{FF2B5EF4-FFF2-40B4-BE49-F238E27FC236}">
                    <a16:creationId xmlns:a16="http://schemas.microsoft.com/office/drawing/2014/main" id="{E4A75E68-C0BB-4840-B07F-1D82C5547F73}"/>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71" name="Rectangle 470">
                <a:extLst>
                  <a:ext uri="{FF2B5EF4-FFF2-40B4-BE49-F238E27FC236}">
                    <a16:creationId xmlns:a16="http://schemas.microsoft.com/office/drawing/2014/main" id="{8DD8EBE3-10D1-3E44-85FC-03439E297582}"/>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72" name="Rectangle 471">
                <a:extLst>
                  <a:ext uri="{FF2B5EF4-FFF2-40B4-BE49-F238E27FC236}">
                    <a16:creationId xmlns:a16="http://schemas.microsoft.com/office/drawing/2014/main" id="{6AEBDBAB-049C-C94F-BA15-670FE7786BB7}"/>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73" name="Rectangle 472">
                <a:extLst>
                  <a:ext uri="{FF2B5EF4-FFF2-40B4-BE49-F238E27FC236}">
                    <a16:creationId xmlns:a16="http://schemas.microsoft.com/office/drawing/2014/main" id="{1839B25E-E114-E34C-A32D-6D7EC38B1EE9}"/>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440" name="Group 439">
              <a:extLst>
                <a:ext uri="{FF2B5EF4-FFF2-40B4-BE49-F238E27FC236}">
                  <a16:creationId xmlns:a16="http://schemas.microsoft.com/office/drawing/2014/main" id="{C4B9E153-27EB-B040-BCE0-309BDB8E8CDA}"/>
                </a:ext>
              </a:extLst>
            </p:cNvPr>
            <p:cNvGrpSpPr/>
            <p:nvPr userDrawn="1"/>
          </p:nvGrpSpPr>
          <p:grpSpPr>
            <a:xfrm>
              <a:off x="11887200" y="1720842"/>
              <a:ext cx="304800" cy="304800"/>
              <a:chOff x="11887200" y="3048000"/>
              <a:chExt cx="304800" cy="304800"/>
            </a:xfrm>
          </p:grpSpPr>
          <p:sp>
            <p:nvSpPr>
              <p:cNvPr id="466" name="Rectangle 465">
                <a:extLst>
                  <a:ext uri="{FF2B5EF4-FFF2-40B4-BE49-F238E27FC236}">
                    <a16:creationId xmlns:a16="http://schemas.microsoft.com/office/drawing/2014/main" id="{A27F3C4E-60C9-0441-BB28-DA297CC18C6B}"/>
                  </a:ext>
                </a:extLst>
              </p:cNvPr>
              <p:cNvSpPr/>
              <p:nvPr userDrawn="1"/>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67" name="Rectangle 466">
                <a:extLst>
                  <a:ext uri="{FF2B5EF4-FFF2-40B4-BE49-F238E27FC236}">
                    <a16:creationId xmlns:a16="http://schemas.microsoft.com/office/drawing/2014/main" id="{21B5179C-3F21-4540-9AFE-2D927DFF8388}"/>
                  </a:ext>
                </a:extLst>
              </p:cNvPr>
              <p:cNvSpPr/>
              <p:nvPr userDrawn="1"/>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68" name="Rectangle 467">
                <a:extLst>
                  <a:ext uri="{FF2B5EF4-FFF2-40B4-BE49-F238E27FC236}">
                    <a16:creationId xmlns:a16="http://schemas.microsoft.com/office/drawing/2014/main" id="{B81BD9A7-26C8-F74E-81CB-41418ED62A1D}"/>
                  </a:ext>
                </a:extLst>
              </p:cNvPr>
              <p:cNvSpPr/>
              <p:nvPr userDrawn="1"/>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69" name="Rectangle 468">
                <a:extLst>
                  <a:ext uri="{FF2B5EF4-FFF2-40B4-BE49-F238E27FC236}">
                    <a16:creationId xmlns:a16="http://schemas.microsoft.com/office/drawing/2014/main" id="{D9514B8E-A753-2045-AAAA-E16B50514554}"/>
                  </a:ext>
                </a:extLst>
              </p:cNvPr>
              <p:cNvSpPr/>
              <p:nvPr userDrawn="1"/>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441" name="Group 440">
              <a:extLst>
                <a:ext uri="{FF2B5EF4-FFF2-40B4-BE49-F238E27FC236}">
                  <a16:creationId xmlns:a16="http://schemas.microsoft.com/office/drawing/2014/main" id="{ECC44206-FD2E-F94D-9B86-B800910A14FE}"/>
                </a:ext>
              </a:extLst>
            </p:cNvPr>
            <p:cNvGrpSpPr/>
            <p:nvPr userDrawn="1"/>
          </p:nvGrpSpPr>
          <p:grpSpPr>
            <a:xfrm>
              <a:off x="1984915" y="1720842"/>
              <a:ext cx="304800" cy="304800"/>
              <a:chOff x="4748283" y="3386554"/>
              <a:chExt cx="548640" cy="548640"/>
            </a:xfrm>
          </p:grpSpPr>
          <p:sp>
            <p:nvSpPr>
              <p:cNvPr id="462" name="Rectangle 461">
                <a:extLst>
                  <a:ext uri="{FF2B5EF4-FFF2-40B4-BE49-F238E27FC236}">
                    <a16:creationId xmlns:a16="http://schemas.microsoft.com/office/drawing/2014/main" id="{C8BDDAA8-114B-3A4F-958C-920C69378416}"/>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63" name="Rectangle 462">
                <a:extLst>
                  <a:ext uri="{FF2B5EF4-FFF2-40B4-BE49-F238E27FC236}">
                    <a16:creationId xmlns:a16="http://schemas.microsoft.com/office/drawing/2014/main" id="{66EB955B-9466-F243-B786-3F7895B36FE2}"/>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64" name="Rectangle 463">
                <a:extLst>
                  <a:ext uri="{FF2B5EF4-FFF2-40B4-BE49-F238E27FC236}">
                    <a16:creationId xmlns:a16="http://schemas.microsoft.com/office/drawing/2014/main" id="{57AC506A-54E9-7442-9D5A-739F9BC156CE}"/>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65" name="Rectangle 464">
                <a:extLst>
                  <a:ext uri="{FF2B5EF4-FFF2-40B4-BE49-F238E27FC236}">
                    <a16:creationId xmlns:a16="http://schemas.microsoft.com/office/drawing/2014/main" id="{989669EA-D5BB-2749-A33E-897415693EA0}"/>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442" name="Group 441">
              <a:extLst>
                <a:ext uri="{FF2B5EF4-FFF2-40B4-BE49-F238E27FC236}">
                  <a16:creationId xmlns:a16="http://schemas.microsoft.com/office/drawing/2014/main" id="{2BF5526E-DA20-1A47-B1EC-05FCC4F811A6}"/>
                </a:ext>
              </a:extLst>
            </p:cNvPr>
            <p:cNvGrpSpPr/>
            <p:nvPr userDrawn="1"/>
          </p:nvGrpSpPr>
          <p:grpSpPr>
            <a:xfrm>
              <a:off x="3962829" y="1720842"/>
              <a:ext cx="304800" cy="304800"/>
              <a:chOff x="4748283" y="3386554"/>
              <a:chExt cx="548640" cy="548640"/>
            </a:xfrm>
          </p:grpSpPr>
          <p:sp>
            <p:nvSpPr>
              <p:cNvPr id="458" name="Rectangle 457">
                <a:extLst>
                  <a:ext uri="{FF2B5EF4-FFF2-40B4-BE49-F238E27FC236}">
                    <a16:creationId xmlns:a16="http://schemas.microsoft.com/office/drawing/2014/main" id="{C1CA3603-5759-F245-A0BC-7AC94B98ACB3}"/>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59" name="Rectangle 458">
                <a:extLst>
                  <a:ext uri="{FF2B5EF4-FFF2-40B4-BE49-F238E27FC236}">
                    <a16:creationId xmlns:a16="http://schemas.microsoft.com/office/drawing/2014/main" id="{E65062EA-2737-9F4A-AC6D-377AEBB24DA8}"/>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60" name="Rectangle 459">
                <a:extLst>
                  <a:ext uri="{FF2B5EF4-FFF2-40B4-BE49-F238E27FC236}">
                    <a16:creationId xmlns:a16="http://schemas.microsoft.com/office/drawing/2014/main" id="{5EFA2540-BC53-0A4B-818C-23B0B9216130}"/>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61" name="Rectangle 460">
                <a:extLst>
                  <a:ext uri="{FF2B5EF4-FFF2-40B4-BE49-F238E27FC236}">
                    <a16:creationId xmlns:a16="http://schemas.microsoft.com/office/drawing/2014/main" id="{A365443A-BD5B-D543-A1BC-48CD7E25F9B4}"/>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443" name="Group 442">
              <a:extLst>
                <a:ext uri="{FF2B5EF4-FFF2-40B4-BE49-F238E27FC236}">
                  <a16:creationId xmlns:a16="http://schemas.microsoft.com/office/drawing/2014/main" id="{3E69FC19-CB83-6F45-8D1E-A4DC1CCCC32E}"/>
                </a:ext>
              </a:extLst>
            </p:cNvPr>
            <p:cNvGrpSpPr/>
            <p:nvPr userDrawn="1"/>
          </p:nvGrpSpPr>
          <p:grpSpPr>
            <a:xfrm>
              <a:off x="5941695" y="1720842"/>
              <a:ext cx="304800" cy="304800"/>
              <a:chOff x="4748283" y="3386554"/>
              <a:chExt cx="548640" cy="548640"/>
            </a:xfrm>
          </p:grpSpPr>
          <p:sp>
            <p:nvSpPr>
              <p:cNvPr id="454" name="Rectangle 453">
                <a:extLst>
                  <a:ext uri="{FF2B5EF4-FFF2-40B4-BE49-F238E27FC236}">
                    <a16:creationId xmlns:a16="http://schemas.microsoft.com/office/drawing/2014/main" id="{D57A09A4-5C22-CA4B-BB1C-F7672C2AA69A}"/>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55" name="Rectangle 454">
                <a:extLst>
                  <a:ext uri="{FF2B5EF4-FFF2-40B4-BE49-F238E27FC236}">
                    <a16:creationId xmlns:a16="http://schemas.microsoft.com/office/drawing/2014/main" id="{17C22FAC-AC42-6E43-ACA2-58810E6D49CC}"/>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56" name="Rectangle 455">
                <a:extLst>
                  <a:ext uri="{FF2B5EF4-FFF2-40B4-BE49-F238E27FC236}">
                    <a16:creationId xmlns:a16="http://schemas.microsoft.com/office/drawing/2014/main" id="{5E375788-6501-DC47-A513-CA1940784EF3}"/>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57" name="Rectangle 456">
                <a:extLst>
                  <a:ext uri="{FF2B5EF4-FFF2-40B4-BE49-F238E27FC236}">
                    <a16:creationId xmlns:a16="http://schemas.microsoft.com/office/drawing/2014/main" id="{EDD8D43C-CFFB-4247-9B73-EFA60807FF1B}"/>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444" name="Group 443">
              <a:extLst>
                <a:ext uri="{FF2B5EF4-FFF2-40B4-BE49-F238E27FC236}">
                  <a16:creationId xmlns:a16="http://schemas.microsoft.com/office/drawing/2014/main" id="{88078022-BDD1-E941-A76D-8B2EA55DF35C}"/>
                </a:ext>
              </a:extLst>
            </p:cNvPr>
            <p:cNvGrpSpPr/>
            <p:nvPr userDrawn="1"/>
          </p:nvGrpSpPr>
          <p:grpSpPr>
            <a:xfrm>
              <a:off x="7925379" y="1720842"/>
              <a:ext cx="304800" cy="304800"/>
              <a:chOff x="4748283" y="3386554"/>
              <a:chExt cx="548640" cy="548640"/>
            </a:xfrm>
          </p:grpSpPr>
          <p:sp>
            <p:nvSpPr>
              <p:cNvPr id="450" name="Rectangle 449">
                <a:extLst>
                  <a:ext uri="{FF2B5EF4-FFF2-40B4-BE49-F238E27FC236}">
                    <a16:creationId xmlns:a16="http://schemas.microsoft.com/office/drawing/2014/main" id="{46CFF03B-0578-744C-B497-C6A70789806B}"/>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51" name="Rectangle 450">
                <a:extLst>
                  <a:ext uri="{FF2B5EF4-FFF2-40B4-BE49-F238E27FC236}">
                    <a16:creationId xmlns:a16="http://schemas.microsoft.com/office/drawing/2014/main" id="{E832363E-13BD-AE41-B338-5CE369511D0E}"/>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52" name="Rectangle 451">
                <a:extLst>
                  <a:ext uri="{FF2B5EF4-FFF2-40B4-BE49-F238E27FC236}">
                    <a16:creationId xmlns:a16="http://schemas.microsoft.com/office/drawing/2014/main" id="{7F3C2F47-5852-FE46-A6B8-0240E7FB37E8}"/>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53" name="Rectangle 452">
                <a:extLst>
                  <a:ext uri="{FF2B5EF4-FFF2-40B4-BE49-F238E27FC236}">
                    <a16:creationId xmlns:a16="http://schemas.microsoft.com/office/drawing/2014/main" id="{62234A22-B732-8643-8B93-EDA7BEDDA589}"/>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nvGrpSpPr>
            <p:cNvPr id="445" name="Group 444">
              <a:extLst>
                <a:ext uri="{FF2B5EF4-FFF2-40B4-BE49-F238E27FC236}">
                  <a16:creationId xmlns:a16="http://schemas.microsoft.com/office/drawing/2014/main" id="{3B83FBB8-0104-2A44-B8DB-E77F2800533E}"/>
                </a:ext>
              </a:extLst>
            </p:cNvPr>
            <p:cNvGrpSpPr/>
            <p:nvPr userDrawn="1"/>
          </p:nvGrpSpPr>
          <p:grpSpPr>
            <a:xfrm>
              <a:off x="9906579" y="1720842"/>
              <a:ext cx="304800" cy="304800"/>
              <a:chOff x="4748283" y="3386554"/>
              <a:chExt cx="548640" cy="548640"/>
            </a:xfrm>
          </p:grpSpPr>
          <p:sp>
            <p:nvSpPr>
              <p:cNvPr id="446" name="Rectangle 445">
                <a:extLst>
                  <a:ext uri="{FF2B5EF4-FFF2-40B4-BE49-F238E27FC236}">
                    <a16:creationId xmlns:a16="http://schemas.microsoft.com/office/drawing/2014/main" id="{41E071DB-0DDA-B34C-AB39-A3E6C3A412DA}"/>
                  </a:ext>
                </a:extLst>
              </p:cNvPr>
              <p:cNvSpPr/>
              <p:nvPr userDrawn="1"/>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47" name="Rectangle 446">
                <a:extLst>
                  <a:ext uri="{FF2B5EF4-FFF2-40B4-BE49-F238E27FC236}">
                    <a16:creationId xmlns:a16="http://schemas.microsoft.com/office/drawing/2014/main" id="{4B7E35A1-132C-754F-950B-7CBCB087D913}"/>
                  </a:ext>
                </a:extLst>
              </p:cNvPr>
              <p:cNvSpPr/>
              <p:nvPr userDrawn="1"/>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48" name="Rectangle 447">
                <a:extLst>
                  <a:ext uri="{FF2B5EF4-FFF2-40B4-BE49-F238E27FC236}">
                    <a16:creationId xmlns:a16="http://schemas.microsoft.com/office/drawing/2014/main" id="{20745239-C123-C44A-BB88-8EB50EDE843F}"/>
                  </a:ext>
                </a:extLst>
              </p:cNvPr>
              <p:cNvSpPr/>
              <p:nvPr userDrawn="1"/>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sp>
            <p:nvSpPr>
              <p:cNvPr id="449" name="Rectangle 448">
                <a:extLst>
                  <a:ext uri="{FF2B5EF4-FFF2-40B4-BE49-F238E27FC236}">
                    <a16:creationId xmlns:a16="http://schemas.microsoft.com/office/drawing/2014/main" id="{55EBCF78-5308-C540-ABE3-CAF92FF8F600}"/>
                  </a:ext>
                </a:extLst>
              </p:cNvPr>
              <p:cNvSpPr/>
              <p:nvPr userDrawn="1"/>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sym typeface="+mn-lt"/>
                </a:endParaRPr>
              </a:p>
            </p:txBody>
          </p:sp>
        </p:grpSp>
      </p:grpSp>
      <p:sp>
        <p:nvSpPr>
          <p:cNvPr id="480" name="TextBox 479">
            <a:extLst>
              <a:ext uri="{FF2B5EF4-FFF2-40B4-BE49-F238E27FC236}">
                <a16:creationId xmlns:a16="http://schemas.microsoft.com/office/drawing/2014/main" id="{342D7EB4-B12F-644A-9E0A-98B8EF09117E}"/>
              </a:ext>
            </a:extLst>
          </p:cNvPr>
          <p:cNvSpPr txBox="1"/>
          <p:nvPr userDrawn="1"/>
        </p:nvSpPr>
        <p:spPr>
          <a:xfrm>
            <a:off x="304800" y="3126887"/>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mn-lt"/>
                <a:ea typeface="+mn-ea"/>
                <a:cs typeface="+mn-cs"/>
                <a:sym typeface="+mn-lt"/>
              </a:rPr>
              <a:t>6 column</a:t>
            </a:r>
          </a:p>
        </p:txBody>
      </p:sp>
      <p:sp>
        <p:nvSpPr>
          <p:cNvPr id="481" name="TextBox 480">
            <a:extLst>
              <a:ext uri="{FF2B5EF4-FFF2-40B4-BE49-F238E27FC236}">
                <a16:creationId xmlns:a16="http://schemas.microsoft.com/office/drawing/2014/main" id="{7056B7B5-7702-9842-8ACC-189B0B1EC818}"/>
              </a:ext>
            </a:extLst>
          </p:cNvPr>
          <p:cNvSpPr txBox="1"/>
          <p:nvPr userDrawn="1"/>
        </p:nvSpPr>
        <p:spPr>
          <a:xfrm>
            <a:off x="304800" y="3823113"/>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mn-lt"/>
                <a:ea typeface="+mn-ea"/>
                <a:cs typeface="+mn-cs"/>
                <a:sym typeface="+mn-lt"/>
              </a:rPr>
              <a:t>5 column</a:t>
            </a:r>
          </a:p>
        </p:txBody>
      </p:sp>
      <p:sp>
        <p:nvSpPr>
          <p:cNvPr id="482" name="TextBox 481">
            <a:extLst>
              <a:ext uri="{FF2B5EF4-FFF2-40B4-BE49-F238E27FC236}">
                <a16:creationId xmlns:a16="http://schemas.microsoft.com/office/drawing/2014/main" id="{86211BCB-2DF9-6644-8DCD-BC5B31A507D4}"/>
              </a:ext>
            </a:extLst>
          </p:cNvPr>
          <p:cNvSpPr txBox="1"/>
          <p:nvPr userDrawn="1"/>
        </p:nvSpPr>
        <p:spPr>
          <a:xfrm>
            <a:off x="304800" y="4456624"/>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mn-lt"/>
                <a:ea typeface="+mn-ea"/>
                <a:cs typeface="+mn-cs"/>
                <a:sym typeface="+mn-lt"/>
              </a:rPr>
              <a:t>4 column</a:t>
            </a:r>
          </a:p>
        </p:txBody>
      </p:sp>
      <p:sp>
        <p:nvSpPr>
          <p:cNvPr id="483" name="TextBox 482">
            <a:extLst>
              <a:ext uri="{FF2B5EF4-FFF2-40B4-BE49-F238E27FC236}">
                <a16:creationId xmlns:a16="http://schemas.microsoft.com/office/drawing/2014/main" id="{480A6B41-B33C-4544-AA80-B05EA7E4F5F8}"/>
              </a:ext>
            </a:extLst>
          </p:cNvPr>
          <p:cNvSpPr txBox="1"/>
          <p:nvPr userDrawn="1"/>
        </p:nvSpPr>
        <p:spPr>
          <a:xfrm>
            <a:off x="304800" y="5094905"/>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mn-lt"/>
                <a:ea typeface="+mn-ea"/>
                <a:cs typeface="+mn-cs"/>
                <a:sym typeface="+mn-lt"/>
              </a:rPr>
              <a:t>3 column</a:t>
            </a:r>
          </a:p>
        </p:txBody>
      </p:sp>
      <p:sp>
        <p:nvSpPr>
          <p:cNvPr id="484" name="TextBox 483">
            <a:extLst>
              <a:ext uri="{FF2B5EF4-FFF2-40B4-BE49-F238E27FC236}">
                <a16:creationId xmlns:a16="http://schemas.microsoft.com/office/drawing/2014/main" id="{29F7A788-CE98-6246-ADB3-ACDB5AD10573}"/>
              </a:ext>
            </a:extLst>
          </p:cNvPr>
          <p:cNvSpPr txBox="1"/>
          <p:nvPr userDrawn="1"/>
        </p:nvSpPr>
        <p:spPr>
          <a:xfrm>
            <a:off x="304800" y="5751326"/>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mn-lt"/>
                <a:ea typeface="+mn-ea"/>
                <a:cs typeface="+mn-cs"/>
                <a:sym typeface="+mn-lt"/>
              </a:rPr>
              <a:t>2 column</a:t>
            </a:r>
          </a:p>
        </p:txBody>
      </p:sp>
      <p:sp>
        <p:nvSpPr>
          <p:cNvPr id="164" name="Slide Number Placeholder 2">
            <a:extLst>
              <a:ext uri="{FF2B5EF4-FFF2-40B4-BE49-F238E27FC236}">
                <a16:creationId xmlns:a16="http://schemas.microsoft.com/office/drawing/2014/main" id="{F03B75DB-F93B-BB4A-88B7-BC503665EB12}"/>
              </a:ext>
            </a:extLst>
          </p:cNvPr>
          <p:cNvSpPr>
            <a:spLocks noGrp="1"/>
          </p:cNvSpPr>
          <p:nvPr>
            <p:ph type="sldNum" sz="quarter" idx="10"/>
          </p:nvPr>
        </p:nvSpPr>
        <p:spPr>
          <a:xfrm>
            <a:off x="1" y="6553200"/>
            <a:ext cx="304799" cy="304799"/>
          </a:xfrm>
        </p:spPr>
        <p:txBody>
          <a:bodyPr/>
          <a:lstStyle>
            <a:lvl1pPr>
              <a:defRPr>
                <a:latin typeface="+mn-lt"/>
                <a:ea typeface="+mn-ea"/>
                <a:cs typeface="+mn-cs"/>
                <a:sym typeface="+mn-lt"/>
              </a:defRPr>
            </a:lvl1pPr>
          </a:lstStyle>
          <a:p>
            <a:fld id="{89006F1E-66CD-4A4B-9370-B4A3080F0E6C}" type="slidenum">
              <a:rPr lang="en-US" smtClean="0"/>
              <a:pPr/>
              <a:t>‹#›</a:t>
            </a:fld>
            <a:endParaRPr lang="en-US" dirty="0"/>
          </a:p>
        </p:txBody>
      </p:sp>
      <p:sp>
        <p:nvSpPr>
          <p:cNvPr id="165" name="Footer Placeholder 1">
            <a:extLst>
              <a:ext uri="{FF2B5EF4-FFF2-40B4-BE49-F238E27FC236}">
                <a16:creationId xmlns:a16="http://schemas.microsoft.com/office/drawing/2014/main" id="{32024396-8CE7-064A-913E-52749C1A59C6}"/>
              </a:ext>
            </a:extLst>
          </p:cNvPr>
          <p:cNvSpPr>
            <a:spLocks noGrp="1"/>
          </p:cNvSpPr>
          <p:nvPr>
            <p:ph type="ftr" sz="quarter" idx="14"/>
          </p:nvPr>
        </p:nvSpPr>
        <p:spPr>
          <a:xfrm>
            <a:off x="304798" y="6553201"/>
            <a:ext cx="3960000" cy="304800"/>
          </a:xfrm>
          <a:prstGeom prst="rect">
            <a:avLst/>
          </a:prstGeom>
        </p:spPr>
        <p:txBody>
          <a:bodyPr/>
          <a:lstStyle>
            <a:lvl1pPr>
              <a:defRPr>
                <a:solidFill>
                  <a:schemeClr val="accent5"/>
                </a:solidFill>
                <a:latin typeface="+mn-lt"/>
                <a:ea typeface="+mn-ea"/>
                <a:cs typeface="+mn-cs"/>
                <a:sym typeface="+mn-lt"/>
              </a:defRPr>
            </a:lvl1pPr>
          </a:lstStyle>
          <a:p>
            <a:r>
              <a:rPr lang="en-US"/>
              <a:t>system.support.fi@thermofisher.com | 31-August-2020</a:t>
            </a:r>
            <a:endParaRPr lang="en-US" dirty="0"/>
          </a:p>
        </p:txBody>
      </p:sp>
      <p:grpSp>
        <p:nvGrpSpPr>
          <p:cNvPr id="12" name="Group 11">
            <a:extLst>
              <a:ext uri="{FF2B5EF4-FFF2-40B4-BE49-F238E27FC236}">
                <a16:creationId xmlns:a16="http://schemas.microsoft.com/office/drawing/2014/main" id="{6F86E547-682A-6B4F-B0EC-65D336F3A540}"/>
              </a:ext>
            </a:extLst>
          </p:cNvPr>
          <p:cNvGrpSpPr/>
          <p:nvPr userDrawn="1"/>
        </p:nvGrpSpPr>
        <p:grpSpPr>
          <a:xfrm>
            <a:off x="300227" y="876301"/>
            <a:ext cx="11586972" cy="5676899"/>
            <a:chOff x="300227" y="876301"/>
            <a:chExt cx="11586972" cy="5676899"/>
          </a:xfrm>
        </p:grpSpPr>
        <p:sp>
          <p:nvSpPr>
            <p:cNvPr id="3" name="Rectangle 2">
              <a:extLst>
                <a:ext uri="{FF2B5EF4-FFF2-40B4-BE49-F238E27FC236}">
                  <a16:creationId xmlns:a16="http://schemas.microsoft.com/office/drawing/2014/main" id="{8EE04DA2-78B1-A642-A2C2-0873783B7B9C}"/>
                </a:ext>
              </a:extLst>
            </p:cNvPr>
            <p:cNvSpPr/>
            <p:nvPr userDrawn="1"/>
          </p:nvSpPr>
          <p:spPr>
            <a:xfrm>
              <a:off x="300227" y="876301"/>
              <a:ext cx="11586972" cy="5676899"/>
            </a:xfrm>
            <a:prstGeom prst="rect">
              <a:avLst/>
            </a:prstGeom>
            <a:noFill/>
            <a:ln>
              <a:solidFill>
                <a:schemeClr val="accent5">
                  <a:lumMod val="60000"/>
                  <a:lumOff val="40000"/>
                </a:schemeClr>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dirty="0">
                <a:latin typeface="+mn-lt"/>
                <a:ea typeface="+mn-ea"/>
                <a:cs typeface="+mn-cs"/>
                <a:sym typeface="+mn-lt"/>
              </a:endParaRPr>
            </a:p>
          </p:txBody>
        </p:sp>
        <p:cxnSp>
          <p:nvCxnSpPr>
            <p:cNvPr id="5" name="Straight Arrow Connector 4">
              <a:extLst>
                <a:ext uri="{FF2B5EF4-FFF2-40B4-BE49-F238E27FC236}">
                  <a16:creationId xmlns:a16="http://schemas.microsoft.com/office/drawing/2014/main" id="{73EED049-4AD2-0B49-BBEA-A4247ECC89A5}"/>
                </a:ext>
              </a:extLst>
            </p:cNvPr>
            <p:cNvCxnSpPr/>
            <p:nvPr userDrawn="1"/>
          </p:nvCxnSpPr>
          <p:spPr>
            <a:xfrm>
              <a:off x="474651" y="876301"/>
              <a:ext cx="0" cy="174504"/>
            </a:xfrm>
            <a:prstGeom prst="straightConnector1">
              <a:avLst/>
            </a:prstGeom>
            <a:ln w="127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1BA01FDD-B887-5D48-9BCC-AB3E59DA8C44}"/>
                </a:ext>
              </a:extLst>
            </p:cNvPr>
            <p:cNvSpPr txBox="1"/>
            <p:nvPr userDrawn="1"/>
          </p:nvSpPr>
          <p:spPr>
            <a:xfrm>
              <a:off x="579276" y="905884"/>
              <a:ext cx="3517997" cy="174504"/>
            </a:xfrm>
            <a:prstGeom prst="rect">
              <a:avLst/>
            </a:prstGeom>
            <a:noFill/>
          </p:spPr>
          <p:txBody>
            <a:bodyPr wrap="none" lIns="0" tIns="0" rIns="0" bIns="0" rtlCol="0">
              <a:normAutofit/>
            </a:bodyPr>
            <a:lstStyle/>
            <a:p>
              <a:pPr marL="0" indent="0" algn="l" defTabSz="914400">
                <a:lnSpc>
                  <a:spcPct val="120000"/>
                </a:lnSpc>
                <a:spcBef>
                  <a:spcPts val="200"/>
                </a:spcBef>
                <a:buClr>
                  <a:schemeClr val="tx2"/>
                </a:buClr>
                <a:buSzPct val="100000"/>
                <a:buFont typeface="Arial" panose="020B0604020202020204" pitchFamily="34" charset="0"/>
                <a:buNone/>
              </a:pPr>
              <a:r>
                <a:rPr lang="en-US" sz="1050" dirty="0">
                  <a:latin typeface="+mn-lt"/>
                  <a:ea typeface="+mn-ea"/>
                  <a:cs typeface="+mn-cs"/>
                  <a:sym typeface="+mn-lt"/>
                </a:rPr>
                <a:t>Safe zone</a:t>
              </a:r>
            </a:p>
          </p:txBody>
        </p:sp>
        <p:cxnSp>
          <p:nvCxnSpPr>
            <p:cNvPr id="171" name="Straight Arrow Connector 170">
              <a:extLst>
                <a:ext uri="{FF2B5EF4-FFF2-40B4-BE49-F238E27FC236}">
                  <a16:creationId xmlns:a16="http://schemas.microsoft.com/office/drawing/2014/main" id="{9BD67516-3606-FF42-BF2C-613E58799753}"/>
                </a:ext>
              </a:extLst>
            </p:cNvPr>
            <p:cNvCxnSpPr/>
            <p:nvPr userDrawn="1"/>
          </p:nvCxnSpPr>
          <p:spPr>
            <a:xfrm>
              <a:off x="474651" y="1455311"/>
              <a:ext cx="0" cy="174504"/>
            </a:xfrm>
            <a:prstGeom prst="straightConnector1">
              <a:avLst/>
            </a:prstGeom>
            <a:ln w="127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4E864EDE-9D5F-984C-A44E-2B8534B762A2}"/>
                </a:ext>
              </a:extLst>
            </p:cNvPr>
            <p:cNvSpPr txBox="1"/>
            <p:nvPr userDrawn="1"/>
          </p:nvSpPr>
          <p:spPr>
            <a:xfrm>
              <a:off x="579276" y="1484894"/>
              <a:ext cx="3517997" cy="174504"/>
            </a:xfrm>
            <a:prstGeom prst="rect">
              <a:avLst/>
            </a:prstGeom>
            <a:noFill/>
          </p:spPr>
          <p:txBody>
            <a:bodyPr wrap="none" lIns="0" tIns="0" rIns="0" bIns="0" rtlCol="0">
              <a:normAutofit/>
            </a:bodyPr>
            <a:lstStyle/>
            <a:p>
              <a:pPr marL="0" indent="0" algn="l" defTabSz="914400">
                <a:lnSpc>
                  <a:spcPct val="120000"/>
                </a:lnSpc>
                <a:spcBef>
                  <a:spcPts val="200"/>
                </a:spcBef>
                <a:buClr>
                  <a:schemeClr val="tx2"/>
                </a:buClr>
                <a:buSzPct val="100000"/>
                <a:buFont typeface="Arial" panose="020B0604020202020204" pitchFamily="34" charset="0"/>
                <a:buNone/>
              </a:pPr>
              <a:r>
                <a:rPr lang="en-US" sz="1050" dirty="0">
                  <a:latin typeface="+mn-lt"/>
                  <a:ea typeface="+mn-ea"/>
                  <a:cs typeface="+mn-cs"/>
                  <a:sym typeface="+mn-lt"/>
                </a:rPr>
                <a:t>Safe zone with sub-title</a:t>
              </a:r>
            </a:p>
          </p:txBody>
        </p:sp>
        <p:cxnSp>
          <p:nvCxnSpPr>
            <p:cNvPr id="8" name="Straight Connector 7">
              <a:extLst>
                <a:ext uri="{FF2B5EF4-FFF2-40B4-BE49-F238E27FC236}">
                  <a16:creationId xmlns:a16="http://schemas.microsoft.com/office/drawing/2014/main" id="{11BD3366-59E4-7A48-9F82-4F24D0C736CB}"/>
                </a:ext>
              </a:extLst>
            </p:cNvPr>
            <p:cNvCxnSpPr>
              <a:cxnSpLocks/>
            </p:cNvCxnSpPr>
            <p:nvPr userDrawn="1"/>
          </p:nvCxnSpPr>
          <p:spPr>
            <a:xfrm>
              <a:off x="300227" y="1455311"/>
              <a:ext cx="11586972" cy="0"/>
            </a:xfrm>
            <a:prstGeom prst="line">
              <a:avLst/>
            </a:prstGeom>
            <a:noFill/>
            <a:ln>
              <a:solidFill>
                <a:schemeClr val="accent5">
                  <a:lumMod val="60000"/>
                  <a:lumOff val="40000"/>
                </a:schemeClr>
              </a:solidFill>
              <a:prstDash val="dash"/>
            </a:ln>
          </p:spPr>
          <p:style>
            <a:lnRef idx="2">
              <a:schemeClr val="accent6"/>
            </a:lnRef>
            <a:fillRef idx="1">
              <a:schemeClr val="lt1"/>
            </a:fillRef>
            <a:effectRef idx="0">
              <a:schemeClr val="accent6"/>
            </a:effectRef>
            <a:fontRef idx="minor">
              <a:schemeClr val="dk1"/>
            </a:fontRef>
          </p:style>
        </p:cxnSp>
      </p:grpSp>
      <p:grpSp>
        <p:nvGrpSpPr>
          <p:cNvPr id="16" name="Group 15">
            <a:extLst>
              <a:ext uri="{FF2B5EF4-FFF2-40B4-BE49-F238E27FC236}">
                <a16:creationId xmlns:a16="http://schemas.microsoft.com/office/drawing/2014/main" id="{69B2DC8A-7A6F-9644-8D71-F808322A48E6}"/>
              </a:ext>
            </a:extLst>
          </p:cNvPr>
          <p:cNvGrpSpPr/>
          <p:nvPr userDrawn="1"/>
        </p:nvGrpSpPr>
        <p:grpSpPr>
          <a:xfrm>
            <a:off x="2083982" y="1584073"/>
            <a:ext cx="8024037" cy="1628059"/>
            <a:chOff x="2105247" y="1591161"/>
            <a:chExt cx="8024037" cy="1628059"/>
          </a:xfrm>
        </p:grpSpPr>
        <p:pic>
          <p:nvPicPr>
            <p:cNvPr id="180" name="Picture 179">
              <a:extLst>
                <a:ext uri="{FF2B5EF4-FFF2-40B4-BE49-F238E27FC236}">
                  <a16:creationId xmlns:a16="http://schemas.microsoft.com/office/drawing/2014/main" id="{7DE60FB9-62FE-9C46-B40B-0229DBC6F0D9}"/>
                </a:ext>
              </a:extLst>
            </p:cNvPr>
            <p:cNvPicPr>
              <a:picLocks noChangeAspect="1"/>
            </p:cNvPicPr>
            <p:nvPr userDrawn="1"/>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3874331" y="1591161"/>
              <a:ext cx="4443338" cy="1542319"/>
            </a:xfrm>
            <a:prstGeom prst="rect">
              <a:avLst/>
            </a:prstGeom>
          </p:spPr>
        </p:pic>
        <p:sp>
          <p:nvSpPr>
            <p:cNvPr id="179" name="Parallelogram 178">
              <a:extLst>
                <a:ext uri="{FF2B5EF4-FFF2-40B4-BE49-F238E27FC236}">
                  <a16:creationId xmlns:a16="http://schemas.microsoft.com/office/drawing/2014/main" id="{C604ECB2-C049-5D43-9BEB-15DEE7EE1A1E}"/>
                </a:ext>
              </a:extLst>
            </p:cNvPr>
            <p:cNvSpPr>
              <a:spLocks/>
            </p:cNvSpPr>
            <p:nvPr userDrawn="1"/>
          </p:nvSpPr>
          <p:spPr bwMode="auto">
            <a:xfrm>
              <a:off x="2105247" y="1611455"/>
              <a:ext cx="8024037" cy="1607765"/>
            </a:xfrm>
            <a:prstGeom prst="parallelogram">
              <a:avLst>
                <a:gd name="adj" fmla="val 31844"/>
              </a:avLst>
            </a:prstGeom>
            <a:noFill/>
            <a:ln w="6350" cap="flat" cmpd="sng" algn="ctr">
              <a:solidFill>
                <a:schemeClr val="accent5">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r>
                <a:rPr lang="en-US" sz="1800" dirty="0">
                  <a:latin typeface="+mn-lt"/>
                  <a:ea typeface="+mn-ea"/>
                  <a:cs typeface="+mn-cs"/>
                  <a:sym typeface="+mn-lt"/>
                </a:rPr>
                <a:t> </a:t>
              </a:r>
            </a:p>
          </p:txBody>
        </p:sp>
        <p:cxnSp>
          <p:nvCxnSpPr>
            <p:cNvPr id="14" name="Straight Connector 13">
              <a:extLst>
                <a:ext uri="{FF2B5EF4-FFF2-40B4-BE49-F238E27FC236}">
                  <a16:creationId xmlns:a16="http://schemas.microsoft.com/office/drawing/2014/main" id="{995298F5-F7FE-A248-809C-3B79A412B130}"/>
                </a:ext>
              </a:extLst>
            </p:cNvPr>
            <p:cNvCxnSpPr/>
            <p:nvPr userDrawn="1"/>
          </p:nvCxnSpPr>
          <p:spPr>
            <a:xfrm flipV="1">
              <a:off x="6265284"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sp>
          <p:nvSpPr>
            <p:cNvPr id="186" name="TextBox 185">
              <a:extLst>
                <a:ext uri="{FF2B5EF4-FFF2-40B4-BE49-F238E27FC236}">
                  <a16:creationId xmlns:a16="http://schemas.microsoft.com/office/drawing/2014/main" id="{2E915A16-BE94-8648-888A-1C89BAA886EB}"/>
                </a:ext>
              </a:extLst>
            </p:cNvPr>
            <p:cNvSpPr txBox="1"/>
            <p:nvPr userDrawn="1"/>
          </p:nvSpPr>
          <p:spPr>
            <a:xfrm>
              <a:off x="2682698" y="2296374"/>
              <a:ext cx="873729" cy="174504"/>
            </a:xfrm>
            <a:prstGeom prst="rect">
              <a:avLst/>
            </a:prstGeom>
            <a:noFill/>
          </p:spPr>
          <p:txBody>
            <a:bodyPr wrap="none" lIns="0" tIns="0" rIns="0" bIns="0" rtlCol="0">
              <a:normAutofit/>
            </a:bodyPr>
            <a:lstStyle/>
            <a:p>
              <a:pPr marL="0" indent="0" algn="ctr" defTabSz="914400">
                <a:lnSpc>
                  <a:spcPct val="120000"/>
                </a:lnSpc>
                <a:spcBef>
                  <a:spcPts val="200"/>
                </a:spcBef>
                <a:buClr>
                  <a:schemeClr val="tx2"/>
                </a:buClr>
                <a:buSzPct val="100000"/>
                <a:buFont typeface="Arial" panose="020B0604020202020204" pitchFamily="34" charset="0"/>
                <a:buNone/>
              </a:pPr>
              <a:r>
                <a:rPr lang="en-US" sz="1050" dirty="0">
                  <a:latin typeface="+mn-lt"/>
                  <a:ea typeface="+mn-ea"/>
                  <a:cs typeface="+mn-cs"/>
                  <a:sym typeface="+mn-lt"/>
                </a:rPr>
                <a:t>Angle Guide</a:t>
              </a:r>
            </a:p>
          </p:txBody>
        </p:sp>
        <p:sp>
          <p:nvSpPr>
            <p:cNvPr id="187" name="TextBox 186">
              <a:extLst>
                <a:ext uri="{FF2B5EF4-FFF2-40B4-BE49-F238E27FC236}">
                  <a16:creationId xmlns:a16="http://schemas.microsoft.com/office/drawing/2014/main" id="{E5BD1D51-69A2-4F40-9366-6263E56C9410}"/>
                </a:ext>
              </a:extLst>
            </p:cNvPr>
            <p:cNvSpPr txBox="1"/>
            <p:nvPr userDrawn="1"/>
          </p:nvSpPr>
          <p:spPr>
            <a:xfrm>
              <a:off x="8580213" y="2296374"/>
              <a:ext cx="873729" cy="174504"/>
            </a:xfrm>
            <a:prstGeom prst="rect">
              <a:avLst/>
            </a:prstGeom>
            <a:noFill/>
          </p:spPr>
          <p:txBody>
            <a:bodyPr wrap="none" lIns="0" tIns="0" rIns="0" bIns="0" rtlCol="0">
              <a:normAutofit/>
            </a:bodyPr>
            <a:lstStyle/>
            <a:p>
              <a:pPr marL="0" indent="0" algn="ctr" defTabSz="914400">
                <a:lnSpc>
                  <a:spcPct val="120000"/>
                </a:lnSpc>
                <a:spcBef>
                  <a:spcPts val="200"/>
                </a:spcBef>
                <a:buClr>
                  <a:schemeClr val="tx2"/>
                </a:buClr>
                <a:buSzPct val="100000"/>
                <a:buFont typeface="Arial" panose="020B0604020202020204" pitchFamily="34" charset="0"/>
                <a:buNone/>
              </a:pPr>
              <a:r>
                <a:rPr lang="en-US" sz="1050" dirty="0">
                  <a:latin typeface="+mn-lt"/>
                  <a:ea typeface="+mn-ea"/>
                  <a:cs typeface="+mn-cs"/>
                  <a:sym typeface="+mn-lt"/>
                </a:rPr>
                <a:t>Angle Guide</a:t>
              </a:r>
            </a:p>
          </p:txBody>
        </p:sp>
        <p:cxnSp>
          <p:nvCxnSpPr>
            <p:cNvPr id="189" name="Straight Connector 188">
              <a:extLst>
                <a:ext uri="{FF2B5EF4-FFF2-40B4-BE49-F238E27FC236}">
                  <a16:creationId xmlns:a16="http://schemas.microsoft.com/office/drawing/2014/main" id="{C216DAF5-4369-B241-B946-0ED9F3E7EC5D}"/>
                </a:ext>
              </a:extLst>
            </p:cNvPr>
            <p:cNvCxnSpPr/>
            <p:nvPr userDrawn="1"/>
          </p:nvCxnSpPr>
          <p:spPr>
            <a:xfrm flipV="1">
              <a:off x="3649675"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cxnSp>
          <p:nvCxnSpPr>
            <p:cNvPr id="190" name="Straight Connector 189">
              <a:extLst>
                <a:ext uri="{FF2B5EF4-FFF2-40B4-BE49-F238E27FC236}">
                  <a16:creationId xmlns:a16="http://schemas.microsoft.com/office/drawing/2014/main" id="{8E1CD583-1C76-814A-860F-230F9D23AD6A}"/>
                </a:ext>
              </a:extLst>
            </p:cNvPr>
            <p:cNvCxnSpPr/>
            <p:nvPr userDrawn="1"/>
          </p:nvCxnSpPr>
          <p:spPr>
            <a:xfrm flipV="1">
              <a:off x="7921380"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grpSp>
    </p:spTree>
    <p:extLst>
      <p:ext uri="{BB962C8B-B14F-4D97-AF65-F5344CB8AC3E}">
        <p14:creationId xmlns:p14="http://schemas.microsoft.com/office/powerpoint/2010/main" val="38432723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Nagłówek sekcj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odtytuł 2">
            <a:extLst>
              <a:ext uri="{FF2B5EF4-FFF2-40B4-BE49-F238E27FC236}">
                <a16:creationId xmlns:a16="http://schemas.microsoft.com/office/drawing/2014/main" id="{C4AC6E77-9CAB-45C6-AB3C-E453C86DCA61}"/>
              </a:ext>
            </a:extLst>
          </p:cNvPr>
          <p:cNvSpPr>
            <a:spLocks noGrp="1"/>
          </p:cNvSpPr>
          <p:nvPr>
            <p:ph type="subTitle" idx="1"/>
          </p:nvPr>
        </p:nvSpPr>
        <p:spPr>
          <a:xfrm>
            <a:off x="815009" y="4277496"/>
            <a:ext cx="8176591" cy="1569307"/>
          </a:xfrm>
        </p:spPr>
        <p:txBody>
          <a:bodyPr>
            <a:normAutofit/>
          </a:bodyPr>
          <a:lstStyle>
            <a:lvl1pPr marL="0" indent="0" algn="l">
              <a:buNone/>
              <a:defRPr sz="2200" b="0" i="0">
                <a:solidFill>
                  <a:schemeClr val="bg1"/>
                </a:solidFill>
                <a:latin typeface="+mn-lt"/>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l-PL" dirty="0"/>
              <a:t>Kliknij, aby edytować styl wzorca podtytułu</a:t>
            </a:r>
          </a:p>
        </p:txBody>
      </p:sp>
      <p:sp>
        <p:nvSpPr>
          <p:cNvPr id="7" name="Tytuł 1">
            <a:extLst>
              <a:ext uri="{FF2B5EF4-FFF2-40B4-BE49-F238E27FC236}">
                <a16:creationId xmlns:a16="http://schemas.microsoft.com/office/drawing/2014/main" id="{3DF8A047-E12E-47E4-9138-0BB49D7DA8A2}"/>
              </a:ext>
            </a:extLst>
          </p:cNvPr>
          <p:cNvSpPr>
            <a:spLocks noGrp="1"/>
          </p:cNvSpPr>
          <p:nvPr>
            <p:ph type="title" idx="11"/>
          </p:nvPr>
        </p:nvSpPr>
        <p:spPr>
          <a:xfrm>
            <a:off x="815009" y="2209800"/>
            <a:ext cx="8176591" cy="1907053"/>
          </a:xfrm>
          <a:prstGeom prst="rect">
            <a:avLst/>
          </a:prstGeom>
        </p:spPr>
        <p:txBody>
          <a:bodyPr vert="horz" rtlCol="0" anchor="b">
            <a:normAutofit/>
          </a:bodyPr>
          <a:lstStyle>
            <a:lvl1pPr lvl="0" algn="l">
              <a:defRPr lang="en-US" sz="4000" b="1" i="0" dirty="0">
                <a:solidFill>
                  <a:schemeClr val="accent1"/>
                </a:solidFill>
                <a:latin typeface="+mj-lt"/>
              </a:defRPr>
            </a:lvl1pPr>
          </a:lstStyle>
          <a:p>
            <a:r>
              <a:rPr lang="en-US" dirty="0"/>
              <a:t>Kliknij, aby edytować sty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Nagłówek sekcj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odtytuł 2">
            <a:extLst>
              <a:ext uri="{FF2B5EF4-FFF2-40B4-BE49-F238E27FC236}">
                <a16:creationId xmlns:a16="http://schemas.microsoft.com/office/drawing/2014/main" id="{9126A8AF-6166-46A0-8DCB-5ECDD79F34E4}"/>
              </a:ext>
            </a:extLst>
          </p:cNvPr>
          <p:cNvSpPr>
            <a:spLocks noGrp="1"/>
          </p:cNvSpPr>
          <p:nvPr>
            <p:ph type="subTitle" idx="1"/>
          </p:nvPr>
        </p:nvSpPr>
        <p:spPr>
          <a:xfrm>
            <a:off x="815009" y="4277496"/>
            <a:ext cx="8176591" cy="1569307"/>
          </a:xfrm>
        </p:spPr>
        <p:txBody>
          <a:bodyPr>
            <a:normAutofit/>
          </a:bodyPr>
          <a:lstStyle>
            <a:lvl1pPr marL="0" indent="0" algn="l">
              <a:buNone/>
              <a:defRPr sz="2200" b="0" i="0">
                <a:solidFill>
                  <a:schemeClr val="bg1"/>
                </a:solidFill>
                <a:latin typeface="+mn-lt"/>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l-PL" dirty="0"/>
              <a:t>Kliknij, aby edytować styl wzorca podtytułu</a:t>
            </a:r>
          </a:p>
        </p:txBody>
      </p:sp>
      <p:sp>
        <p:nvSpPr>
          <p:cNvPr id="7" name="Tytuł 1">
            <a:extLst>
              <a:ext uri="{FF2B5EF4-FFF2-40B4-BE49-F238E27FC236}">
                <a16:creationId xmlns:a16="http://schemas.microsoft.com/office/drawing/2014/main" id="{839EF212-A216-493C-B428-1D5E96AEA9E9}"/>
              </a:ext>
            </a:extLst>
          </p:cNvPr>
          <p:cNvSpPr>
            <a:spLocks noGrp="1"/>
          </p:cNvSpPr>
          <p:nvPr>
            <p:ph type="title" idx="11"/>
          </p:nvPr>
        </p:nvSpPr>
        <p:spPr>
          <a:xfrm>
            <a:off x="815009" y="2209800"/>
            <a:ext cx="8176591" cy="1907053"/>
          </a:xfrm>
          <a:prstGeom prst="rect">
            <a:avLst/>
          </a:prstGeom>
        </p:spPr>
        <p:txBody>
          <a:bodyPr vert="horz" rtlCol="0" anchor="b">
            <a:normAutofit/>
          </a:bodyPr>
          <a:lstStyle>
            <a:lvl1pPr lvl="0" algn="l">
              <a:defRPr lang="en-US" sz="4000" b="1" i="0" dirty="0">
                <a:solidFill>
                  <a:schemeClr val="bg1"/>
                </a:solidFill>
                <a:latin typeface="+mj-lt"/>
              </a:defRPr>
            </a:lvl1pPr>
          </a:lstStyle>
          <a:p>
            <a:r>
              <a:rPr lang="en-US" dirty="0"/>
              <a:t>Kliknij, aby edytować sty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Nagłówek sekcj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odtytuł 2">
            <a:extLst>
              <a:ext uri="{FF2B5EF4-FFF2-40B4-BE49-F238E27FC236}">
                <a16:creationId xmlns:a16="http://schemas.microsoft.com/office/drawing/2014/main" id="{89A93D28-10AD-4F8C-B378-D140F8C297DB}"/>
              </a:ext>
            </a:extLst>
          </p:cNvPr>
          <p:cNvSpPr>
            <a:spLocks noGrp="1"/>
          </p:cNvSpPr>
          <p:nvPr>
            <p:ph type="subTitle" idx="1"/>
          </p:nvPr>
        </p:nvSpPr>
        <p:spPr>
          <a:xfrm>
            <a:off x="815009" y="4277496"/>
            <a:ext cx="8176591" cy="1569307"/>
          </a:xfrm>
        </p:spPr>
        <p:txBody>
          <a:bodyPr>
            <a:normAutofit/>
          </a:bodyPr>
          <a:lstStyle>
            <a:lvl1pPr marL="0" indent="0" algn="l">
              <a:buNone/>
              <a:defRPr sz="2200" b="0" i="0">
                <a:latin typeface="+mn-lt"/>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l-PL" dirty="0"/>
              <a:t>Kliknij, aby edytować styl wzorca podtytułu</a:t>
            </a:r>
          </a:p>
        </p:txBody>
      </p:sp>
      <p:sp>
        <p:nvSpPr>
          <p:cNvPr id="5" name="Tytuł 1">
            <a:extLst>
              <a:ext uri="{FF2B5EF4-FFF2-40B4-BE49-F238E27FC236}">
                <a16:creationId xmlns:a16="http://schemas.microsoft.com/office/drawing/2014/main" id="{43979EC7-1E94-4CF8-9FFE-7E2F5D90B712}"/>
              </a:ext>
            </a:extLst>
          </p:cNvPr>
          <p:cNvSpPr>
            <a:spLocks noGrp="1"/>
          </p:cNvSpPr>
          <p:nvPr>
            <p:ph type="title" idx="11"/>
          </p:nvPr>
        </p:nvSpPr>
        <p:spPr>
          <a:xfrm>
            <a:off x="815009" y="2057400"/>
            <a:ext cx="8176591" cy="2059453"/>
          </a:xfrm>
          <a:prstGeom prst="rect">
            <a:avLst/>
          </a:prstGeom>
        </p:spPr>
        <p:txBody>
          <a:bodyPr vert="horz" rtlCol="0" anchor="b">
            <a:normAutofit/>
          </a:bodyPr>
          <a:lstStyle>
            <a:lvl1pPr lvl="0" algn="l">
              <a:defRPr lang="en-US" sz="4000" b="1" i="0" dirty="0">
                <a:solidFill>
                  <a:schemeClr val="accent1"/>
                </a:solidFill>
                <a:latin typeface="+mj-lt"/>
              </a:defRPr>
            </a:lvl1pPr>
          </a:lstStyle>
          <a:p>
            <a:r>
              <a:rPr lang="en-US" dirty="0"/>
              <a:t>Kliknij, aby edytować sty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ytuł i zawartoś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ytuł 1"/>
          <p:cNvSpPr>
            <a:spLocks noGrp="1"/>
          </p:cNvSpPr>
          <p:nvPr>
            <p:ph type="title" idx="10"/>
          </p:nvPr>
        </p:nvSpPr>
        <p:spPr>
          <a:xfrm>
            <a:off x="838200" y="668214"/>
            <a:ext cx="10515600" cy="1008186"/>
          </a:xfrm>
          <a:prstGeom prst="rect">
            <a:avLst/>
          </a:prstGeom>
        </p:spPr>
        <p:txBody>
          <a:bodyPr vert="horz" rtlCol="0" anchor="t">
            <a:normAutofit/>
          </a:bodyPr>
          <a:lstStyle>
            <a:lvl1pPr lvl="0">
              <a:defRPr lang="en-US" sz="3000" b="1" i="0" dirty="0">
                <a:solidFill>
                  <a:schemeClr val="accent1"/>
                </a:solidFill>
                <a:latin typeface="+mj-lt"/>
              </a:defRPr>
            </a:lvl1pPr>
          </a:lstStyle>
          <a:p>
            <a:r>
              <a:rPr lang="en-US" dirty="0"/>
              <a:t>Kliknij, aby edytować styl</a:t>
            </a:r>
          </a:p>
        </p:txBody>
      </p:sp>
      <p:sp>
        <p:nvSpPr>
          <p:cNvPr id="4" name="Symbol zastępczy tekstu 11">
            <a:extLst>
              <a:ext uri="{FF2B5EF4-FFF2-40B4-BE49-F238E27FC236}">
                <a16:creationId xmlns:a16="http://schemas.microsoft.com/office/drawing/2014/main" id="{D27E5A30-8C75-B848-B23A-B7F12A4E55BF}"/>
              </a:ext>
            </a:extLst>
          </p:cNvPr>
          <p:cNvSpPr>
            <a:spLocks noGrp="1"/>
          </p:cNvSpPr>
          <p:nvPr>
            <p:ph type="body" sz="quarter" idx="13"/>
          </p:nvPr>
        </p:nvSpPr>
        <p:spPr>
          <a:xfrm>
            <a:off x="838200" y="1817077"/>
            <a:ext cx="10515600" cy="3897924"/>
          </a:xfrm>
        </p:spPr>
        <p:txBody>
          <a:bodyPr>
            <a:normAutofit/>
          </a:bodyPr>
          <a:lstStyle>
            <a:lvl1pPr marL="0" indent="0">
              <a:lnSpc>
                <a:spcPct val="100000"/>
              </a:lnSpc>
              <a:buFontTx/>
              <a:buNone/>
              <a:defRPr sz="2000" b="0" i="0">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pl-PL" dirty="0"/>
              <a:t>Kliknij, aby edytować style wzorca tekstu</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ytuł i zawartoś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ytuł 1"/>
          <p:cNvSpPr>
            <a:spLocks noGrp="1"/>
          </p:cNvSpPr>
          <p:nvPr>
            <p:ph type="title" idx="10"/>
          </p:nvPr>
        </p:nvSpPr>
        <p:spPr>
          <a:xfrm>
            <a:off x="838200" y="668214"/>
            <a:ext cx="10515600" cy="1008186"/>
          </a:xfrm>
          <a:prstGeom prst="rect">
            <a:avLst/>
          </a:prstGeom>
        </p:spPr>
        <p:txBody>
          <a:bodyPr vert="horz" rtlCol="0" anchor="t">
            <a:normAutofit/>
          </a:bodyPr>
          <a:lstStyle>
            <a:lvl1pPr lvl="0">
              <a:defRPr lang="en-US" sz="3000" b="1" i="0" dirty="0">
                <a:solidFill>
                  <a:schemeClr val="accent1"/>
                </a:solidFill>
                <a:latin typeface="+mj-lt"/>
              </a:defRPr>
            </a:lvl1pPr>
          </a:lstStyle>
          <a:p>
            <a:r>
              <a:rPr lang="en-US" dirty="0"/>
              <a:t>Kliknij, aby edytować styl</a:t>
            </a:r>
          </a:p>
        </p:txBody>
      </p:sp>
      <p:graphicFrame>
        <p:nvGraphicFramePr>
          <p:cNvPr id="3" name="Tabela 4">
            <a:extLst>
              <a:ext uri="{FF2B5EF4-FFF2-40B4-BE49-F238E27FC236}">
                <a16:creationId xmlns:a16="http://schemas.microsoft.com/office/drawing/2014/main" id="{4F352AD2-7E2F-4BF3-AC64-26C07AEEDCC8}"/>
              </a:ext>
            </a:extLst>
          </p:cNvPr>
          <p:cNvGraphicFramePr>
            <a:graphicFrameLocks noGrp="1"/>
          </p:cNvGraphicFramePr>
          <p:nvPr userDrawn="1">
            <p:extLst>
              <p:ext uri="{D42A27DB-BD31-4B8C-83A1-F6EECF244321}">
                <p14:modId xmlns:p14="http://schemas.microsoft.com/office/powerpoint/2010/main" val="336884445"/>
              </p:ext>
            </p:extLst>
          </p:nvPr>
        </p:nvGraphicFramePr>
        <p:xfrm>
          <a:off x="838200" y="2133600"/>
          <a:ext cx="10515600" cy="259080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319367968"/>
                    </a:ext>
                  </a:extLst>
                </a:gridCol>
                <a:gridCol w="3505200">
                  <a:extLst>
                    <a:ext uri="{9D8B030D-6E8A-4147-A177-3AD203B41FA5}">
                      <a16:colId xmlns:a16="http://schemas.microsoft.com/office/drawing/2014/main" val="3887553920"/>
                    </a:ext>
                  </a:extLst>
                </a:gridCol>
                <a:gridCol w="3505200">
                  <a:extLst>
                    <a:ext uri="{9D8B030D-6E8A-4147-A177-3AD203B41FA5}">
                      <a16:colId xmlns:a16="http://schemas.microsoft.com/office/drawing/2014/main" val="1070879114"/>
                    </a:ext>
                  </a:extLst>
                </a:gridCol>
              </a:tblGrid>
              <a:tr h="647700">
                <a:tc>
                  <a:txBody>
                    <a:bodyPr/>
                    <a:lstStyle/>
                    <a:p>
                      <a:r>
                        <a:rPr lang="pl-PL" dirty="0" err="1"/>
                        <a:t>Lorem</a:t>
                      </a:r>
                      <a:r>
                        <a:rPr lang="pl-PL" dirty="0"/>
                        <a:t> </a:t>
                      </a:r>
                      <a:r>
                        <a:rPr lang="pl-PL" dirty="0" err="1"/>
                        <a:t>ipsum</a:t>
                      </a:r>
                      <a:endParaRPr lang="pl-PL" dirty="0"/>
                    </a:p>
                  </a:txBody>
                  <a:tcPr anchor="ctr"/>
                </a:tc>
                <a:tc>
                  <a:txBody>
                    <a:bodyPr/>
                    <a:lstStyle/>
                    <a:p>
                      <a:r>
                        <a:rPr lang="pl-PL" dirty="0" err="1"/>
                        <a:t>Lorem</a:t>
                      </a:r>
                      <a:r>
                        <a:rPr lang="pl-PL" dirty="0"/>
                        <a:t> </a:t>
                      </a:r>
                      <a:r>
                        <a:rPr lang="pl-PL" dirty="0" err="1"/>
                        <a:t>ipsum</a:t>
                      </a:r>
                      <a:endParaRPr lang="pl-PL" dirty="0"/>
                    </a:p>
                  </a:txBody>
                  <a:tcPr anchor="ctr"/>
                </a:tc>
                <a:tc>
                  <a:txBody>
                    <a:bodyPr/>
                    <a:lstStyle/>
                    <a:p>
                      <a:r>
                        <a:rPr lang="pl-PL" dirty="0" err="1"/>
                        <a:t>Lorem</a:t>
                      </a:r>
                      <a:r>
                        <a:rPr lang="pl-PL" dirty="0"/>
                        <a:t> </a:t>
                      </a:r>
                      <a:r>
                        <a:rPr lang="pl-PL" dirty="0" err="1"/>
                        <a:t>ipsum</a:t>
                      </a:r>
                      <a:endParaRPr lang="pl-PL" dirty="0"/>
                    </a:p>
                  </a:txBody>
                  <a:tcPr anchor="ctr"/>
                </a:tc>
                <a:extLst>
                  <a:ext uri="{0D108BD9-81ED-4DB2-BD59-A6C34878D82A}">
                    <a16:rowId xmlns:a16="http://schemas.microsoft.com/office/drawing/2014/main" val="1634215462"/>
                  </a:ext>
                </a:extLst>
              </a:tr>
              <a:tr h="647700">
                <a:tc>
                  <a:txBody>
                    <a:bodyPr/>
                    <a:lstStyle/>
                    <a:p>
                      <a:r>
                        <a:rPr lang="pl-PL" sz="1600" dirty="0" err="1"/>
                        <a:t>Lorem</a:t>
                      </a:r>
                      <a:r>
                        <a:rPr lang="pl-PL" sz="1600" dirty="0"/>
                        <a:t> </a:t>
                      </a:r>
                      <a:r>
                        <a:rPr lang="pl-PL" sz="1600" dirty="0" err="1"/>
                        <a:t>ipsum</a:t>
                      </a:r>
                      <a:endParaRPr lang="pl-PL" sz="1600" dirty="0"/>
                    </a:p>
                  </a:txBody>
                  <a:tcPr>
                    <a:solidFill>
                      <a:schemeClr val="bg1">
                        <a:lumMod val="95000"/>
                      </a:schemeClr>
                    </a:solidFill>
                  </a:tcPr>
                </a:tc>
                <a:tc>
                  <a:txBody>
                    <a:bodyPr/>
                    <a:lstStyle/>
                    <a:p>
                      <a:r>
                        <a:rPr lang="pl-PL" sz="1600" dirty="0" err="1"/>
                        <a:t>Lorem</a:t>
                      </a:r>
                      <a:r>
                        <a:rPr lang="pl-PL" sz="1600" dirty="0"/>
                        <a:t> </a:t>
                      </a:r>
                      <a:r>
                        <a:rPr lang="pl-PL" sz="1600" dirty="0" err="1"/>
                        <a:t>ipsum</a:t>
                      </a:r>
                      <a:endParaRPr lang="pl-PL" sz="1600" dirty="0"/>
                    </a:p>
                  </a:txBody>
                  <a:tcPr>
                    <a:solidFill>
                      <a:schemeClr val="bg1">
                        <a:lumMod val="95000"/>
                      </a:schemeClr>
                    </a:solidFill>
                  </a:tcPr>
                </a:tc>
                <a:tc>
                  <a:txBody>
                    <a:bodyPr/>
                    <a:lstStyle/>
                    <a:p>
                      <a:r>
                        <a:rPr lang="pl-PL" sz="1600" dirty="0" err="1"/>
                        <a:t>Lorem</a:t>
                      </a:r>
                      <a:r>
                        <a:rPr lang="pl-PL" sz="1600" dirty="0"/>
                        <a:t> </a:t>
                      </a:r>
                      <a:r>
                        <a:rPr lang="pl-PL" sz="1600" dirty="0" err="1"/>
                        <a:t>ipsum</a:t>
                      </a:r>
                      <a:endParaRPr lang="pl-PL" sz="1600" dirty="0"/>
                    </a:p>
                  </a:txBody>
                  <a:tcPr>
                    <a:solidFill>
                      <a:schemeClr val="bg1">
                        <a:lumMod val="95000"/>
                      </a:schemeClr>
                    </a:solidFill>
                  </a:tcPr>
                </a:tc>
                <a:extLst>
                  <a:ext uri="{0D108BD9-81ED-4DB2-BD59-A6C34878D82A}">
                    <a16:rowId xmlns:a16="http://schemas.microsoft.com/office/drawing/2014/main" val="2078534205"/>
                  </a:ext>
                </a:extLst>
              </a:tr>
              <a:tr h="647700">
                <a:tc>
                  <a:txBody>
                    <a:bodyPr/>
                    <a:lstStyle/>
                    <a:p>
                      <a:r>
                        <a:rPr lang="pl-PL" sz="1600" dirty="0" err="1"/>
                        <a:t>Lorem</a:t>
                      </a:r>
                      <a:r>
                        <a:rPr lang="pl-PL" sz="1600" dirty="0"/>
                        <a:t> </a:t>
                      </a:r>
                      <a:r>
                        <a:rPr lang="pl-PL" sz="1600" dirty="0" err="1"/>
                        <a:t>ipsum</a:t>
                      </a:r>
                      <a:endParaRPr lang="pl-PL" sz="1600" dirty="0"/>
                    </a:p>
                  </a:txBody>
                  <a:tcPr>
                    <a:solidFill>
                      <a:schemeClr val="bg1"/>
                    </a:solidFill>
                  </a:tcPr>
                </a:tc>
                <a:tc>
                  <a:txBody>
                    <a:bodyPr/>
                    <a:lstStyle/>
                    <a:p>
                      <a:r>
                        <a:rPr lang="pl-PL" sz="1600" dirty="0" err="1"/>
                        <a:t>Lorem</a:t>
                      </a:r>
                      <a:r>
                        <a:rPr lang="pl-PL" sz="1600" dirty="0"/>
                        <a:t> </a:t>
                      </a:r>
                      <a:r>
                        <a:rPr lang="pl-PL" sz="1600" dirty="0" err="1"/>
                        <a:t>ipsum</a:t>
                      </a:r>
                      <a:endParaRPr lang="pl-PL" sz="1600" dirty="0"/>
                    </a:p>
                  </a:txBody>
                  <a:tcPr>
                    <a:solidFill>
                      <a:schemeClr val="bg1"/>
                    </a:solidFill>
                  </a:tcPr>
                </a:tc>
                <a:tc>
                  <a:txBody>
                    <a:bodyPr/>
                    <a:lstStyle/>
                    <a:p>
                      <a:r>
                        <a:rPr lang="pl-PL" sz="1600" dirty="0" err="1"/>
                        <a:t>Lorem</a:t>
                      </a:r>
                      <a:r>
                        <a:rPr lang="pl-PL" sz="1600" dirty="0"/>
                        <a:t> </a:t>
                      </a:r>
                      <a:r>
                        <a:rPr lang="pl-PL" sz="1600" dirty="0" err="1"/>
                        <a:t>ipsum</a:t>
                      </a:r>
                      <a:endParaRPr lang="pl-PL" sz="1600" dirty="0"/>
                    </a:p>
                  </a:txBody>
                  <a:tcPr>
                    <a:solidFill>
                      <a:schemeClr val="bg1"/>
                    </a:solidFill>
                  </a:tcPr>
                </a:tc>
                <a:extLst>
                  <a:ext uri="{0D108BD9-81ED-4DB2-BD59-A6C34878D82A}">
                    <a16:rowId xmlns:a16="http://schemas.microsoft.com/office/drawing/2014/main" val="1809594152"/>
                  </a:ext>
                </a:extLst>
              </a:tr>
              <a:tr h="647700">
                <a:tc>
                  <a:txBody>
                    <a:bodyPr/>
                    <a:lstStyle/>
                    <a:p>
                      <a:r>
                        <a:rPr lang="pl-PL" sz="1600" dirty="0" err="1"/>
                        <a:t>Lorem</a:t>
                      </a:r>
                      <a:r>
                        <a:rPr lang="pl-PL" sz="1600" dirty="0"/>
                        <a:t> </a:t>
                      </a:r>
                      <a:r>
                        <a:rPr lang="pl-PL" sz="1600" dirty="0" err="1"/>
                        <a:t>ipsum</a:t>
                      </a:r>
                      <a:endParaRPr lang="pl-PL" sz="1600" dirty="0"/>
                    </a:p>
                  </a:txBody>
                  <a:tcPr>
                    <a:solidFill>
                      <a:schemeClr val="bg1">
                        <a:lumMod val="95000"/>
                      </a:schemeClr>
                    </a:solidFill>
                  </a:tcPr>
                </a:tc>
                <a:tc>
                  <a:txBody>
                    <a:bodyPr/>
                    <a:lstStyle/>
                    <a:p>
                      <a:r>
                        <a:rPr lang="pl-PL" sz="1600" dirty="0" err="1"/>
                        <a:t>Lorem</a:t>
                      </a:r>
                      <a:r>
                        <a:rPr lang="pl-PL" sz="1600" dirty="0"/>
                        <a:t> </a:t>
                      </a:r>
                      <a:r>
                        <a:rPr lang="pl-PL" sz="1600" dirty="0" err="1"/>
                        <a:t>ipsum</a:t>
                      </a:r>
                      <a:endParaRPr lang="pl-PL" sz="1600" dirty="0"/>
                    </a:p>
                  </a:txBody>
                  <a:tcPr>
                    <a:solidFill>
                      <a:schemeClr val="bg1">
                        <a:lumMod val="95000"/>
                      </a:schemeClr>
                    </a:solidFill>
                  </a:tcPr>
                </a:tc>
                <a:tc>
                  <a:txBody>
                    <a:bodyPr/>
                    <a:lstStyle/>
                    <a:p>
                      <a:r>
                        <a:rPr lang="pl-PL" sz="1600" dirty="0" err="1"/>
                        <a:t>Lorem</a:t>
                      </a:r>
                      <a:r>
                        <a:rPr lang="pl-PL" sz="1600" dirty="0"/>
                        <a:t> </a:t>
                      </a:r>
                      <a:r>
                        <a:rPr lang="pl-PL" sz="1600" dirty="0" err="1"/>
                        <a:t>ipsum</a:t>
                      </a:r>
                      <a:endParaRPr lang="pl-PL" sz="1600" dirty="0"/>
                    </a:p>
                  </a:txBody>
                  <a:tcPr>
                    <a:solidFill>
                      <a:schemeClr val="bg1">
                        <a:lumMod val="95000"/>
                      </a:schemeClr>
                    </a:solidFill>
                  </a:tcPr>
                </a:tc>
                <a:extLst>
                  <a:ext uri="{0D108BD9-81ED-4DB2-BD59-A6C34878D82A}">
                    <a16:rowId xmlns:a16="http://schemas.microsoft.com/office/drawing/2014/main" val="1095991055"/>
                  </a:ext>
                </a:extLst>
              </a:tr>
            </a:tbl>
          </a:graphicData>
        </a:graphic>
      </p:graphicFrame>
    </p:spTree>
    <p:extLst>
      <p:ext uri="{BB962C8B-B14F-4D97-AF65-F5344CB8AC3E}">
        <p14:creationId xmlns:p14="http://schemas.microsoft.com/office/powerpoint/2010/main" val="41034728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ytuł i zawartoś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ytuł 1">
            <a:extLst>
              <a:ext uri="{FF2B5EF4-FFF2-40B4-BE49-F238E27FC236}">
                <a16:creationId xmlns:a16="http://schemas.microsoft.com/office/drawing/2014/main" id="{D32D3183-C768-0242-8052-96BE8A644E44}"/>
              </a:ext>
            </a:extLst>
          </p:cNvPr>
          <p:cNvSpPr>
            <a:spLocks noGrp="1"/>
          </p:cNvSpPr>
          <p:nvPr>
            <p:ph type="title"/>
          </p:nvPr>
        </p:nvSpPr>
        <p:spPr>
          <a:xfrm>
            <a:off x="838200" y="668214"/>
            <a:ext cx="10515600" cy="654149"/>
          </a:xfrm>
        </p:spPr>
        <p:txBody>
          <a:bodyPr anchor="t" anchorCtr="0">
            <a:normAutofit/>
          </a:bodyPr>
          <a:lstStyle>
            <a:lvl1pPr>
              <a:defRPr sz="3000" b="1" i="0">
                <a:solidFill>
                  <a:schemeClr val="accent1"/>
                </a:solidFill>
                <a:latin typeface="+mj-lt"/>
              </a:defRPr>
            </a:lvl1pPr>
          </a:lstStyle>
          <a:p>
            <a:r>
              <a:rPr lang="pl-PL" dirty="0"/>
              <a:t>Kliknij, aby edytować styl</a:t>
            </a:r>
          </a:p>
        </p:txBody>
      </p:sp>
      <p:sp>
        <p:nvSpPr>
          <p:cNvPr id="7" name="Podtytuł 2">
            <a:extLst>
              <a:ext uri="{FF2B5EF4-FFF2-40B4-BE49-F238E27FC236}">
                <a16:creationId xmlns:a16="http://schemas.microsoft.com/office/drawing/2014/main" id="{20EA7ADF-AC53-CA4F-9EE5-38B19BE6A73B}"/>
              </a:ext>
            </a:extLst>
          </p:cNvPr>
          <p:cNvSpPr>
            <a:spLocks noGrp="1"/>
          </p:cNvSpPr>
          <p:nvPr>
            <p:ph type="subTitle" idx="1"/>
          </p:nvPr>
        </p:nvSpPr>
        <p:spPr>
          <a:xfrm>
            <a:off x="838200" y="1364568"/>
            <a:ext cx="10515600" cy="548639"/>
          </a:xfrm>
        </p:spPr>
        <p:txBody>
          <a:bodyPr>
            <a:normAutofit/>
          </a:bodyPr>
          <a:lstStyle>
            <a:lvl1pPr marL="0" indent="0" algn="l">
              <a:buNone/>
              <a:defRPr sz="2200" b="0" i="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l-PL" dirty="0"/>
              <a:t>Kliknij, aby edytować styl wzorca podtytułu</a:t>
            </a:r>
          </a:p>
        </p:txBody>
      </p:sp>
      <p:sp>
        <p:nvSpPr>
          <p:cNvPr id="8" name="Symbol zastępczy tekstu 11">
            <a:extLst>
              <a:ext uri="{FF2B5EF4-FFF2-40B4-BE49-F238E27FC236}">
                <a16:creationId xmlns:a16="http://schemas.microsoft.com/office/drawing/2014/main" id="{4534535E-69F7-431D-9855-87539FD94052}"/>
              </a:ext>
            </a:extLst>
          </p:cNvPr>
          <p:cNvSpPr>
            <a:spLocks noGrp="1"/>
          </p:cNvSpPr>
          <p:nvPr>
            <p:ph type="body" sz="quarter" idx="13"/>
          </p:nvPr>
        </p:nvSpPr>
        <p:spPr>
          <a:xfrm>
            <a:off x="838200" y="2209799"/>
            <a:ext cx="10515600" cy="3505201"/>
          </a:xfrm>
        </p:spPr>
        <p:txBody>
          <a:bodyPr>
            <a:normAutofit/>
          </a:bodyPr>
          <a:lstStyle>
            <a:lvl1pPr marL="0" indent="0">
              <a:lnSpc>
                <a:spcPct val="100000"/>
              </a:lnSpc>
              <a:buFontTx/>
              <a:buNone/>
              <a:defRPr sz="2000" b="0" i="0">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pl-PL" dirty="0"/>
              <a:t>Kliknij, aby edytować style wzorca tekstu</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ags" Target="../tags/tag3.xml"/><Relationship Id="rId3" Type="http://schemas.openxmlformats.org/officeDocument/2006/relationships/slideLayout" Target="../slideLayouts/slideLayout25.xml"/><Relationship Id="rId21" Type="http://schemas.openxmlformats.org/officeDocument/2006/relationships/image" Target="../media/image11.emf"/><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tags" Target="../tags/tag2.xml"/><Relationship Id="rId2" Type="http://schemas.openxmlformats.org/officeDocument/2006/relationships/slideLayout" Target="../slideLayouts/slideLayout24.xml"/><Relationship Id="rId16" Type="http://schemas.openxmlformats.org/officeDocument/2006/relationships/theme" Target="../theme/theme2.xml"/><Relationship Id="rId20" Type="http://schemas.openxmlformats.org/officeDocument/2006/relationships/image" Target="../media/image10.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oleObject" Target="../embeddings/oleObject2.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lideMaster1">
    <p:bg>
      <p:bgRef idx="1001">
        <a:schemeClr val="bg1"/>
      </p:bgRef>
    </p:bg>
    <p:spTree>
      <p:nvGrpSpPr>
        <p:cNvPr id="1" name=""/>
        <p:cNvGrpSpPr/>
        <p:nvPr/>
      </p:nvGrpSpPr>
      <p:grpSpPr>
        <a:xfrm>
          <a:off x="0" y="0"/>
          <a:ext cx="0" cy="0"/>
          <a:chOff x="0" y="0"/>
          <a:chExt cx="0" cy="0"/>
        </a:xfrm>
      </p:grpSpPr>
      <p:sp>
        <p:nvSpPr>
          <p:cNvPr id="2" name="Symbol zastępczy tytułu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Kliknij, aby edytować styl</a:t>
            </a:r>
          </a:p>
        </p:txBody>
      </p:sp>
      <p:sp>
        <p:nvSpPr>
          <p:cNvPr id="3" name="Symbol zastępczy tekstu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Kliknij, aby edytować style wzorca tekstu</a:t>
            </a:r>
          </a:p>
          <a:p>
            <a:pPr lvl="1"/>
            <a:r>
              <a:rPr lang="en-US" dirty="0"/>
              <a:t>Drugi poziom</a:t>
            </a:r>
          </a:p>
          <a:p>
            <a:pPr lvl="2"/>
            <a:r>
              <a:rPr lang="en-US" dirty="0"/>
              <a:t>Trzeci poziom</a:t>
            </a:r>
          </a:p>
          <a:p>
            <a:pPr lvl="3"/>
            <a:r>
              <a:rPr lang="en-US" dirty="0"/>
              <a:t>Czwarty poziom</a:t>
            </a:r>
          </a:p>
          <a:p>
            <a:pPr lvl="4"/>
            <a:r>
              <a:rPr lang="en-US" dirty="0"/>
              <a:t>Piąty poziom</a:t>
            </a:r>
          </a:p>
        </p:txBody>
      </p:sp>
      <p:sp>
        <p:nvSpPr>
          <p:cNvPr id="4" name="Symbol zastępczy daty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lvl="0" algn="l">
              <a:defRPr lang="en-US" sz="1200" dirty="0">
                <a:solidFill>
                  <a:schemeClr val="tx1">
                    <a:tint val="75000"/>
                  </a:schemeClr>
                </a:solidFill>
              </a:defRPr>
            </a:lvl1pPr>
          </a:lstStyle>
          <a:p>
            <a:fld id="{FD38DC3D-1746-9041-BF03-DCE767118C91}" type="datetime4">
              <a:rPr lang="pl-PL" smtClean="0"/>
              <a:t>21 marca 2024</a:t>
            </a:fld>
            <a:endParaRPr lang="en-US" dirty="0"/>
          </a:p>
        </p:txBody>
      </p:sp>
      <p:sp>
        <p:nvSpPr>
          <p:cNvPr id="5" name="Symbol zastępczy stopki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lvl="0" algn="ctr">
              <a:defRPr lang="en-US" sz="1200" dirty="0">
                <a:solidFill>
                  <a:schemeClr val="tx1">
                    <a:tint val="75000"/>
                  </a:schemeClr>
                </a:solidFill>
              </a:defRPr>
            </a:lvl1pPr>
          </a:lstStyle>
          <a:p>
            <a:endParaRPr lang="en-US" dirty="0"/>
          </a:p>
        </p:txBody>
      </p:sp>
      <p:sp>
        <p:nvSpPr>
          <p:cNvPr id="6" name="Symbol zastępczy numeru slajdu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lvl="0" algn="r">
              <a:defRPr lang="en-US" sz="1200" dirty="0">
                <a:solidFill>
                  <a:schemeClr val="tx1">
                    <a:tint val="75000"/>
                  </a:schemeClr>
                </a:solidFill>
              </a:defRPr>
            </a:lvl1pPr>
          </a:lstStyle>
          <a:p>
            <a:fld id="{E264B683-E750-4807-BD28-D2C14564A8E5}" type="slidenum">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62" r:id="rId8"/>
    <p:sldLayoutId id="2147483656" r:id="rId9"/>
    <p:sldLayoutId id="2147483657" r:id="rId10"/>
    <p:sldLayoutId id="2147483658" r:id="rId11"/>
    <p:sldLayoutId id="2147483660" r:id="rId12"/>
    <p:sldLayoutId id="2147483661" r:id="rId13"/>
    <p:sldLayoutId id="2147483663" r:id="rId14"/>
    <p:sldLayoutId id="2147483668" r:id="rId15"/>
    <p:sldLayoutId id="2147483664" r:id="rId16"/>
    <p:sldLayoutId id="2147483665" r:id="rId17"/>
    <p:sldLayoutId id="2147483666" r:id="rId18"/>
    <p:sldLayoutId id="2147483667" r:id="rId19"/>
    <p:sldLayoutId id="2147483659" r:id="rId20"/>
    <p:sldLayoutId id="2147483673" r:id="rId21"/>
    <p:sldLayoutId id="2147483691" r:id="rId22"/>
  </p:sldLayoutIdLst>
  <p:hf sldNum="0" hdr="0" ftr="0"/>
  <p:txStyles>
    <p:titleStyle>
      <a:lvl1pPr lvl="0" algn="l" rtl="0">
        <a:lnSpc>
          <a:spcPct val="90000"/>
        </a:lnSpc>
        <a:spcBef>
          <a:spcPct val="0"/>
        </a:spcBef>
        <a:buNone/>
        <a:defRPr lang="en-US" sz="4400" dirty="0">
          <a:solidFill>
            <a:schemeClr val="tx1"/>
          </a:solidFill>
          <a:latin typeface="+mj-lt"/>
        </a:defRPr>
      </a:lvl1pPr>
    </p:titleStyle>
    <p:bodyStyle>
      <a:lvl1pPr marL="228600" lvl="0" indent="-228600" algn="l" rtl="0">
        <a:lnSpc>
          <a:spcPct val="90000"/>
        </a:lnSpc>
        <a:spcBef>
          <a:spcPts val="1000"/>
        </a:spcBef>
        <a:buFont typeface="Arial"/>
        <a:buChar char="•"/>
        <a:defRPr lang="en-US" sz="2800" dirty="0">
          <a:solidFill>
            <a:schemeClr val="tx1"/>
          </a:solidFill>
          <a:latin typeface="+mn-lt"/>
        </a:defRPr>
      </a:lvl1pPr>
      <a:lvl2pPr marL="685800" lvl="1" indent="-228600" algn="l" rtl="0">
        <a:lnSpc>
          <a:spcPct val="90000"/>
        </a:lnSpc>
        <a:spcBef>
          <a:spcPts val="500"/>
        </a:spcBef>
        <a:buFont typeface="Arial"/>
        <a:buChar char="•"/>
        <a:defRPr lang="en-US" sz="2400" dirty="0">
          <a:solidFill>
            <a:schemeClr val="tx1"/>
          </a:solidFill>
          <a:latin typeface="+mn-lt"/>
        </a:defRPr>
      </a:lvl2pPr>
      <a:lvl3pPr marL="1143000" lvl="2" indent="-228600" algn="l" rtl="0">
        <a:lnSpc>
          <a:spcPct val="90000"/>
        </a:lnSpc>
        <a:spcBef>
          <a:spcPts val="500"/>
        </a:spcBef>
        <a:buFont typeface="Arial"/>
        <a:buChar char="•"/>
        <a:defRPr lang="en-US" sz="2000" dirty="0">
          <a:solidFill>
            <a:schemeClr val="tx1"/>
          </a:solidFill>
          <a:latin typeface="+mn-lt"/>
        </a:defRPr>
      </a:lvl3pPr>
      <a:lvl4pPr marL="1600200" lvl="3" indent="-228600" algn="l" rtl="0">
        <a:lnSpc>
          <a:spcPct val="90000"/>
        </a:lnSpc>
        <a:spcBef>
          <a:spcPts val="500"/>
        </a:spcBef>
        <a:buFont typeface="Arial"/>
        <a:buChar char="•"/>
        <a:defRPr lang="en-US" sz="1800" dirty="0">
          <a:solidFill>
            <a:schemeClr val="tx1"/>
          </a:solidFill>
          <a:latin typeface="+mn-lt"/>
        </a:defRPr>
      </a:lvl4pPr>
      <a:lvl5pPr marL="2057400" lvl="4" indent="-228600" algn="l" rtl="0">
        <a:lnSpc>
          <a:spcPct val="90000"/>
        </a:lnSpc>
        <a:spcBef>
          <a:spcPts val="500"/>
        </a:spcBef>
        <a:buFont typeface="Arial"/>
        <a:buChar char="•"/>
        <a:defRPr lang="en-US" sz="1800" dirty="0">
          <a:solidFill>
            <a:schemeClr val="tx1"/>
          </a:solidFill>
          <a:latin typeface="+mn-lt"/>
        </a:defRPr>
      </a:lvl5pPr>
      <a:lvl6pPr marL="2514600" lvl="5" indent="-228600" algn="l" rtl="0">
        <a:lnSpc>
          <a:spcPct val="90000"/>
        </a:lnSpc>
        <a:spcBef>
          <a:spcPts val="500"/>
        </a:spcBef>
        <a:buFont typeface="Arial"/>
        <a:buChar char="•"/>
        <a:defRPr lang="en-US" sz="1800" dirty="0">
          <a:solidFill>
            <a:schemeClr val="tx1"/>
          </a:solidFill>
          <a:latin typeface="+mn-lt"/>
        </a:defRPr>
      </a:lvl6pPr>
      <a:lvl7pPr marL="2971800" lvl="6" indent="-228600" algn="l" rtl="0">
        <a:lnSpc>
          <a:spcPct val="90000"/>
        </a:lnSpc>
        <a:spcBef>
          <a:spcPts val="500"/>
        </a:spcBef>
        <a:buFont typeface="Arial"/>
        <a:buChar char="•"/>
        <a:defRPr lang="en-US" sz="1800" dirty="0">
          <a:solidFill>
            <a:schemeClr val="tx1"/>
          </a:solidFill>
          <a:latin typeface="+mn-lt"/>
        </a:defRPr>
      </a:lvl7pPr>
      <a:lvl8pPr marL="3429000" lvl="7" indent="-228600" algn="l" rtl="0">
        <a:lnSpc>
          <a:spcPct val="90000"/>
        </a:lnSpc>
        <a:spcBef>
          <a:spcPts val="500"/>
        </a:spcBef>
        <a:buFont typeface="Arial"/>
        <a:buChar char="•"/>
        <a:defRPr lang="en-US" sz="1800" dirty="0">
          <a:solidFill>
            <a:schemeClr val="tx1"/>
          </a:solidFill>
          <a:latin typeface="+mn-lt"/>
        </a:defRPr>
      </a:lvl8pPr>
      <a:lvl9pPr marL="3886200" lvl="8" indent="-228600" algn="l" rtl="0">
        <a:lnSpc>
          <a:spcPct val="90000"/>
        </a:lnSpc>
        <a:spcBef>
          <a:spcPts val="500"/>
        </a:spcBef>
        <a:buFont typeface="Arial"/>
        <a:buChar char="•"/>
        <a:defRPr lang="en-US" sz="1800" dirty="0">
          <a:solidFill>
            <a:schemeClr val="tx1"/>
          </a:solidFill>
          <a:latin typeface="+mn-lt"/>
        </a:defRPr>
      </a:lvl9pPr>
    </p:bodyStyle>
    <p:otherStyle>
      <a:lvl1pPr lvl="0" algn="l" rtl="0">
        <a:defRPr lang="en-US" sz="1800" dirty="0">
          <a:solidFill>
            <a:schemeClr val="tx1"/>
          </a:solidFill>
          <a:latin typeface="+mn-lt"/>
        </a:defRPr>
      </a:lvl1pPr>
      <a:lvl2pPr marL="457200" lvl="1" algn="l" rtl="0">
        <a:defRPr lang="en-US" sz="1800" dirty="0">
          <a:solidFill>
            <a:schemeClr val="tx1"/>
          </a:solidFill>
          <a:latin typeface="+mn-lt"/>
        </a:defRPr>
      </a:lvl2pPr>
      <a:lvl3pPr marL="914400" lvl="2" algn="l" rtl="0">
        <a:defRPr lang="en-US" sz="1800" dirty="0">
          <a:solidFill>
            <a:schemeClr val="tx1"/>
          </a:solidFill>
          <a:latin typeface="+mn-lt"/>
        </a:defRPr>
      </a:lvl3pPr>
      <a:lvl4pPr marL="1371600" lvl="3" algn="l" rtl="0">
        <a:defRPr lang="en-US" sz="1800" dirty="0">
          <a:solidFill>
            <a:schemeClr val="tx1"/>
          </a:solidFill>
          <a:latin typeface="+mn-lt"/>
        </a:defRPr>
      </a:lvl4pPr>
      <a:lvl5pPr marL="1828800" lvl="4" algn="l" rtl="0">
        <a:defRPr lang="en-US" sz="1800" dirty="0">
          <a:solidFill>
            <a:schemeClr val="tx1"/>
          </a:solidFill>
          <a:latin typeface="+mn-lt"/>
        </a:defRPr>
      </a:lvl5pPr>
      <a:lvl6pPr marL="2286000" lvl="5" algn="l" rtl="0">
        <a:defRPr lang="en-US" sz="1800" dirty="0">
          <a:solidFill>
            <a:schemeClr val="tx1"/>
          </a:solidFill>
          <a:latin typeface="+mn-lt"/>
        </a:defRPr>
      </a:lvl6pPr>
      <a:lvl7pPr marL="2743200" lvl="6" algn="l" rtl="0">
        <a:defRPr lang="en-US" sz="1800" dirty="0">
          <a:solidFill>
            <a:schemeClr val="tx1"/>
          </a:solidFill>
          <a:latin typeface="+mn-lt"/>
        </a:defRPr>
      </a:lvl7pPr>
      <a:lvl8pPr marL="3200400" lvl="7" algn="l" rtl="0">
        <a:defRPr lang="en-US" sz="1800" dirty="0">
          <a:solidFill>
            <a:schemeClr val="tx1"/>
          </a:solidFill>
          <a:latin typeface="+mn-lt"/>
        </a:defRPr>
      </a:lvl8pPr>
      <a:lvl9pPr marL="3657600" lvl="8" algn="l" rtl="0">
        <a:defRPr lang="en-US" sz="1800" dirty="0">
          <a:solidFill>
            <a:schemeClr val="tx1"/>
          </a:solidFill>
          <a:latin typeface="+mn-l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83CD4A1-4740-45BE-ADCB-79B4D1B0E7B1}"/>
              </a:ext>
            </a:extLst>
          </p:cNvPr>
          <p:cNvGraphicFramePr>
            <a:graphicFrameLocks noChangeAspect="1"/>
          </p:cNvGraphicFramePr>
          <p:nvPr userDrawn="1">
            <p:custDataLst>
              <p:tags r:id="rId17"/>
            </p:custDataLst>
            <p:extLst>
              <p:ext uri="{D42A27DB-BD31-4B8C-83A1-F6EECF244321}">
                <p14:modId xmlns:p14="http://schemas.microsoft.com/office/powerpoint/2010/main" val="3013481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13" imgH="416" progId="TCLayout.ActiveDocument.1">
                  <p:embed/>
                </p:oleObj>
              </mc:Choice>
              <mc:Fallback>
                <p:oleObj name="think-cell Slide" r:id="rId19" imgW="413" imgH="416" progId="TCLayout.ActiveDocument.1">
                  <p:embed/>
                  <p:pic>
                    <p:nvPicPr>
                      <p:cNvPr id="6" name="Object 5" hidden="1">
                        <a:extLst>
                          <a:ext uri="{FF2B5EF4-FFF2-40B4-BE49-F238E27FC236}">
                            <a16:creationId xmlns:a16="http://schemas.microsoft.com/office/drawing/2014/main" id="{F83CD4A1-4740-45BE-ADCB-79B4D1B0E7B1}"/>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8BBB9FD4-FEBD-418B-9584-9E08BAB4943C}"/>
              </a:ext>
            </a:extLst>
          </p:cNvPr>
          <p:cNvSpPr/>
          <p:nvPr userDrawn="1">
            <p:custDataLst>
              <p:tags r:id="rId18"/>
            </p:custDataLst>
          </p:nvPr>
        </p:nvSpPr>
        <p:spPr bwMode="auto">
          <a:xfrm>
            <a:off x="0" y="0"/>
            <a:ext cx="158750" cy="158750"/>
          </a:xfrm>
          <a:prstGeom prst="rect">
            <a:avLst/>
          </a:prstGeom>
          <a:solidFill>
            <a:schemeClr val="tx2"/>
          </a:solidFill>
          <a:ln w="317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ctr" defTabSz="914400" eaLnBrk="0" fontAlgn="base" hangingPunct="0">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04801" y="304799"/>
            <a:ext cx="9753600" cy="381001"/>
          </a:xfrm>
          <a:prstGeom prst="rect">
            <a:avLst/>
          </a:prstGeom>
        </p:spPr>
        <p:txBody>
          <a:bodyPr vert="horz" wrap="square" lIns="0" tIns="0" rIns="0" bIns="0" rtlCol="0" anchor="t" anchorCtr="0">
            <a:noAutofit/>
          </a:bodyPr>
          <a:lstStyle/>
          <a:p>
            <a:r>
              <a:rPr lang="en-US" dirty="0"/>
              <a:t>Slide title [28pt Arial Bold]</a:t>
            </a:r>
          </a:p>
        </p:txBody>
      </p:sp>
      <p:grpSp>
        <p:nvGrpSpPr>
          <p:cNvPr id="7" name="Group 6">
            <a:extLst>
              <a:ext uri="{FF2B5EF4-FFF2-40B4-BE49-F238E27FC236}">
                <a16:creationId xmlns:a16="http://schemas.microsoft.com/office/drawing/2014/main" id="{C54DB860-41E2-E04B-ABD0-6BA4D570E7A0}"/>
              </a:ext>
            </a:extLst>
          </p:cNvPr>
          <p:cNvGrpSpPr/>
          <p:nvPr userDrawn="1"/>
        </p:nvGrpSpPr>
        <p:grpSpPr>
          <a:xfrm>
            <a:off x="10295372" y="0"/>
            <a:ext cx="1591826" cy="694426"/>
            <a:chOff x="-20628" y="0"/>
            <a:chExt cx="2488951" cy="1085792"/>
          </a:xfrm>
        </p:grpSpPr>
        <p:sp>
          <p:nvSpPr>
            <p:cNvPr id="8" name="Parallelogram 7">
              <a:extLst>
                <a:ext uri="{FF2B5EF4-FFF2-40B4-BE49-F238E27FC236}">
                  <a16:creationId xmlns:a16="http://schemas.microsoft.com/office/drawing/2014/main" id="{A441B466-B52D-0443-BF86-D267F733A465}"/>
                </a:ext>
              </a:extLst>
            </p:cNvPr>
            <p:cNvSpPr/>
            <p:nvPr userDrawn="1"/>
          </p:nvSpPr>
          <p:spPr bwMode="auto">
            <a:xfrm>
              <a:off x="-20628" y="0"/>
              <a:ext cx="2488951" cy="1085792"/>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mn-lt"/>
                  <a:ea typeface="+mn-ea"/>
                  <a:cs typeface="+mn-cs"/>
                  <a:sym typeface="+mn-lt"/>
                </a:rPr>
                <a:t> </a:t>
              </a:r>
            </a:p>
          </p:txBody>
        </p:sp>
        <p:pic>
          <p:nvPicPr>
            <p:cNvPr id="9" name="Picture 8">
              <a:extLst>
                <a:ext uri="{FF2B5EF4-FFF2-40B4-BE49-F238E27FC236}">
                  <a16:creationId xmlns:a16="http://schemas.microsoft.com/office/drawing/2014/main" id="{2CE94B44-7208-0848-80E7-7165E7D106A8}"/>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sp>
        <p:nvSpPr>
          <p:cNvPr id="17" name="Slide Number Placeholder 16">
            <a:extLst>
              <a:ext uri="{FF2B5EF4-FFF2-40B4-BE49-F238E27FC236}">
                <a16:creationId xmlns:a16="http://schemas.microsoft.com/office/drawing/2014/main" id="{F0B13DE1-DE5F-D844-BE5C-AEBBEC35CBB8}"/>
              </a:ext>
            </a:extLst>
          </p:cNvPr>
          <p:cNvSpPr>
            <a:spLocks noGrp="1"/>
          </p:cNvSpPr>
          <p:nvPr>
            <p:ph type="sldNum" sz="quarter" idx="4"/>
          </p:nvPr>
        </p:nvSpPr>
        <p:spPr>
          <a:xfrm>
            <a:off x="1" y="6553200"/>
            <a:ext cx="304799" cy="304799"/>
          </a:xfrm>
          <a:prstGeom prst="rect">
            <a:avLst/>
          </a:prstGeom>
        </p:spPr>
        <p:txBody>
          <a:bodyPr vert="horz" lIns="0" tIns="0" rIns="0" bIns="0" rtlCol="0" anchor="ctr"/>
          <a:lstStyle>
            <a:lvl1pPr algn="ctr">
              <a:defRPr sz="1000">
                <a:solidFill>
                  <a:schemeClr val="accent5"/>
                </a:solidFill>
                <a:latin typeface="+mn-lt"/>
                <a:ea typeface="+mn-ea"/>
                <a:cs typeface="+mn-cs"/>
                <a:sym typeface="+mn-lt"/>
              </a:defRPr>
            </a:lvl1pPr>
          </a:lstStyle>
          <a:p>
            <a:fld id="{89006F1E-66CD-4A4B-9370-B4A3080F0E6C}" type="slidenum">
              <a:rPr lang="en-US" smtClean="0"/>
              <a:pPr/>
              <a:t>‹#›</a:t>
            </a:fld>
            <a:endParaRPr lang="en-US" dirty="0"/>
          </a:p>
        </p:txBody>
      </p:sp>
      <p:sp>
        <p:nvSpPr>
          <p:cNvPr id="3" name="Footer Placeholder 2">
            <a:extLst>
              <a:ext uri="{FF2B5EF4-FFF2-40B4-BE49-F238E27FC236}">
                <a16:creationId xmlns:a16="http://schemas.microsoft.com/office/drawing/2014/main" id="{586EC55D-6678-BB4B-BDDC-58D10FF57EC3}"/>
              </a:ext>
            </a:extLst>
          </p:cNvPr>
          <p:cNvSpPr>
            <a:spLocks noGrp="1"/>
          </p:cNvSpPr>
          <p:nvPr>
            <p:ph type="ftr" sz="quarter" idx="3"/>
          </p:nvPr>
        </p:nvSpPr>
        <p:spPr>
          <a:xfrm>
            <a:off x="304800" y="6553200"/>
            <a:ext cx="3960000" cy="304799"/>
          </a:xfrm>
          <a:prstGeom prst="rect">
            <a:avLst/>
          </a:prstGeom>
        </p:spPr>
        <p:txBody>
          <a:bodyPr vert="horz" lIns="91440" tIns="45720" rIns="91440" bIns="45720" rtlCol="0" anchor="ctr"/>
          <a:lstStyle>
            <a:lvl1pPr algn="l">
              <a:defRPr lang="en-US" sz="800" kern="1200">
                <a:solidFill>
                  <a:schemeClr val="accent5"/>
                </a:solidFill>
                <a:latin typeface="+mn-lt"/>
                <a:ea typeface="+mn-ea"/>
                <a:cs typeface="+mn-cs"/>
                <a:sym typeface="+mn-lt"/>
              </a:defRPr>
            </a:lvl1pPr>
          </a:lstStyle>
          <a:p>
            <a:r>
              <a:rPr lang="en-US"/>
              <a:t>system.support.fi@thermofisher.com | 31-August-2020</a:t>
            </a:r>
            <a:endParaRPr lang="en-US" dirty="0"/>
          </a:p>
        </p:txBody>
      </p:sp>
      <p:sp>
        <p:nvSpPr>
          <p:cNvPr id="4" name="Text Placeholder 3">
            <a:extLst>
              <a:ext uri="{FF2B5EF4-FFF2-40B4-BE49-F238E27FC236}">
                <a16:creationId xmlns:a16="http://schemas.microsoft.com/office/drawing/2014/main" id="{F00A9AC8-05E2-9846-9B67-40D61264EC3C}"/>
              </a:ext>
            </a:extLst>
          </p:cNvPr>
          <p:cNvSpPr>
            <a:spLocks noGrp="1"/>
          </p:cNvSpPr>
          <p:nvPr>
            <p:ph type="body" idx="1"/>
          </p:nvPr>
        </p:nvSpPr>
        <p:spPr>
          <a:xfrm>
            <a:off x="304800" y="876300"/>
            <a:ext cx="11582398" cy="5300663"/>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 </a:t>
            </a:r>
          </a:p>
          <a:p>
            <a:pPr lvl="3"/>
            <a:r>
              <a:rPr lang="en-US" dirty="0"/>
              <a:t>Fourth level</a:t>
            </a:r>
          </a:p>
          <a:p>
            <a:pPr lvl="4"/>
            <a:r>
              <a:rPr lang="en-US" dirty="0"/>
              <a:t>Fifth level</a:t>
            </a:r>
          </a:p>
        </p:txBody>
      </p:sp>
    </p:spTree>
    <p:extLst>
      <p:ext uri="{BB962C8B-B14F-4D97-AF65-F5344CB8AC3E}">
        <p14:creationId xmlns:p14="http://schemas.microsoft.com/office/powerpoint/2010/main" val="172300163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Lst>
  <p:hf hd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sym typeface="+mj-lt"/>
        </a:defRPr>
      </a:lvl1pPr>
    </p:titleStyle>
    <p:bodyStyle>
      <a:lvl1pPr marL="287338" indent="-287338" algn="l" defTabSz="914400" rtl="0" eaLnBrk="1" latinLnBrk="0" hangingPunct="1">
        <a:lnSpc>
          <a:spcPct val="120000"/>
        </a:lnSpc>
        <a:spcBef>
          <a:spcPts val="200"/>
        </a:spcBef>
        <a:buClr>
          <a:schemeClr val="tx2"/>
        </a:buClr>
        <a:buSzPct val="100000"/>
        <a:buFont typeface="Arial" panose="020B0604020202020204" pitchFamily="34" charset="0"/>
        <a:buChar char="•"/>
        <a:tabLst/>
        <a:defRPr sz="2000" b="0" kern="1200">
          <a:solidFill>
            <a:schemeClr val="tx1"/>
          </a:solidFill>
          <a:latin typeface="+mn-lt"/>
          <a:ea typeface="+mn-ea"/>
          <a:cs typeface="+mn-cs"/>
          <a:sym typeface="+mn-lt"/>
        </a:defRPr>
      </a:lvl1pPr>
      <a:lvl2pPr marL="519113" marR="0" indent="-284163"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sym typeface="+mn-lt"/>
        </a:defRPr>
      </a:lvl2pPr>
      <a:lvl3pPr marL="692150" marR="0" indent="-22860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sym typeface="+mn-lt"/>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sym typeface="+mn-lt"/>
        </a:defRPr>
      </a:lvl4pPr>
      <a:lvl5pPr marL="1079500" marR="0" indent="-157163"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sym typeface="+mn-l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4" pos="7488">
          <p15:clr>
            <a:srgbClr val="F26B43"/>
          </p15:clr>
        </p15:guide>
        <p15:guide id="7" pos="5184">
          <p15:clr>
            <a:srgbClr val="F26B43"/>
          </p15:clr>
        </p15:guide>
        <p15:guide id="8" pos="2496">
          <p15:clr>
            <a:srgbClr val="F26B43"/>
          </p15:clr>
        </p15:guide>
        <p15:guide id="9" pos="192">
          <p15:clr>
            <a:srgbClr val="F26B43"/>
          </p15:clr>
        </p15:guide>
        <p15:guide id="10" pos="2688">
          <p15:clr>
            <a:srgbClr val="F26B43"/>
          </p15:clr>
        </p15:guide>
        <p15:guide id="11" orient="horz" pos="4128">
          <p15:clr>
            <a:srgbClr val="F26B43"/>
          </p15:clr>
        </p15:guide>
        <p15:guide id="12" pos="3840">
          <p15:clr>
            <a:srgbClr val="F26B43"/>
          </p15:clr>
        </p15:guide>
        <p15:guide id="13" pos="4992">
          <p15:clr>
            <a:srgbClr val="F26B43"/>
          </p15:clr>
        </p15:guide>
        <p15:guide id="14" orient="horz" pos="432">
          <p15:clr>
            <a:srgbClr val="F26B43"/>
          </p15:clr>
        </p15:guide>
        <p15:guide id="15" orient="horz" pos="552">
          <p15:clr>
            <a:srgbClr val="F26B43"/>
          </p15:clr>
        </p15:guide>
        <p15:guide id="16" orient="horz" pos="792">
          <p15:clr>
            <a:srgbClr val="F26B43"/>
          </p15:clr>
        </p15:guide>
        <p15:guide id="17" orient="horz" pos="912">
          <p15:clr>
            <a:srgbClr val="F26B43"/>
          </p15:clr>
        </p15:guide>
        <p15:guide id="18" orient="horz" pos="389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0.jpeg"/><Relationship Id="rId7" Type="http://schemas.openxmlformats.org/officeDocument/2006/relationships/image" Target="../media/image44.svg"/><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43.png"/><Relationship Id="rId5" Type="http://schemas.openxmlformats.org/officeDocument/2006/relationships/image" Target="../media/image42.svg"/><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42.svg"/></Relationships>
</file>

<file path=ppt/slides/_rels/slide1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png"/></Relationships>
</file>

<file path=ppt/slides/_rels/slide1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50.jpeg"/><Relationship Id="rId7"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image" Target="../media/image52.svg"/><Relationship Id="rId5" Type="http://schemas.openxmlformats.org/officeDocument/2006/relationships/image" Target="../media/image48.png"/><Relationship Id="rId4" Type="http://schemas.openxmlformats.org/officeDocument/2006/relationships/image" Target="../media/image51.jpeg"/></Relationships>
</file>

<file path=ppt/slides/_rels/slide1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50.jpeg"/><Relationship Id="rId7" Type="http://schemas.openxmlformats.org/officeDocument/2006/relationships/image" Target="../media/image52.svg"/><Relationship Id="rId2" Type="http://schemas.openxmlformats.org/officeDocument/2006/relationships/notesSlide" Target="../notesSlides/notesSlide16.xml"/><Relationship Id="rId1" Type="http://schemas.openxmlformats.org/officeDocument/2006/relationships/slideLayout" Target="../slideLayouts/slideLayout11.xml"/><Relationship Id="rId6" Type="http://schemas.openxmlformats.org/officeDocument/2006/relationships/image" Target="../media/image48.png"/><Relationship Id="rId5" Type="http://schemas.openxmlformats.org/officeDocument/2006/relationships/image" Target="../media/image55.png"/><Relationship Id="rId4" Type="http://schemas.openxmlformats.org/officeDocument/2006/relationships/image" Target="../media/image51.jpeg"/><Relationship Id="rId9" Type="http://schemas.openxmlformats.org/officeDocument/2006/relationships/image" Target="../media/image54.svg"/></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7.xml"/><Relationship Id="rId1" Type="http://schemas.openxmlformats.org/officeDocument/2006/relationships/slideLayout" Target="../slideLayouts/slideLayout11.xml"/><Relationship Id="rId6" Type="http://schemas.openxmlformats.org/officeDocument/2006/relationships/image" Target="../media/image59.jpeg"/><Relationship Id="rId5" Type="http://schemas.openxmlformats.org/officeDocument/2006/relationships/image" Target="../media/image58.png"/><Relationship Id="rId4" Type="http://schemas.openxmlformats.org/officeDocument/2006/relationships/image" Target="../media/image57.jpeg"/></Relationships>
</file>

<file path=ppt/slides/_rels/slide1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60.jpeg"/><Relationship Id="rId7" Type="http://schemas.openxmlformats.org/officeDocument/2006/relationships/image" Target="../media/image54.svg"/><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openxmlformats.org/officeDocument/2006/relationships/image" Target="../media/image53.png"/><Relationship Id="rId5" Type="http://schemas.openxmlformats.org/officeDocument/2006/relationships/image" Target="../media/image52.svg"/><Relationship Id="rId4" Type="http://schemas.openxmlformats.org/officeDocument/2006/relationships/image" Target="../media/image48.png"/><Relationship Id="rId9" Type="http://schemas.openxmlformats.org/officeDocument/2006/relationships/image" Target="../media/image62.svg"/></Relationships>
</file>

<file path=ppt/slides/_rels/slide19.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63.jpeg"/><Relationship Id="rId7" Type="http://schemas.openxmlformats.org/officeDocument/2006/relationships/image" Target="../media/image54.svg"/><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openxmlformats.org/officeDocument/2006/relationships/image" Target="../media/image53.png"/><Relationship Id="rId5" Type="http://schemas.openxmlformats.org/officeDocument/2006/relationships/image" Target="../media/image52.svg"/><Relationship Id="rId4" Type="http://schemas.openxmlformats.org/officeDocument/2006/relationships/image" Target="../media/image48.png"/><Relationship Id="rId9" Type="http://schemas.openxmlformats.org/officeDocument/2006/relationships/image" Target="../media/image64.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65.jpeg"/><Relationship Id="rId7" Type="http://schemas.openxmlformats.org/officeDocument/2006/relationships/image" Target="../media/image54.svg"/><Relationship Id="rId2" Type="http://schemas.openxmlformats.org/officeDocument/2006/relationships/notesSlide" Target="../notesSlides/notesSlide20.xml"/><Relationship Id="rId1" Type="http://schemas.openxmlformats.org/officeDocument/2006/relationships/slideLayout" Target="../slideLayouts/slideLayout11.xml"/><Relationship Id="rId6" Type="http://schemas.openxmlformats.org/officeDocument/2006/relationships/image" Target="../media/image53.png"/><Relationship Id="rId5" Type="http://schemas.openxmlformats.org/officeDocument/2006/relationships/image" Target="../media/image52.svg"/><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66.jpeg"/><Relationship Id="rId7" Type="http://schemas.openxmlformats.org/officeDocument/2006/relationships/image" Target="../media/image52.svg"/><Relationship Id="rId2" Type="http://schemas.openxmlformats.org/officeDocument/2006/relationships/notesSlide" Target="../notesSlides/notesSlide21.xml"/><Relationship Id="rId1" Type="http://schemas.openxmlformats.org/officeDocument/2006/relationships/slideLayout" Target="../slideLayouts/slideLayout11.xml"/><Relationship Id="rId6" Type="http://schemas.openxmlformats.org/officeDocument/2006/relationships/image" Target="../media/image48.png"/><Relationship Id="rId11" Type="http://schemas.openxmlformats.org/officeDocument/2006/relationships/image" Target="../media/image70.svg"/><Relationship Id="rId5" Type="http://schemas.openxmlformats.org/officeDocument/2006/relationships/image" Target="../media/image68.svg"/><Relationship Id="rId10" Type="http://schemas.openxmlformats.org/officeDocument/2006/relationships/image" Target="../media/image69.png"/><Relationship Id="rId4" Type="http://schemas.openxmlformats.org/officeDocument/2006/relationships/image" Target="../media/image67.png"/><Relationship Id="rId9" Type="http://schemas.openxmlformats.org/officeDocument/2006/relationships/image" Target="../media/image54.svg"/></Relationships>
</file>

<file path=ppt/slides/_rels/slide22.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71.jpeg"/><Relationship Id="rId7"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11.xml"/><Relationship Id="rId6" Type="http://schemas.openxmlformats.org/officeDocument/2006/relationships/image" Target="../media/image52.svg"/><Relationship Id="rId5" Type="http://schemas.openxmlformats.org/officeDocument/2006/relationships/image" Target="../media/image48.png"/><Relationship Id="rId4" Type="http://schemas.openxmlformats.org/officeDocument/2006/relationships/image" Target="../media/image72.png"/></Relationships>
</file>

<file path=ppt/slides/_rels/slide23.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image" Target="../media/image48.png"/><Relationship Id="rId7" Type="http://schemas.openxmlformats.org/officeDocument/2006/relationships/image" Target="../media/image61.png"/><Relationship Id="rId2" Type="http://schemas.openxmlformats.org/officeDocument/2006/relationships/notesSlide" Target="../notesSlides/notesSlide23.xml"/><Relationship Id="rId1" Type="http://schemas.openxmlformats.org/officeDocument/2006/relationships/slideLayout" Target="../slideLayouts/slideLayout11.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s>
</file>

<file path=ppt/slides/_rels/slide2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4.xml"/><Relationship Id="rId1" Type="http://schemas.openxmlformats.org/officeDocument/2006/relationships/slideLayout" Target="../slideLayouts/slideLayout11.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74.svg"/></Relationships>
</file>

<file path=ppt/slides/_rels/slide25.xml.rels><?xml version="1.0" encoding="UTF-8" standalone="yes"?>
<Relationships xmlns="http://schemas.openxmlformats.org/package/2006/relationships"><Relationship Id="rId2" Type="http://schemas.openxmlformats.org/officeDocument/2006/relationships/hyperlink" Target="mailto:k.kopron@argenta.com.pl" TargetMode="Externa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24.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0.emf"/><Relationship Id="rId5" Type="http://schemas.openxmlformats.org/officeDocument/2006/relationships/oleObject" Target="../embeddings/oleObject17.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image" Target="../media/image26.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2.xml"/><Relationship Id="rId1" Type="http://schemas.openxmlformats.org/officeDocument/2006/relationships/tags" Target="../tags/tag32.xml"/><Relationship Id="rId6" Type="http://schemas.openxmlformats.org/officeDocument/2006/relationships/image" Target="../media/image27.jpeg"/><Relationship Id="rId5" Type="http://schemas.openxmlformats.org/officeDocument/2006/relationships/image" Target="../media/image10.emf"/><Relationship Id="rId4" Type="http://schemas.openxmlformats.org/officeDocument/2006/relationships/oleObject" Target="../embeddings/oleObject18.bin"/></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11.xml"/><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sv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33.sv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svg"/><Relationship Id="rId4" Type="http://schemas.openxmlformats.org/officeDocument/2006/relationships/image" Target="../media/image31.svg"/><Relationship Id="rId9"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daty 2">
            <a:extLst>
              <a:ext uri="{FF2B5EF4-FFF2-40B4-BE49-F238E27FC236}">
                <a16:creationId xmlns:a16="http://schemas.microsoft.com/office/drawing/2014/main" id="{C7CAA233-FEB2-4402-8C1F-7F3533F72EBE}"/>
              </a:ext>
            </a:extLst>
          </p:cNvPr>
          <p:cNvSpPr>
            <a:spLocks noGrp="1"/>
          </p:cNvSpPr>
          <p:nvPr>
            <p:ph type="dt" sz="half" idx="10"/>
          </p:nvPr>
        </p:nvSpPr>
        <p:spPr/>
        <p:txBody>
          <a:bodyPr/>
          <a:lstStyle/>
          <a:p>
            <a:fld id="{D52FC31E-38ED-4283-A1B1-FE5D814C97BE}" type="datetime1">
              <a:rPr lang="pl-PL" smtClean="0"/>
              <a:t>21.03.2024</a:t>
            </a:fld>
            <a:endParaRPr lang="pl-PL" dirty="0"/>
          </a:p>
        </p:txBody>
      </p:sp>
      <p:sp>
        <p:nvSpPr>
          <p:cNvPr id="6" name="Tytuł 5">
            <a:extLst>
              <a:ext uri="{FF2B5EF4-FFF2-40B4-BE49-F238E27FC236}">
                <a16:creationId xmlns:a16="http://schemas.microsoft.com/office/drawing/2014/main" id="{05002A36-3F42-47EB-B6FF-94B3FCFA1A5D}"/>
              </a:ext>
            </a:extLst>
          </p:cNvPr>
          <p:cNvSpPr>
            <a:spLocks noGrp="1"/>
          </p:cNvSpPr>
          <p:nvPr>
            <p:ph type="title" idx="11"/>
          </p:nvPr>
        </p:nvSpPr>
        <p:spPr>
          <a:xfrm>
            <a:off x="228600" y="2514600"/>
            <a:ext cx="8176591" cy="1907053"/>
          </a:xfrm>
        </p:spPr>
        <p:txBody>
          <a:bodyPr>
            <a:normAutofit fontScale="90000"/>
          </a:bodyPr>
          <a:lstStyle/>
          <a:p>
            <a:r>
              <a:rPr lang="pl-PL" dirty="0">
                <a:effectLst/>
                <a:latin typeface="Calibri" panose="020F0502020204030204" pitchFamily="34" charset="0"/>
                <a:ea typeface="Calibri" panose="020F0502020204030204" pitchFamily="34" charset="0"/>
              </a:rPr>
              <a:t>Profesjonalne rozwiązanie dla rutynowych i specjalistycznych badań chemii klinicznej</a:t>
            </a:r>
            <a:br>
              <a:rPr lang="pl-PL" dirty="0"/>
            </a:br>
            <a:endParaRPr lang="pl-PL" dirty="0"/>
          </a:p>
        </p:txBody>
      </p:sp>
      <p:sp>
        <p:nvSpPr>
          <p:cNvPr id="2" name="pole tekstowe 1">
            <a:extLst>
              <a:ext uri="{FF2B5EF4-FFF2-40B4-BE49-F238E27FC236}">
                <a16:creationId xmlns:a16="http://schemas.microsoft.com/office/drawing/2014/main" id="{3DBDE5BD-D10C-A6F5-0555-1C3FD5194528}"/>
              </a:ext>
            </a:extLst>
          </p:cNvPr>
          <p:cNvSpPr txBox="1"/>
          <p:nvPr/>
        </p:nvSpPr>
        <p:spPr>
          <a:xfrm>
            <a:off x="381000" y="5044808"/>
            <a:ext cx="7010400" cy="1200329"/>
          </a:xfrm>
          <a:prstGeom prst="rect">
            <a:avLst/>
          </a:prstGeom>
          <a:noFill/>
        </p:spPr>
        <p:txBody>
          <a:bodyPr wrap="square" rtlCol="0">
            <a:spAutoFit/>
          </a:bodyPr>
          <a:lstStyle/>
          <a:p>
            <a:r>
              <a:rPr lang="pl-PL" dirty="0">
                <a:solidFill>
                  <a:srgbClr val="FF0000"/>
                </a:solidFill>
                <a:latin typeface="Calibri" panose="020F0502020204030204" pitchFamily="34" charset="0"/>
                <a:cs typeface="Calibri" panose="020F0502020204030204" pitchFamily="34" charset="0"/>
              </a:rPr>
              <a:t>Bartosz Wiza</a:t>
            </a:r>
          </a:p>
          <a:p>
            <a:r>
              <a:rPr lang="pl-PL" dirty="0">
                <a:solidFill>
                  <a:srgbClr val="FF0000"/>
                </a:solidFill>
                <a:latin typeface="Calibri" panose="020F0502020204030204" pitchFamily="34" charset="0"/>
                <a:cs typeface="Calibri" panose="020F0502020204030204" pitchFamily="34" charset="0"/>
              </a:rPr>
              <a:t>20.03.2024</a:t>
            </a:r>
          </a:p>
          <a:p>
            <a:r>
              <a:rPr lang="en-GB" sz="1800"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Biochemistry and Immunochemistry Project Manager</a:t>
            </a:r>
            <a:endParaRPr lang="pl-PL" sz="1800" dirty="0">
              <a:solidFill>
                <a:srgbClr val="FF0000"/>
              </a:solidFill>
              <a:effectLst/>
              <a:latin typeface="Calibri" panose="020F0502020204030204" pitchFamily="34" charset="0"/>
              <a:ea typeface="Calibri" panose="020F0502020204030204" pitchFamily="34" charset="0"/>
              <a:cs typeface="Calibri" panose="020F0502020204030204" pitchFamily="34" charset="0"/>
            </a:endParaRPr>
          </a:p>
          <a:p>
            <a:endParaRPr lang="pl-PL" dirty="0"/>
          </a:p>
        </p:txBody>
      </p:sp>
    </p:spTree>
    <p:extLst>
      <p:ext uri="{BB962C8B-B14F-4D97-AF65-F5344CB8AC3E}">
        <p14:creationId xmlns:p14="http://schemas.microsoft.com/office/powerpoint/2010/main" val="21343825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arallelogram 30">
            <a:extLst>
              <a:ext uri="{FF2B5EF4-FFF2-40B4-BE49-F238E27FC236}">
                <a16:creationId xmlns:a16="http://schemas.microsoft.com/office/drawing/2014/main" id="{5D425F58-015A-5928-2C9D-04743753724C}"/>
              </a:ext>
            </a:extLst>
          </p:cNvPr>
          <p:cNvSpPr>
            <a:spLocks/>
          </p:cNvSpPr>
          <p:nvPr/>
        </p:nvSpPr>
        <p:spPr bwMode="auto">
          <a:xfrm>
            <a:off x="1739005" y="2041851"/>
            <a:ext cx="5255662" cy="1607765"/>
          </a:xfrm>
          <a:prstGeom prst="parallelogram">
            <a:avLst>
              <a:gd name="adj" fmla="val 31844"/>
            </a:avLst>
          </a:prstGeom>
          <a:solidFill>
            <a:schemeClr val="accent3"/>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r>
              <a:rPr lang="en-US" sz="1800" dirty="0">
                <a:sym typeface="+mn-lt"/>
              </a:rPr>
              <a:t> </a:t>
            </a:r>
          </a:p>
        </p:txBody>
      </p:sp>
      <p:sp>
        <p:nvSpPr>
          <p:cNvPr id="3" name="Parallelogram 31">
            <a:extLst>
              <a:ext uri="{FF2B5EF4-FFF2-40B4-BE49-F238E27FC236}">
                <a16:creationId xmlns:a16="http://schemas.microsoft.com/office/drawing/2014/main" id="{E5433B48-CB89-B311-00D1-6C2524DC5155}"/>
              </a:ext>
            </a:extLst>
          </p:cNvPr>
          <p:cNvSpPr>
            <a:spLocks/>
          </p:cNvSpPr>
          <p:nvPr/>
        </p:nvSpPr>
        <p:spPr bwMode="auto">
          <a:xfrm>
            <a:off x="1184515" y="3751588"/>
            <a:ext cx="5255662" cy="1607765"/>
          </a:xfrm>
          <a:prstGeom prst="parallelogram">
            <a:avLst>
              <a:gd name="adj" fmla="val 31844"/>
            </a:avLst>
          </a:prstGeom>
          <a:solidFill>
            <a:schemeClr val="accent4"/>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r>
              <a:rPr lang="en-US" sz="1800" dirty="0">
                <a:sym typeface="+mn-lt"/>
              </a:rPr>
              <a:t> </a:t>
            </a:r>
          </a:p>
        </p:txBody>
      </p:sp>
      <p:pic>
        <p:nvPicPr>
          <p:cNvPr id="4" name="Bildplatzhalter 21" descr="Ein Bild, das Person, drinnen, Frau, Mann enthält.&#10;&#10;Automatisch generierte Beschreibung">
            <a:extLst>
              <a:ext uri="{FF2B5EF4-FFF2-40B4-BE49-F238E27FC236}">
                <a16:creationId xmlns:a16="http://schemas.microsoft.com/office/drawing/2014/main" id="{77F218E2-9583-6B6C-3068-4DE78CCE93E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60459" y="-1"/>
            <a:ext cx="6631541" cy="6858000"/>
          </a:xfrm>
          <a:custGeom>
            <a:avLst/>
            <a:gdLst>
              <a:gd name="connsiteX0" fmla="*/ 4761301 w 6631541"/>
              <a:gd name="connsiteY0" fmla="*/ 1 h 6858000"/>
              <a:gd name="connsiteX1" fmla="*/ 4761301 w 6631541"/>
              <a:gd name="connsiteY1" fmla="*/ 673805 h 6858000"/>
              <a:gd name="connsiteX2" fmla="*/ 6326740 w 6631541"/>
              <a:gd name="connsiteY2" fmla="*/ 673805 h 6858000"/>
              <a:gd name="connsiteX3" fmla="*/ 6326740 w 6631541"/>
              <a:gd name="connsiteY3" fmla="*/ 1 h 6858000"/>
              <a:gd name="connsiteX4" fmla="*/ 2183862 w 6631541"/>
              <a:gd name="connsiteY4" fmla="*/ 0 h 6858000"/>
              <a:gd name="connsiteX5" fmla="*/ 6631541 w 6631541"/>
              <a:gd name="connsiteY5" fmla="*/ 0 h 6858000"/>
              <a:gd name="connsiteX6" fmla="*/ 6631541 w 6631541"/>
              <a:gd name="connsiteY6" fmla="*/ 6858000 h 6858000"/>
              <a:gd name="connsiteX7" fmla="*/ 0 w 6631541"/>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1541" h="6858000">
                <a:moveTo>
                  <a:pt x="4761301" y="1"/>
                </a:moveTo>
                <a:lnTo>
                  <a:pt x="4761301" y="673805"/>
                </a:lnTo>
                <a:lnTo>
                  <a:pt x="6326740" y="673805"/>
                </a:lnTo>
                <a:lnTo>
                  <a:pt x="6326740" y="1"/>
                </a:lnTo>
                <a:close/>
                <a:moveTo>
                  <a:pt x="2183862" y="0"/>
                </a:moveTo>
                <a:lnTo>
                  <a:pt x="6631541" y="0"/>
                </a:lnTo>
                <a:lnTo>
                  <a:pt x="6631541" y="6858000"/>
                </a:lnTo>
                <a:lnTo>
                  <a:pt x="0" y="6858000"/>
                </a:lnTo>
                <a:close/>
              </a:path>
            </a:pathLst>
          </a:custGeom>
        </p:spPr>
      </p:pic>
      <p:sp>
        <p:nvSpPr>
          <p:cNvPr id="6" name="Titel 1">
            <a:extLst>
              <a:ext uri="{FF2B5EF4-FFF2-40B4-BE49-F238E27FC236}">
                <a16:creationId xmlns:a16="http://schemas.microsoft.com/office/drawing/2014/main" id="{2F5A669C-520D-EE5A-C684-A148FB335A08}"/>
              </a:ext>
            </a:extLst>
          </p:cNvPr>
          <p:cNvSpPr txBox="1">
            <a:spLocks/>
          </p:cNvSpPr>
          <p:nvPr/>
        </p:nvSpPr>
        <p:spPr>
          <a:xfrm>
            <a:off x="304801" y="304799"/>
            <a:ext cx="9753600" cy="381001"/>
          </a:xfrm>
          <a:prstGeom prst="rect">
            <a:avLst/>
          </a:prstGeom>
        </p:spPr>
        <p:txBody>
          <a:bodyPr/>
          <a:lstStyle>
            <a:lvl1pPr lvl="0" algn="l" rtl="0">
              <a:lnSpc>
                <a:spcPct val="90000"/>
              </a:lnSpc>
              <a:spcBef>
                <a:spcPct val="0"/>
              </a:spcBef>
              <a:buNone/>
              <a:defRPr lang="en-US" sz="4400" dirty="0">
                <a:solidFill>
                  <a:schemeClr val="tx1"/>
                </a:solidFill>
                <a:latin typeface="+mj-lt"/>
              </a:defRPr>
            </a:lvl1pPr>
          </a:lstStyle>
          <a:p>
            <a:r>
              <a:rPr lang="pl-PL" dirty="0">
                <a:solidFill>
                  <a:srgbClr val="C00000"/>
                </a:solidFill>
                <a:sym typeface="+mj-lt"/>
              </a:rPr>
              <a:t>Docelowy klient </a:t>
            </a:r>
          </a:p>
        </p:txBody>
      </p:sp>
      <p:sp>
        <p:nvSpPr>
          <p:cNvPr id="7" name="Textplatzhalter 24">
            <a:extLst>
              <a:ext uri="{FF2B5EF4-FFF2-40B4-BE49-F238E27FC236}">
                <a16:creationId xmlns:a16="http://schemas.microsoft.com/office/drawing/2014/main" id="{220CF1AD-0AAF-0581-3353-C9DD2012D799}"/>
              </a:ext>
            </a:extLst>
          </p:cNvPr>
          <p:cNvSpPr txBox="1">
            <a:spLocks/>
          </p:cNvSpPr>
          <p:nvPr/>
        </p:nvSpPr>
        <p:spPr>
          <a:xfrm>
            <a:off x="300226" y="893063"/>
            <a:ext cx="11591547" cy="381001"/>
          </a:xfrm>
          <a:prstGeom prst="rect">
            <a:avLst/>
          </a:prstGeom>
        </p:spPr>
        <p:txBody>
          <a:bodyPr/>
          <a:lstStyle>
            <a:lvl1pPr marL="228600" lvl="0" indent="-228600" algn="l" rtl="0">
              <a:lnSpc>
                <a:spcPct val="90000"/>
              </a:lnSpc>
              <a:spcBef>
                <a:spcPts val="1000"/>
              </a:spcBef>
              <a:buFont typeface="Arial"/>
              <a:buChar char="•"/>
              <a:defRPr lang="en-US" sz="2800" dirty="0">
                <a:solidFill>
                  <a:schemeClr val="tx1"/>
                </a:solidFill>
                <a:latin typeface="+mn-lt"/>
              </a:defRPr>
            </a:lvl1pPr>
            <a:lvl2pPr marL="685800" lvl="1" indent="-228600" algn="l" rtl="0">
              <a:lnSpc>
                <a:spcPct val="90000"/>
              </a:lnSpc>
              <a:spcBef>
                <a:spcPts val="500"/>
              </a:spcBef>
              <a:buFont typeface="Arial"/>
              <a:buChar char="•"/>
              <a:defRPr lang="en-US" sz="2400" dirty="0">
                <a:solidFill>
                  <a:schemeClr val="tx1"/>
                </a:solidFill>
                <a:latin typeface="+mn-lt"/>
              </a:defRPr>
            </a:lvl2pPr>
            <a:lvl3pPr marL="1143000" lvl="2" indent="-228600" algn="l" rtl="0">
              <a:lnSpc>
                <a:spcPct val="90000"/>
              </a:lnSpc>
              <a:spcBef>
                <a:spcPts val="500"/>
              </a:spcBef>
              <a:buFont typeface="Arial"/>
              <a:buChar char="•"/>
              <a:defRPr lang="en-US" sz="2000" dirty="0">
                <a:solidFill>
                  <a:schemeClr val="tx1"/>
                </a:solidFill>
                <a:latin typeface="+mn-lt"/>
              </a:defRPr>
            </a:lvl3pPr>
            <a:lvl4pPr marL="1600200" lvl="3" indent="-228600" algn="l" rtl="0">
              <a:lnSpc>
                <a:spcPct val="90000"/>
              </a:lnSpc>
              <a:spcBef>
                <a:spcPts val="500"/>
              </a:spcBef>
              <a:buFont typeface="Arial"/>
              <a:buChar char="•"/>
              <a:defRPr lang="en-US" sz="1800" dirty="0">
                <a:solidFill>
                  <a:schemeClr val="tx1"/>
                </a:solidFill>
                <a:latin typeface="+mn-lt"/>
              </a:defRPr>
            </a:lvl4pPr>
            <a:lvl5pPr marL="2057400" lvl="4" indent="-228600" algn="l" rtl="0">
              <a:lnSpc>
                <a:spcPct val="90000"/>
              </a:lnSpc>
              <a:spcBef>
                <a:spcPts val="500"/>
              </a:spcBef>
              <a:buFont typeface="Arial"/>
              <a:buChar char="•"/>
              <a:defRPr lang="en-US" sz="1800" dirty="0">
                <a:solidFill>
                  <a:schemeClr val="tx1"/>
                </a:solidFill>
                <a:latin typeface="+mn-lt"/>
              </a:defRPr>
            </a:lvl5pPr>
            <a:lvl6pPr marL="2514600" lvl="5" indent="-228600" algn="l" rtl="0">
              <a:lnSpc>
                <a:spcPct val="90000"/>
              </a:lnSpc>
              <a:spcBef>
                <a:spcPts val="500"/>
              </a:spcBef>
              <a:buFont typeface="Arial"/>
              <a:buChar char="•"/>
              <a:defRPr lang="en-US" sz="1800" dirty="0">
                <a:solidFill>
                  <a:schemeClr val="tx1"/>
                </a:solidFill>
                <a:latin typeface="+mn-lt"/>
              </a:defRPr>
            </a:lvl6pPr>
            <a:lvl7pPr marL="2971800" lvl="6" indent="-228600" algn="l" rtl="0">
              <a:lnSpc>
                <a:spcPct val="90000"/>
              </a:lnSpc>
              <a:spcBef>
                <a:spcPts val="500"/>
              </a:spcBef>
              <a:buFont typeface="Arial"/>
              <a:buChar char="•"/>
              <a:defRPr lang="en-US" sz="1800" dirty="0">
                <a:solidFill>
                  <a:schemeClr val="tx1"/>
                </a:solidFill>
                <a:latin typeface="+mn-lt"/>
              </a:defRPr>
            </a:lvl7pPr>
            <a:lvl8pPr marL="3429000" lvl="7" indent="-228600" algn="l" rtl="0">
              <a:lnSpc>
                <a:spcPct val="90000"/>
              </a:lnSpc>
              <a:spcBef>
                <a:spcPts val="500"/>
              </a:spcBef>
              <a:buFont typeface="Arial"/>
              <a:buChar char="•"/>
              <a:defRPr lang="en-US" sz="1800" dirty="0">
                <a:solidFill>
                  <a:schemeClr val="tx1"/>
                </a:solidFill>
                <a:latin typeface="+mn-lt"/>
              </a:defRPr>
            </a:lvl8pPr>
            <a:lvl9pPr marL="3886200" lvl="8" indent="-228600" algn="l" rtl="0">
              <a:lnSpc>
                <a:spcPct val="90000"/>
              </a:lnSpc>
              <a:spcBef>
                <a:spcPts val="500"/>
              </a:spcBef>
              <a:buFont typeface="Arial"/>
              <a:buChar char="•"/>
              <a:defRPr lang="en-US" sz="1800" dirty="0">
                <a:solidFill>
                  <a:schemeClr val="tx1"/>
                </a:solidFill>
                <a:latin typeface="+mn-lt"/>
              </a:defRPr>
            </a:lvl9pPr>
          </a:lstStyle>
          <a:p>
            <a:r>
              <a:rPr lang="pl-PL" dirty="0">
                <a:sym typeface="+mn-lt"/>
              </a:rPr>
              <a:t>Analizatory </a:t>
            </a:r>
            <a:r>
              <a:rPr lang="pl-PL" dirty="0" err="1">
                <a:sym typeface="+mn-lt"/>
              </a:rPr>
              <a:t>Indiko</a:t>
            </a:r>
            <a:r>
              <a:rPr lang="pl-PL" dirty="0">
                <a:sym typeface="+mn-lt"/>
              </a:rPr>
              <a:t> zarówno do </a:t>
            </a:r>
          </a:p>
          <a:p>
            <a:pPr marL="0" indent="0">
              <a:buNone/>
            </a:pPr>
            <a:r>
              <a:rPr lang="pl-PL" dirty="0">
                <a:sym typeface="+mn-lt"/>
              </a:rPr>
              <a:t>   małych jak i średnich laboratoriów</a:t>
            </a:r>
            <a:endParaRPr lang="en-US" dirty="0">
              <a:sym typeface="+mn-lt"/>
            </a:endParaRPr>
          </a:p>
        </p:txBody>
      </p:sp>
      <p:sp>
        <p:nvSpPr>
          <p:cNvPr id="8" name="Inhaltsplatzhalter 1">
            <a:extLst>
              <a:ext uri="{FF2B5EF4-FFF2-40B4-BE49-F238E27FC236}">
                <a16:creationId xmlns:a16="http://schemas.microsoft.com/office/drawing/2014/main" id="{0305D172-2DE0-5340-8310-91BBF75BD023}"/>
              </a:ext>
            </a:extLst>
          </p:cNvPr>
          <p:cNvSpPr txBox="1">
            <a:spLocks/>
          </p:cNvSpPr>
          <p:nvPr/>
        </p:nvSpPr>
        <p:spPr bwMode="auto">
          <a:xfrm>
            <a:off x="2039011" y="2241842"/>
            <a:ext cx="4655650" cy="126188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188913" indent="-188913" algn="l" defTabSz="171450" rtl="0" eaLnBrk="1" fontAlgn="base" hangingPunct="1">
              <a:spcBef>
                <a:spcPct val="0"/>
              </a:spcBef>
              <a:spcAft>
                <a:spcPts val="600"/>
              </a:spcAft>
              <a:buClr>
                <a:schemeClr val="accent4"/>
              </a:buClr>
              <a:buChar char="•"/>
              <a:defRPr sz="2000" b="0">
                <a:solidFill>
                  <a:schemeClr val="tx1"/>
                </a:solidFill>
                <a:latin typeface="+mn-lt"/>
                <a:ea typeface="ＭＳ Ｐゴシック" pitchFamily="-60" charset="-128"/>
                <a:cs typeface="ＭＳ Ｐゴシック" pitchFamily="-60" charset="-128"/>
              </a:defRPr>
            </a:lvl1pPr>
            <a:lvl2pPr marL="342900" indent="-171450" algn="l" defTabSz="342900" rtl="0" eaLnBrk="1" fontAlgn="base" hangingPunct="1">
              <a:spcBef>
                <a:spcPct val="0"/>
              </a:spcBef>
              <a:spcAft>
                <a:spcPts val="600"/>
              </a:spcAft>
              <a:buClr>
                <a:schemeClr val="accent5">
                  <a:lumMod val="75000"/>
                </a:schemeClr>
              </a:buClr>
              <a:buFont typeface="Arial" pitchFamily="34" charset="0"/>
              <a:buChar char="•"/>
              <a:defRPr sz="1800" baseline="0">
                <a:solidFill>
                  <a:schemeClr val="tx1"/>
                </a:solidFill>
                <a:latin typeface="+mn-lt"/>
                <a:ea typeface="ＭＳ Ｐゴシック" pitchFamily="124" charset="-128"/>
              </a:defRPr>
            </a:lvl2pPr>
            <a:lvl3pPr marL="571500" indent="-171450" algn="l" defTabSz="571500" rtl="0" eaLnBrk="1" fontAlgn="base" hangingPunct="1">
              <a:spcBef>
                <a:spcPct val="0"/>
              </a:spcBef>
              <a:spcAft>
                <a:spcPts val="600"/>
              </a:spcAft>
              <a:buClr>
                <a:schemeClr val="accent5">
                  <a:lumMod val="75000"/>
                </a:schemeClr>
              </a:buClr>
              <a:buFont typeface="Arial" pitchFamily="34" charset="0"/>
              <a:buChar char="•"/>
              <a:defRPr sz="1600">
                <a:solidFill>
                  <a:schemeClr val="tx1"/>
                </a:solidFill>
                <a:latin typeface="+mn-lt"/>
                <a:ea typeface="ＭＳ Ｐゴシック" pitchFamily="124" charset="-128"/>
              </a:defRPr>
            </a:lvl3pPr>
            <a:lvl4pPr marL="1317625" indent="-203200" algn="l" rtl="0" eaLnBrk="1" fontAlgn="base" hangingPunct="1">
              <a:spcBef>
                <a:spcPct val="0"/>
              </a:spcBef>
              <a:spcAft>
                <a:spcPct val="20000"/>
              </a:spcAft>
              <a:buFont typeface="Symbol" pitchFamily="18" charset="2"/>
              <a:buChar char="-"/>
              <a:defRPr sz="1600">
                <a:solidFill>
                  <a:schemeClr val="tx1"/>
                </a:solidFill>
                <a:latin typeface="+mn-lt"/>
                <a:ea typeface="ＭＳ Ｐゴシック" pitchFamily="124" charset="-128"/>
              </a:defRPr>
            </a:lvl4pPr>
            <a:lvl5pPr marL="17160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5pPr>
            <a:lvl6pPr marL="21732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6pPr>
            <a:lvl7pPr marL="26304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7pPr>
            <a:lvl8pPr marL="30876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8pPr>
            <a:lvl9pPr marL="35448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9pPr>
          </a:lstStyle>
          <a:p>
            <a:pPr marL="0" indent="0" algn="ctr">
              <a:buNone/>
            </a:pPr>
            <a:r>
              <a:rPr lang="pl-PL" sz="2400" b="1" dirty="0" err="1">
                <a:solidFill>
                  <a:schemeClr val="bg1"/>
                </a:solidFill>
                <a:ea typeface="+mn-ea"/>
                <a:cs typeface="+mn-cs"/>
                <a:sym typeface="+mn-lt"/>
              </a:rPr>
              <a:t>Wydajnośc</a:t>
            </a:r>
            <a:r>
              <a:rPr lang="pl-PL" sz="2400" b="1" dirty="0">
                <a:solidFill>
                  <a:schemeClr val="bg1"/>
                </a:solidFill>
                <a:ea typeface="+mn-ea"/>
                <a:cs typeface="+mn-cs"/>
                <a:sym typeface="+mn-lt"/>
              </a:rPr>
              <a:t> :</a:t>
            </a:r>
          </a:p>
          <a:p>
            <a:pPr marL="0" indent="0" algn="ctr">
              <a:buNone/>
            </a:pPr>
            <a:r>
              <a:rPr lang="pl-PL" sz="2400" b="1" dirty="0" err="1">
                <a:solidFill>
                  <a:schemeClr val="bg1"/>
                </a:solidFill>
                <a:ea typeface="+mn-ea"/>
                <a:cs typeface="+mn-cs"/>
                <a:sym typeface="+mn-lt"/>
              </a:rPr>
              <a:t>Indiko</a:t>
            </a:r>
            <a:r>
              <a:rPr lang="pl-PL" sz="2400" b="1" dirty="0">
                <a:solidFill>
                  <a:schemeClr val="bg1"/>
                </a:solidFill>
                <a:ea typeface="+mn-ea"/>
                <a:cs typeface="+mn-cs"/>
                <a:sym typeface="+mn-lt"/>
              </a:rPr>
              <a:t>: do 200T/H</a:t>
            </a:r>
          </a:p>
          <a:p>
            <a:pPr marL="0" indent="0" algn="ctr">
              <a:buNone/>
            </a:pPr>
            <a:r>
              <a:rPr lang="pl-PL" sz="2400" b="1" dirty="0" err="1">
                <a:solidFill>
                  <a:schemeClr val="bg1"/>
                </a:solidFill>
                <a:ea typeface="+mn-ea"/>
                <a:cs typeface="+mn-cs"/>
                <a:sym typeface="+mn-lt"/>
              </a:rPr>
              <a:t>Indiko</a:t>
            </a:r>
            <a:r>
              <a:rPr lang="pl-PL" sz="2400" b="1" dirty="0">
                <a:solidFill>
                  <a:schemeClr val="bg1"/>
                </a:solidFill>
                <a:ea typeface="+mn-ea"/>
                <a:cs typeface="+mn-cs"/>
                <a:sym typeface="+mn-lt"/>
              </a:rPr>
              <a:t> Plus: do 350T/H</a:t>
            </a:r>
            <a:endParaRPr lang="en-US" sz="2400" b="1" dirty="0">
              <a:solidFill>
                <a:schemeClr val="bg1"/>
              </a:solidFill>
              <a:ea typeface="+mn-ea"/>
              <a:cs typeface="+mn-cs"/>
              <a:sym typeface="+mn-lt"/>
            </a:endParaRPr>
          </a:p>
        </p:txBody>
      </p:sp>
      <p:sp>
        <p:nvSpPr>
          <p:cNvPr id="9" name="Inhaltsplatzhalter 1">
            <a:extLst>
              <a:ext uri="{FF2B5EF4-FFF2-40B4-BE49-F238E27FC236}">
                <a16:creationId xmlns:a16="http://schemas.microsoft.com/office/drawing/2014/main" id="{100C1533-CFE2-1EE7-C581-DA5C3EB6CC86}"/>
              </a:ext>
            </a:extLst>
          </p:cNvPr>
          <p:cNvSpPr txBox="1">
            <a:spLocks/>
          </p:cNvSpPr>
          <p:nvPr/>
        </p:nvSpPr>
        <p:spPr bwMode="auto">
          <a:xfrm>
            <a:off x="1484521" y="4370804"/>
            <a:ext cx="465565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188913" indent="-188913" algn="l" defTabSz="171450" rtl="0" eaLnBrk="1" fontAlgn="base" hangingPunct="1">
              <a:spcBef>
                <a:spcPct val="0"/>
              </a:spcBef>
              <a:spcAft>
                <a:spcPts val="600"/>
              </a:spcAft>
              <a:buClr>
                <a:schemeClr val="accent4"/>
              </a:buClr>
              <a:buChar char="•"/>
              <a:defRPr sz="2000" b="0">
                <a:solidFill>
                  <a:schemeClr val="tx1"/>
                </a:solidFill>
                <a:latin typeface="+mn-lt"/>
                <a:ea typeface="ＭＳ Ｐゴシック" pitchFamily="-60" charset="-128"/>
                <a:cs typeface="ＭＳ Ｐゴシック" pitchFamily="-60" charset="-128"/>
              </a:defRPr>
            </a:lvl1pPr>
            <a:lvl2pPr marL="342900" indent="-171450" algn="l" defTabSz="342900" rtl="0" eaLnBrk="1" fontAlgn="base" hangingPunct="1">
              <a:spcBef>
                <a:spcPct val="0"/>
              </a:spcBef>
              <a:spcAft>
                <a:spcPts val="600"/>
              </a:spcAft>
              <a:buClr>
                <a:schemeClr val="accent5">
                  <a:lumMod val="75000"/>
                </a:schemeClr>
              </a:buClr>
              <a:buFont typeface="Arial" pitchFamily="34" charset="0"/>
              <a:buChar char="•"/>
              <a:defRPr sz="1800" baseline="0">
                <a:solidFill>
                  <a:schemeClr val="tx1"/>
                </a:solidFill>
                <a:latin typeface="+mn-lt"/>
                <a:ea typeface="ＭＳ Ｐゴシック" pitchFamily="124" charset="-128"/>
              </a:defRPr>
            </a:lvl2pPr>
            <a:lvl3pPr marL="571500" indent="-171450" algn="l" defTabSz="571500" rtl="0" eaLnBrk="1" fontAlgn="base" hangingPunct="1">
              <a:spcBef>
                <a:spcPct val="0"/>
              </a:spcBef>
              <a:spcAft>
                <a:spcPts val="600"/>
              </a:spcAft>
              <a:buClr>
                <a:schemeClr val="accent5">
                  <a:lumMod val="75000"/>
                </a:schemeClr>
              </a:buClr>
              <a:buFont typeface="Arial" pitchFamily="34" charset="0"/>
              <a:buChar char="•"/>
              <a:defRPr sz="1600">
                <a:solidFill>
                  <a:schemeClr val="tx1"/>
                </a:solidFill>
                <a:latin typeface="+mn-lt"/>
                <a:ea typeface="ＭＳ Ｐゴシック" pitchFamily="124" charset="-128"/>
              </a:defRPr>
            </a:lvl3pPr>
            <a:lvl4pPr marL="1317625" indent="-203200" algn="l" rtl="0" eaLnBrk="1" fontAlgn="base" hangingPunct="1">
              <a:spcBef>
                <a:spcPct val="0"/>
              </a:spcBef>
              <a:spcAft>
                <a:spcPct val="20000"/>
              </a:spcAft>
              <a:buFont typeface="Symbol" pitchFamily="18" charset="2"/>
              <a:buChar char="-"/>
              <a:defRPr sz="1600">
                <a:solidFill>
                  <a:schemeClr val="tx1"/>
                </a:solidFill>
                <a:latin typeface="+mn-lt"/>
                <a:ea typeface="ＭＳ Ｐゴシック" pitchFamily="124" charset="-128"/>
              </a:defRPr>
            </a:lvl4pPr>
            <a:lvl5pPr marL="17160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5pPr>
            <a:lvl6pPr marL="21732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6pPr>
            <a:lvl7pPr marL="26304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7pPr>
            <a:lvl8pPr marL="30876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8pPr>
            <a:lvl9pPr marL="35448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9pPr>
          </a:lstStyle>
          <a:p>
            <a:pPr marL="0" indent="0" algn="ctr">
              <a:buNone/>
            </a:pPr>
            <a:r>
              <a:rPr lang="pl-PL" sz="2400" b="1" dirty="0">
                <a:solidFill>
                  <a:schemeClr val="bg1"/>
                </a:solidFill>
                <a:ea typeface="+mn-ea"/>
                <a:cs typeface="+mn-cs"/>
                <a:sym typeface="+mn-lt"/>
              </a:rPr>
              <a:t>Do </a:t>
            </a:r>
            <a:r>
              <a:rPr lang="en-US" sz="2400" b="1" dirty="0">
                <a:solidFill>
                  <a:schemeClr val="bg1"/>
                </a:solidFill>
                <a:ea typeface="+mn-ea"/>
                <a:cs typeface="+mn-cs"/>
                <a:sym typeface="+mn-lt"/>
              </a:rPr>
              <a:t>300,000 test</a:t>
            </a:r>
            <a:r>
              <a:rPr lang="pl-PL" sz="2400" b="1" dirty="0">
                <a:solidFill>
                  <a:schemeClr val="bg1"/>
                </a:solidFill>
                <a:ea typeface="+mn-ea"/>
                <a:cs typeface="+mn-cs"/>
                <a:sym typeface="+mn-lt"/>
              </a:rPr>
              <a:t>ów</a:t>
            </a:r>
            <a:r>
              <a:rPr lang="en-US" sz="2400" b="1" dirty="0">
                <a:solidFill>
                  <a:schemeClr val="bg1"/>
                </a:solidFill>
                <a:ea typeface="+mn-ea"/>
                <a:cs typeface="+mn-cs"/>
                <a:sym typeface="+mn-lt"/>
              </a:rPr>
              <a:t>/</a:t>
            </a:r>
            <a:r>
              <a:rPr lang="pl-PL" sz="2400" b="1" dirty="0">
                <a:solidFill>
                  <a:schemeClr val="bg1"/>
                </a:solidFill>
                <a:ea typeface="+mn-ea"/>
                <a:cs typeface="+mn-cs"/>
                <a:sym typeface="+mn-lt"/>
              </a:rPr>
              <a:t>rok</a:t>
            </a:r>
            <a:endParaRPr lang="en-US" sz="2400" b="1" dirty="0">
              <a:solidFill>
                <a:schemeClr val="bg1"/>
              </a:solidFill>
              <a:ea typeface="+mn-ea"/>
              <a:cs typeface="+mn-cs"/>
              <a:sym typeface="+mn-lt"/>
            </a:endParaRPr>
          </a:p>
        </p:txBody>
      </p:sp>
      <p:pic>
        <p:nvPicPr>
          <p:cNvPr id="10" name="Graphic 13">
            <a:extLst>
              <a:ext uri="{FF2B5EF4-FFF2-40B4-BE49-F238E27FC236}">
                <a16:creationId xmlns:a16="http://schemas.microsoft.com/office/drawing/2014/main" id="{BCDEFA6B-F5E7-E64A-3447-59F6274E13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8900" y="4087470"/>
            <a:ext cx="936000" cy="936000"/>
          </a:xfrm>
          <a:prstGeom prst="rect">
            <a:avLst/>
          </a:prstGeom>
        </p:spPr>
      </p:pic>
      <p:pic>
        <p:nvPicPr>
          <p:cNvPr id="11" name="Grafik 6">
            <a:extLst>
              <a:ext uri="{FF2B5EF4-FFF2-40B4-BE49-F238E27FC236}">
                <a16:creationId xmlns:a16="http://schemas.microsoft.com/office/drawing/2014/main" id="{AFA7319D-3FBA-A9AE-99D6-0905FAC394B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6396" y="2310577"/>
            <a:ext cx="1070312" cy="1070312"/>
          </a:xfrm>
          <a:prstGeom prst="rect">
            <a:avLst/>
          </a:prstGeom>
        </p:spPr>
      </p:pic>
    </p:spTree>
    <p:extLst>
      <p:ext uri="{BB962C8B-B14F-4D97-AF65-F5344CB8AC3E}">
        <p14:creationId xmlns:p14="http://schemas.microsoft.com/office/powerpoint/2010/main" val="23595691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0FDBDC-68AE-D99B-803A-2F34F4CD7664}"/>
              </a:ext>
            </a:extLst>
          </p:cNvPr>
          <p:cNvSpPr txBox="1">
            <a:spLocks/>
          </p:cNvSpPr>
          <p:nvPr/>
        </p:nvSpPr>
        <p:spPr>
          <a:xfrm>
            <a:off x="304800" y="304799"/>
            <a:ext cx="11125199" cy="381001"/>
          </a:xfrm>
          <a:prstGeom prst="rect">
            <a:avLst/>
          </a:prstGeom>
        </p:spPr>
        <p:txBody>
          <a:bodyPr/>
          <a:lstStyle>
            <a:lvl1pPr lvl="0" algn="l" rtl="0">
              <a:lnSpc>
                <a:spcPct val="90000"/>
              </a:lnSpc>
              <a:spcBef>
                <a:spcPct val="0"/>
              </a:spcBef>
              <a:buNone/>
              <a:defRPr lang="en-US" sz="4400" dirty="0">
                <a:solidFill>
                  <a:schemeClr val="tx1"/>
                </a:solidFill>
                <a:latin typeface="+mj-lt"/>
              </a:defRPr>
            </a:lvl1pPr>
          </a:lstStyle>
          <a:p>
            <a:r>
              <a:rPr lang="pl-PL" sz="3600" dirty="0">
                <a:solidFill>
                  <a:srgbClr val="C00000"/>
                </a:solidFill>
                <a:sym typeface="+mj-lt"/>
              </a:rPr>
              <a:t>Parametry dostępne dla systemów </a:t>
            </a:r>
            <a:r>
              <a:rPr lang="pl-PL" sz="3600" dirty="0" err="1">
                <a:solidFill>
                  <a:srgbClr val="C00000"/>
                </a:solidFill>
                <a:sym typeface="+mj-lt"/>
              </a:rPr>
              <a:t>Indiko</a:t>
            </a:r>
            <a:endParaRPr lang="pl-PL" sz="3600" dirty="0">
              <a:solidFill>
                <a:srgbClr val="C00000"/>
              </a:solidFill>
              <a:sym typeface="+mj-lt"/>
            </a:endParaRPr>
          </a:p>
        </p:txBody>
      </p:sp>
      <p:sp>
        <p:nvSpPr>
          <p:cNvPr id="4" name="Textplatzhalter 6">
            <a:extLst>
              <a:ext uri="{FF2B5EF4-FFF2-40B4-BE49-F238E27FC236}">
                <a16:creationId xmlns:a16="http://schemas.microsoft.com/office/drawing/2014/main" id="{73FC1838-DB04-9BCD-216C-13AD01F84CD4}"/>
              </a:ext>
            </a:extLst>
          </p:cNvPr>
          <p:cNvSpPr txBox="1">
            <a:spLocks/>
          </p:cNvSpPr>
          <p:nvPr/>
        </p:nvSpPr>
        <p:spPr>
          <a:xfrm>
            <a:off x="300226" y="893063"/>
            <a:ext cx="11591547" cy="381001"/>
          </a:xfrm>
          <a:prstGeom prst="rect">
            <a:avLst/>
          </a:prstGeom>
        </p:spPr>
        <p:txBody>
          <a:bodyPr/>
          <a:lstStyle>
            <a:lvl1pPr marL="228600" lvl="0" indent="-228600" algn="l" rtl="0">
              <a:lnSpc>
                <a:spcPct val="90000"/>
              </a:lnSpc>
              <a:spcBef>
                <a:spcPts val="1000"/>
              </a:spcBef>
              <a:buFont typeface="Arial"/>
              <a:buChar char="•"/>
              <a:defRPr lang="en-US" sz="2800" dirty="0">
                <a:solidFill>
                  <a:schemeClr val="tx1"/>
                </a:solidFill>
                <a:latin typeface="+mn-lt"/>
              </a:defRPr>
            </a:lvl1pPr>
            <a:lvl2pPr marL="685800" lvl="1" indent="-228600" algn="l" rtl="0">
              <a:lnSpc>
                <a:spcPct val="90000"/>
              </a:lnSpc>
              <a:spcBef>
                <a:spcPts val="500"/>
              </a:spcBef>
              <a:buFont typeface="Arial"/>
              <a:buChar char="•"/>
              <a:defRPr lang="en-US" sz="2400" dirty="0">
                <a:solidFill>
                  <a:schemeClr val="tx1"/>
                </a:solidFill>
                <a:latin typeface="+mn-lt"/>
              </a:defRPr>
            </a:lvl2pPr>
            <a:lvl3pPr marL="1143000" lvl="2" indent="-228600" algn="l" rtl="0">
              <a:lnSpc>
                <a:spcPct val="90000"/>
              </a:lnSpc>
              <a:spcBef>
                <a:spcPts val="500"/>
              </a:spcBef>
              <a:buFont typeface="Arial"/>
              <a:buChar char="•"/>
              <a:defRPr lang="en-US" sz="2000" dirty="0">
                <a:solidFill>
                  <a:schemeClr val="tx1"/>
                </a:solidFill>
                <a:latin typeface="+mn-lt"/>
              </a:defRPr>
            </a:lvl3pPr>
            <a:lvl4pPr marL="1600200" lvl="3" indent="-228600" algn="l" rtl="0">
              <a:lnSpc>
                <a:spcPct val="90000"/>
              </a:lnSpc>
              <a:spcBef>
                <a:spcPts val="500"/>
              </a:spcBef>
              <a:buFont typeface="Arial"/>
              <a:buChar char="•"/>
              <a:defRPr lang="en-US" sz="1800" dirty="0">
                <a:solidFill>
                  <a:schemeClr val="tx1"/>
                </a:solidFill>
                <a:latin typeface="+mn-lt"/>
              </a:defRPr>
            </a:lvl4pPr>
            <a:lvl5pPr marL="2057400" lvl="4" indent="-228600" algn="l" rtl="0">
              <a:lnSpc>
                <a:spcPct val="90000"/>
              </a:lnSpc>
              <a:spcBef>
                <a:spcPts val="500"/>
              </a:spcBef>
              <a:buFont typeface="Arial"/>
              <a:buChar char="•"/>
              <a:defRPr lang="en-US" sz="1800" dirty="0">
                <a:solidFill>
                  <a:schemeClr val="tx1"/>
                </a:solidFill>
                <a:latin typeface="+mn-lt"/>
              </a:defRPr>
            </a:lvl5pPr>
            <a:lvl6pPr marL="2514600" lvl="5" indent="-228600" algn="l" rtl="0">
              <a:lnSpc>
                <a:spcPct val="90000"/>
              </a:lnSpc>
              <a:spcBef>
                <a:spcPts val="500"/>
              </a:spcBef>
              <a:buFont typeface="Arial"/>
              <a:buChar char="•"/>
              <a:defRPr lang="en-US" sz="1800" dirty="0">
                <a:solidFill>
                  <a:schemeClr val="tx1"/>
                </a:solidFill>
                <a:latin typeface="+mn-lt"/>
              </a:defRPr>
            </a:lvl6pPr>
            <a:lvl7pPr marL="2971800" lvl="6" indent="-228600" algn="l" rtl="0">
              <a:lnSpc>
                <a:spcPct val="90000"/>
              </a:lnSpc>
              <a:spcBef>
                <a:spcPts val="500"/>
              </a:spcBef>
              <a:buFont typeface="Arial"/>
              <a:buChar char="•"/>
              <a:defRPr lang="en-US" sz="1800" dirty="0">
                <a:solidFill>
                  <a:schemeClr val="tx1"/>
                </a:solidFill>
                <a:latin typeface="+mn-lt"/>
              </a:defRPr>
            </a:lvl7pPr>
            <a:lvl8pPr marL="3429000" lvl="7" indent="-228600" algn="l" rtl="0">
              <a:lnSpc>
                <a:spcPct val="90000"/>
              </a:lnSpc>
              <a:spcBef>
                <a:spcPts val="500"/>
              </a:spcBef>
              <a:buFont typeface="Arial"/>
              <a:buChar char="•"/>
              <a:defRPr lang="en-US" sz="1800" dirty="0">
                <a:solidFill>
                  <a:schemeClr val="tx1"/>
                </a:solidFill>
                <a:latin typeface="+mn-lt"/>
              </a:defRPr>
            </a:lvl8pPr>
            <a:lvl9pPr marL="3886200" lvl="8" indent="-228600" algn="l" rtl="0">
              <a:lnSpc>
                <a:spcPct val="90000"/>
              </a:lnSpc>
              <a:spcBef>
                <a:spcPts val="500"/>
              </a:spcBef>
              <a:buFont typeface="Arial"/>
              <a:buChar char="•"/>
              <a:defRPr lang="en-US" sz="1800" dirty="0">
                <a:solidFill>
                  <a:schemeClr val="tx1"/>
                </a:solidFill>
                <a:latin typeface="+mn-lt"/>
              </a:defRPr>
            </a:lvl9pPr>
          </a:lstStyle>
          <a:p>
            <a:r>
              <a:rPr lang="pl-PL" sz="2000" dirty="0">
                <a:sym typeface="+mn-lt"/>
              </a:rPr>
              <a:t>Wiarygodne wyniki dla monitorowania pacjenta</a:t>
            </a:r>
            <a:endParaRPr lang="en-US" sz="2000" dirty="0">
              <a:sym typeface="+mn-lt"/>
            </a:endParaRPr>
          </a:p>
          <a:p>
            <a:endParaRPr lang="en-US" dirty="0"/>
          </a:p>
        </p:txBody>
      </p:sp>
      <p:sp>
        <p:nvSpPr>
          <p:cNvPr id="5" name="Text Placeholder 25">
            <a:extLst>
              <a:ext uri="{FF2B5EF4-FFF2-40B4-BE49-F238E27FC236}">
                <a16:creationId xmlns:a16="http://schemas.microsoft.com/office/drawing/2014/main" id="{B964B87F-DC57-447E-813C-31D9D6AAF983}"/>
              </a:ext>
            </a:extLst>
          </p:cNvPr>
          <p:cNvSpPr txBox="1">
            <a:spLocks/>
          </p:cNvSpPr>
          <p:nvPr/>
        </p:nvSpPr>
        <p:spPr>
          <a:xfrm>
            <a:off x="304797" y="5768594"/>
            <a:ext cx="11582401" cy="776366"/>
          </a:xfrm>
          <a:prstGeom prst="rect">
            <a:avLst/>
          </a:prstGeom>
        </p:spPr>
        <p:txBody>
          <a:bodyPr>
            <a:spAutoFit/>
          </a:bodyPr>
          <a:lstStyle>
            <a:lvl1pPr marL="228600" lvl="0" indent="-228600" algn="l" rtl="0">
              <a:lnSpc>
                <a:spcPct val="90000"/>
              </a:lnSpc>
              <a:spcBef>
                <a:spcPts val="1000"/>
              </a:spcBef>
              <a:buFont typeface="Arial"/>
              <a:buChar char="•"/>
              <a:defRPr lang="en-US" sz="2800" dirty="0">
                <a:solidFill>
                  <a:schemeClr val="tx1"/>
                </a:solidFill>
                <a:latin typeface="+mn-lt"/>
              </a:defRPr>
            </a:lvl1pPr>
            <a:lvl2pPr marL="685800" lvl="1" indent="-228600" algn="l" rtl="0">
              <a:lnSpc>
                <a:spcPct val="90000"/>
              </a:lnSpc>
              <a:spcBef>
                <a:spcPts val="500"/>
              </a:spcBef>
              <a:buFont typeface="Arial"/>
              <a:buChar char="•"/>
              <a:defRPr lang="en-US" sz="2400" dirty="0">
                <a:solidFill>
                  <a:schemeClr val="tx1"/>
                </a:solidFill>
                <a:latin typeface="+mn-lt"/>
              </a:defRPr>
            </a:lvl2pPr>
            <a:lvl3pPr marL="1143000" lvl="2" indent="-228600" algn="l" rtl="0">
              <a:lnSpc>
                <a:spcPct val="90000"/>
              </a:lnSpc>
              <a:spcBef>
                <a:spcPts val="500"/>
              </a:spcBef>
              <a:buFont typeface="Arial"/>
              <a:buChar char="•"/>
              <a:defRPr lang="en-US" sz="2000" dirty="0">
                <a:solidFill>
                  <a:schemeClr val="tx1"/>
                </a:solidFill>
                <a:latin typeface="+mn-lt"/>
              </a:defRPr>
            </a:lvl3pPr>
            <a:lvl4pPr marL="1600200" lvl="3" indent="-228600" algn="l" rtl="0">
              <a:lnSpc>
                <a:spcPct val="90000"/>
              </a:lnSpc>
              <a:spcBef>
                <a:spcPts val="500"/>
              </a:spcBef>
              <a:buFont typeface="Arial"/>
              <a:buChar char="•"/>
              <a:defRPr lang="en-US" sz="1800" dirty="0">
                <a:solidFill>
                  <a:schemeClr val="tx1"/>
                </a:solidFill>
                <a:latin typeface="+mn-lt"/>
              </a:defRPr>
            </a:lvl4pPr>
            <a:lvl5pPr marL="2057400" lvl="4" indent="-228600" algn="l" rtl="0">
              <a:lnSpc>
                <a:spcPct val="90000"/>
              </a:lnSpc>
              <a:spcBef>
                <a:spcPts val="500"/>
              </a:spcBef>
              <a:buFont typeface="Arial"/>
              <a:buChar char="•"/>
              <a:defRPr lang="en-US" sz="1800" dirty="0">
                <a:solidFill>
                  <a:schemeClr val="tx1"/>
                </a:solidFill>
                <a:latin typeface="+mn-lt"/>
              </a:defRPr>
            </a:lvl5pPr>
            <a:lvl6pPr marL="2514600" lvl="5" indent="-228600" algn="l" rtl="0">
              <a:lnSpc>
                <a:spcPct val="90000"/>
              </a:lnSpc>
              <a:spcBef>
                <a:spcPts val="500"/>
              </a:spcBef>
              <a:buFont typeface="Arial"/>
              <a:buChar char="•"/>
              <a:defRPr lang="en-US" sz="1800" dirty="0">
                <a:solidFill>
                  <a:schemeClr val="tx1"/>
                </a:solidFill>
                <a:latin typeface="+mn-lt"/>
              </a:defRPr>
            </a:lvl6pPr>
            <a:lvl7pPr marL="2971800" lvl="6" indent="-228600" algn="l" rtl="0">
              <a:lnSpc>
                <a:spcPct val="90000"/>
              </a:lnSpc>
              <a:spcBef>
                <a:spcPts val="500"/>
              </a:spcBef>
              <a:buFont typeface="Arial"/>
              <a:buChar char="•"/>
              <a:defRPr lang="en-US" sz="1800" dirty="0">
                <a:solidFill>
                  <a:schemeClr val="tx1"/>
                </a:solidFill>
                <a:latin typeface="+mn-lt"/>
              </a:defRPr>
            </a:lvl7pPr>
            <a:lvl8pPr marL="3429000" lvl="7" indent="-228600" algn="l" rtl="0">
              <a:lnSpc>
                <a:spcPct val="90000"/>
              </a:lnSpc>
              <a:spcBef>
                <a:spcPts val="500"/>
              </a:spcBef>
              <a:buFont typeface="Arial"/>
              <a:buChar char="•"/>
              <a:defRPr lang="en-US" sz="1800" dirty="0">
                <a:solidFill>
                  <a:schemeClr val="tx1"/>
                </a:solidFill>
                <a:latin typeface="+mn-lt"/>
              </a:defRPr>
            </a:lvl8pPr>
            <a:lvl9pPr marL="3886200" lvl="8" indent="-228600" algn="l" rtl="0">
              <a:lnSpc>
                <a:spcPct val="90000"/>
              </a:lnSpc>
              <a:spcBef>
                <a:spcPts val="500"/>
              </a:spcBef>
              <a:buFont typeface="Arial"/>
              <a:buChar char="•"/>
              <a:defRPr lang="en-US" sz="1800" dirty="0">
                <a:solidFill>
                  <a:schemeClr val="tx1"/>
                </a:solidFill>
                <a:latin typeface="+mn-lt"/>
              </a:defRPr>
            </a:lvl9pPr>
          </a:lstStyle>
          <a:p>
            <a:pPr marL="177800" indent="-177800"/>
            <a:r>
              <a:rPr lang="en-US" sz="800" b="1">
                <a:sym typeface="+mn-lt"/>
              </a:rPr>
              <a:t>Availability of products in each country depends on the local regulatory marketing authorization status.</a:t>
            </a:r>
          </a:p>
          <a:p>
            <a:pPr marL="177800" indent="-177800"/>
            <a:r>
              <a:rPr lang="en-US" sz="800">
                <a:sym typeface="+mn-lt"/>
              </a:rPr>
              <a:t>*	Products are CE marked. They are not 510(k)-cleared for use on the Indiko / Indiko Plus and not available for sale in the U.S. for use on the Indiko / Indiko Plus.</a:t>
            </a:r>
          </a:p>
          <a:p>
            <a:pPr marL="177800" indent="-177800"/>
            <a:r>
              <a:rPr lang="en-US" sz="800">
                <a:sym typeface="+mn-lt"/>
              </a:rPr>
              <a:t>†	Products are CE marked. They are not 510(k)-cleared but are available for sale in the US for Criminal Justice &amp; Forensics (CJ&amp;F).</a:t>
            </a:r>
          </a:p>
          <a:p>
            <a:pPr marL="177800" indent="-177800"/>
            <a:r>
              <a:rPr lang="en-US" sz="800">
                <a:sym typeface="+mn-lt"/>
              </a:rPr>
              <a:t>‡	For use in the USA and Canada only.</a:t>
            </a:r>
          </a:p>
          <a:p>
            <a:pPr marL="177800" indent="-177800"/>
            <a:r>
              <a:rPr lang="en-US" sz="800">
                <a:sym typeface="+mn-lt"/>
              </a:rPr>
              <a:t>§	For use in the USA only.</a:t>
            </a:r>
          </a:p>
        </p:txBody>
      </p:sp>
      <p:sp>
        <p:nvSpPr>
          <p:cNvPr id="6" name="Parallelogram 8">
            <a:extLst>
              <a:ext uri="{FF2B5EF4-FFF2-40B4-BE49-F238E27FC236}">
                <a16:creationId xmlns:a16="http://schemas.microsoft.com/office/drawing/2014/main" id="{C0957C72-4808-6620-DB15-5A1E551403E9}"/>
              </a:ext>
            </a:extLst>
          </p:cNvPr>
          <p:cNvSpPr/>
          <p:nvPr/>
        </p:nvSpPr>
        <p:spPr bwMode="auto">
          <a:xfrm>
            <a:off x="309376" y="5293756"/>
            <a:ext cx="11582397" cy="440310"/>
          </a:xfrm>
          <a:prstGeom prst="parallelogram">
            <a:avLst>
              <a:gd name="adj" fmla="val 31844"/>
            </a:avLst>
          </a:prstGeom>
          <a:solidFill>
            <a:schemeClr val="accent2"/>
          </a:solidFill>
          <a:ln w="31750" cap="flat" cmpd="sng" algn="ctr">
            <a:noFill/>
            <a:prstDash val="solid"/>
            <a:round/>
            <a:headEnd type="none" w="med" len="med"/>
            <a:tailEnd type="none" w="med" len="med"/>
          </a:ln>
          <a:effectLst/>
        </p:spPr>
        <p:txBody>
          <a:bodyPr vert="horz" wrap="square" lIns="91440" tIns="45720" rIns="91440" bIns="45720" numCol="3" rtlCol="0" anchor="t" anchorCtr="0" compatLnSpc="1">
            <a:prstTxWarp prst="textNoShape">
              <a:avLst/>
            </a:prstTxWarp>
          </a:bodyPr>
          <a:lstStyle/>
          <a:p>
            <a:pPr algn="ctr" defTabSz="914400" eaLnBrk="0" fontAlgn="base" hangingPunct="0">
              <a:spcBef>
                <a:spcPct val="0"/>
              </a:spcBef>
              <a:spcAft>
                <a:spcPct val="0"/>
              </a:spcAft>
            </a:pPr>
            <a:r>
              <a:rPr lang="en-US" b="1" dirty="0">
                <a:sym typeface="+mn-lt"/>
              </a:rPr>
              <a:t>Ready </a:t>
            </a:r>
            <a:r>
              <a:rPr lang="en-US" b="1">
                <a:sym typeface="+mn-lt"/>
              </a:rPr>
              <a:t>to use</a:t>
            </a:r>
          </a:p>
          <a:p>
            <a:pPr algn="ctr" defTabSz="914400" eaLnBrk="0" fontAlgn="base" hangingPunct="0">
              <a:spcBef>
                <a:spcPct val="0"/>
              </a:spcBef>
              <a:spcAft>
                <a:spcPct val="0"/>
              </a:spcAft>
            </a:pPr>
            <a:r>
              <a:rPr lang="en-US" b="1">
                <a:sym typeface="+mn-lt"/>
              </a:rPr>
              <a:t>Time-saving</a:t>
            </a:r>
          </a:p>
          <a:p>
            <a:pPr algn="ctr" defTabSz="914400" eaLnBrk="0" fontAlgn="base" hangingPunct="0">
              <a:spcBef>
                <a:spcPct val="0"/>
              </a:spcBef>
              <a:spcAft>
                <a:spcPct val="0"/>
              </a:spcAft>
            </a:pPr>
            <a:r>
              <a:rPr lang="en-US" b="1">
                <a:sym typeface="+mn-lt"/>
              </a:rPr>
              <a:t>Reliable</a:t>
            </a:r>
            <a:endParaRPr lang="en-US" b="1" dirty="0">
              <a:sym typeface="+mn-lt"/>
            </a:endParaRPr>
          </a:p>
        </p:txBody>
      </p:sp>
      <p:sp>
        <p:nvSpPr>
          <p:cNvPr id="7" name="Rectangle 8">
            <a:extLst>
              <a:ext uri="{FF2B5EF4-FFF2-40B4-BE49-F238E27FC236}">
                <a16:creationId xmlns:a16="http://schemas.microsoft.com/office/drawing/2014/main" id="{F3CA19F0-37A2-C6B1-5A6C-1CAA044F7F8A}"/>
              </a:ext>
            </a:extLst>
          </p:cNvPr>
          <p:cNvSpPr/>
          <p:nvPr/>
        </p:nvSpPr>
        <p:spPr bwMode="auto">
          <a:xfrm>
            <a:off x="461432" y="1427157"/>
            <a:ext cx="1584000" cy="216000"/>
          </a:xfrm>
          <a:prstGeom prst="rect">
            <a:avLst/>
          </a:prstGeom>
          <a:solidFill>
            <a:schemeClr val="accent2">
              <a:lumMod val="40000"/>
              <a:lumOff val="60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8" name="Rectangle 14">
            <a:extLst>
              <a:ext uri="{FF2B5EF4-FFF2-40B4-BE49-F238E27FC236}">
                <a16:creationId xmlns:a16="http://schemas.microsoft.com/office/drawing/2014/main" id="{AE81B1FC-465E-7228-D9DD-9B9BDECCF03F}"/>
              </a:ext>
            </a:extLst>
          </p:cNvPr>
          <p:cNvSpPr/>
          <p:nvPr/>
        </p:nvSpPr>
        <p:spPr bwMode="auto">
          <a:xfrm>
            <a:off x="2360082" y="3067910"/>
            <a:ext cx="1584000" cy="216000"/>
          </a:xfrm>
          <a:prstGeom prst="rect">
            <a:avLst/>
          </a:prstGeom>
          <a:solidFill>
            <a:schemeClr val="accent2">
              <a:lumMod val="40000"/>
              <a:lumOff val="60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9" name="Rectangle 17">
            <a:extLst>
              <a:ext uri="{FF2B5EF4-FFF2-40B4-BE49-F238E27FC236}">
                <a16:creationId xmlns:a16="http://schemas.microsoft.com/office/drawing/2014/main" id="{A5E61249-A91D-3CFA-7ABC-DFE0EB1ADFB3}"/>
              </a:ext>
            </a:extLst>
          </p:cNvPr>
          <p:cNvSpPr/>
          <p:nvPr/>
        </p:nvSpPr>
        <p:spPr bwMode="auto">
          <a:xfrm>
            <a:off x="4267200" y="2886046"/>
            <a:ext cx="1584000" cy="216000"/>
          </a:xfrm>
          <a:prstGeom prst="rect">
            <a:avLst/>
          </a:prstGeom>
          <a:solidFill>
            <a:schemeClr val="accent2">
              <a:lumMod val="40000"/>
              <a:lumOff val="60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10" name="Rectangle 18">
            <a:extLst>
              <a:ext uri="{FF2B5EF4-FFF2-40B4-BE49-F238E27FC236}">
                <a16:creationId xmlns:a16="http://schemas.microsoft.com/office/drawing/2014/main" id="{9F7FE1E7-56A5-0F8D-BA52-253DD97572AC}"/>
              </a:ext>
            </a:extLst>
          </p:cNvPr>
          <p:cNvSpPr/>
          <p:nvPr/>
        </p:nvSpPr>
        <p:spPr bwMode="auto">
          <a:xfrm>
            <a:off x="4267200" y="3798537"/>
            <a:ext cx="1584000" cy="216000"/>
          </a:xfrm>
          <a:prstGeom prst="rect">
            <a:avLst/>
          </a:prstGeom>
          <a:solidFill>
            <a:schemeClr val="accent2">
              <a:lumMod val="40000"/>
              <a:lumOff val="60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11" name="Rectangle 19">
            <a:extLst>
              <a:ext uri="{FF2B5EF4-FFF2-40B4-BE49-F238E27FC236}">
                <a16:creationId xmlns:a16="http://schemas.microsoft.com/office/drawing/2014/main" id="{7A62A6BD-6554-3818-8141-57C069DD6177}"/>
              </a:ext>
            </a:extLst>
          </p:cNvPr>
          <p:cNvSpPr/>
          <p:nvPr/>
        </p:nvSpPr>
        <p:spPr bwMode="auto">
          <a:xfrm>
            <a:off x="6173197" y="4521242"/>
            <a:ext cx="1584000" cy="216000"/>
          </a:xfrm>
          <a:prstGeom prst="rect">
            <a:avLst/>
          </a:prstGeom>
          <a:solidFill>
            <a:schemeClr val="accent2">
              <a:lumMod val="40000"/>
              <a:lumOff val="60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12" name="Rectangle 20">
            <a:extLst>
              <a:ext uri="{FF2B5EF4-FFF2-40B4-BE49-F238E27FC236}">
                <a16:creationId xmlns:a16="http://schemas.microsoft.com/office/drawing/2014/main" id="{55B39E85-FEB7-60D4-694A-B78FA14DC945}"/>
              </a:ext>
            </a:extLst>
          </p:cNvPr>
          <p:cNvSpPr/>
          <p:nvPr/>
        </p:nvSpPr>
        <p:spPr bwMode="auto">
          <a:xfrm>
            <a:off x="8062382" y="4171199"/>
            <a:ext cx="1584000" cy="216000"/>
          </a:xfrm>
          <a:prstGeom prst="rect">
            <a:avLst/>
          </a:prstGeom>
          <a:solidFill>
            <a:schemeClr val="accent2">
              <a:lumMod val="40000"/>
              <a:lumOff val="60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13" name="Rectangle 21">
            <a:extLst>
              <a:ext uri="{FF2B5EF4-FFF2-40B4-BE49-F238E27FC236}">
                <a16:creationId xmlns:a16="http://schemas.microsoft.com/office/drawing/2014/main" id="{AD98D13B-069F-26FB-D560-C2629C1DD6B4}"/>
              </a:ext>
            </a:extLst>
          </p:cNvPr>
          <p:cNvSpPr/>
          <p:nvPr/>
        </p:nvSpPr>
        <p:spPr bwMode="auto">
          <a:xfrm>
            <a:off x="9992782" y="1427157"/>
            <a:ext cx="1584000" cy="216000"/>
          </a:xfrm>
          <a:prstGeom prst="rect">
            <a:avLst/>
          </a:prstGeom>
          <a:solidFill>
            <a:schemeClr val="accent2">
              <a:lumMod val="40000"/>
              <a:lumOff val="60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14" name="Rectangle 22">
            <a:extLst>
              <a:ext uri="{FF2B5EF4-FFF2-40B4-BE49-F238E27FC236}">
                <a16:creationId xmlns:a16="http://schemas.microsoft.com/office/drawing/2014/main" id="{EFC78523-967F-DC22-A0DA-D8FB6C27C400}"/>
              </a:ext>
            </a:extLst>
          </p:cNvPr>
          <p:cNvSpPr/>
          <p:nvPr/>
        </p:nvSpPr>
        <p:spPr bwMode="auto">
          <a:xfrm>
            <a:off x="9992782" y="2517746"/>
            <a:ext cx="1584000" cy="216000"/>
          </a:xfrm>
          <a:prstGeom prst="rect">
            <a:avLst/>
          </a:prstGeom>
          <a:solidFill>
            <a:schemeClr val="accent2">
              <a:lumMod val="40000"/>
              <a:lumOff val="60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15" name="Rectangle 23">
            <a:extLst>
              <a:ext uri="{FF2B5EF4-FFF2-40B4-BE49-F238E27FC236}">
                <a16:creationId xmlns:a16="http://schemas.microsoft.com/office/drawing/2014/main" id="{3600F503-BB40-4219-C392-AFFD9A7CA1E1}"/>
              </a:ext>
            </a:extLst>
          </p:cNvPr>
          <p:cNvSpPr/>
          <p:nvPr/>
        </p:nvSpPr>
        <p:spPr bwMode="auto">
          <a:xfrm>
            <a:off x="9992782" y="3995487"/>
            <a:ext cx="1584000" cy="216000"/>
          </a:xfrm>
          <a:prstGeom prst="rect">
            <a:avLst/>
          </a:prstGeom>
          <a:solidFill>
            <a:schemeClr val="accent2">
              <a:lumMod val="40000"/>
              <a:lumOff val="60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16" name="Rechteck 1">
            <a:extLst>
              <a:ext uri="{FF2B5EF4-FFF2-40B4-BE49-F238E27FC236}">
                <a16:creationId xmlns:a16="http://schemas.microsoft.com/office/drawing/2014/main" id="{14527A84-C50C-9A1F-12AE-638AC7D3D0B6}"/>
              </a:ext>
            </a:extLst>
          </p:cNvPr>
          <p:cNvSpPr/>
          <p:nvPr/>
        </p:nvSpPr>
        <p:spPr>
          <a:xfrm>
            <a:off x="461433" y="1414457"/>
            <a:ext cx="11423528" cy="3796776"/>
          </a:xfrm>
          <a:prstGeom prst="rect">
            <a:avLst/>
          </a:prstGeom>
          <a:noFill/>
        </p:spPr>
        <p:txBody>
          <a:bodyPr wrap="square" lIns="36000" tIns="36000" rIns="36000" bIns="36000" numCol="6" spcCol="72000" rtlCol="0">
            <a:noAutofit/>
          </a:bodyPr>
          <a:lstStyle/>
          <a:p>
            <a:pPr>
              <a:lnSpc>
                <a:spcPct val="120000"/>
              </a:lnSpc>
            </a:pPr>
            <a:r>
              <a:rPr lang="en-US" sz="1000" b="1" dirty="0">
                <a:solidFill>
                  <a:schemeClr val="accent2">
                    <a:lumMod val="50000"/>
                  </a:schemeClr>
                </a:solidFill>
                <a:sym typeface="+mn-lt"/>
              </a:rPr>
              <a:t>Clinical Chemistry*</a:t>
            </a:r>
            <a:endParaRPr lang="en-US" sz="1000" dirty="0">
              <a:solidFill>
                <a:schemeClr val="accent2">
                  <a:lumMod val="50000"/>
                </a:schemeClr>
              </a:solidFill>
              <a:sym typeface="+mn-lt"/>
            </a:endParaRPr>
          </a:p>
          <a:p>
            <a:pPr>
              <a:lnSpc>
                <a:spcPct val="120000"/>
              </a:lnSpc>
            </a:pPr>
            <a:r>
              <a:rPr lang="en-US" sz="1000" dirty="0">
                <a:sym typeface="+mn-lt"/>
              </a:rPr>
              <a:t>Albumin</a:t>
            </a:r>
          </a:p>
          <a:p>
            <a:pPr>
              <a:lnSpc>
                <a:spcPct val="120000"/>
              </a:lnSpc>
            </a:pPr>
            <a:r>
              <a:rPr lang="en-US" sz="1000" dirty="0">
                <a:sym typeface="+mn-lt"/>
              </a:rPr>
              <a:t>Alkaline Phosphatase</a:t>
            </a:r>
          </a:p>
          <a:p>
            <a:pPr>
              <a:lnSpc>
                <a:spcPct val="120000"/>
              </a:lnSpc>
            </a:pPr>
            <a:r>
              <a:rPr lang="en-US" sz="1000" dirty="0">
                <a:sym typeface="+mn-lt"/>
              </a:rPr>
              <a:t>ALT</a:t>
            </a:r>
          </a:p>
          <a:p>
            <a:pPr>
              <a:lnSpc>
                <a:spcPct val="120000"/>
              </a:lnSpc>
            </a:pPr>
            <a:r>
              <a:rPr lang="en-US" sz="1000" dirty="0">
                <a:sym typeface="+mn-lt"/>
              </a:rPr>
              <a:t>Amylase</a:t>
            </a:r>
          </a:p>
          <a:p>
            <a:pPr>
              <a:lnSpc>
                <a:spcPct val="120000"/>
              </a:lnSpc>
            </a:pPr>
            <a:r>
              <a:rPr lang="en-US" sz="1000" dirty="0">
                <a:sym typeface="+mn-lt"/>
              </a:rPr>
              <a:t>AST</a:t>
            </a:r>
          </a:p>
          <a:p>
            <a:pPr>
              <a:lnSpc>
                <a:spcPct val="120000"/>
              </a:lnSpc>
            </a:pPr>
            <a:r>
              <a:rPr lang="en-US" sz="1000" dirty="0">
                <a:sym typeface="+mn-lt"/>
              </a:rPr>
              <a:t>Bicarbonate</a:t>
            </a:r>
          </a:p>
          <a:p>
            <a:pPr>
              <a:lnSpc>
                <a:spcPct val="120000"/>
              </a:lnSpc>
            </a:pPr>
            <a:r>
              <a:rPr lang="en-US" sz="1000" dirty="0">
                <a:sym typeface="+mn-lt"/>
              </a:rPr>
              <a:t>Bilirubin	</a:t>
            </a:r>
          </a:p>
          <a:p>
            <a:pPr>
              <a:lnSpc>
                <a:spcPct val="120000"/>
              </a:lnSpc>
            </a:pPr>
            <a:r>
              <a:rPr lang="en-US" sz="1000" dirty="0">
                <a:sym typeface="+mn-lt"/>
              </a:rPr>
              <a:t>Calcium</a:t>
            </a:r>
          </a:p>
          <a:p>
            <a:pPr>
              <a:lnSpc>
                <a:spcPct val="120000"/>
              </a:lnSpc>
            </a:pPr>
            <a:r>
              <a:rPr lang="en-US" sz="1000" dirty="0">
                <a:sym typeface="+mn-lt"/>
              </a:rPr>
              <a:t>Cholesterol</a:t>
            </a:r>
          </a:p>
          <a:p>
            <a:pPr>
              <a:lnSpc>
                <a:spcPct val="120000"/>
              </a:lnSpc>
            </a:pPr>
            <a:r>
              <a:rPr lang="en-US" sz="1000" dirty="0">
                <a:sym typeface="+mn-lt"/>
              </a:rPr>
              <a:t>Cholinesterase</a:t>
            </a:r>
          </a:p>
          <a:p>
            <a:pPr>
              <a:lnSpc>
                <a:spcPct val="120000"/>
              </a:lnSpc>
            </a:pPr>
            <a:r>
              <a:rPr lang="en-US" sz="1000" dirty="0">
                <a:sym typeface="+mn-lt"/>
              </a:rPr>
              <a:t>HDL-Cholesterol</a:t>
            </a:r>
          </a:p>
          <a:p>
            <a:pPr>
              <a:lnSpc>
                <a:spcPct val="120000"/>
              </a:lnSpc>
            </a:pPr>
            <a:r>
              <a:rPr lang="en-US" sz="1000" dirty="0">
                <a:sym typeface="+mn-lt"/>
              </a:rPr>
              <a:t>LDL-Cholesterol</a:t>
            </a:r>
          </a:p>
          <a:p>
            <a:pPr>
              <a:lnSpc>
                <a:spcPct val="120000"/>
              </a:lnSpc>
            </a:pPr>
            <a:r>
              <a:rPr lang="en-US" sz="1000" dirty="0">
                <a:sym typeface="+mn-lt"/>
              </a:rPr>
              <a:t>CK</a:t>
            </a:r>
          </a:p>
          <a:p>
            <a:pPr>
              <a:lnSpc>
                <a:spcPct val="120000"/>
              </a:lnSpc>
            </a:pPr>
            <a:r>
              <a:rPr lang="en-US" sz="1000" dirty="0">
                <a:sym typeface="+mn-lt"/>
              </a:rPr>
              <a:t>CK-MB	</a:t>
            </a:r>
          </a:p>
          <a:p>
            <a:pPr>
              <a:lnSpc>
                <a:spcPct val="120000"/>
              </a:lnSpc>
            </a:pPr>
            <a:r>
              <a:rPr lang="en-US" sz="1000" dirty="0">
                <a:sym typeface="+mn-lt"/>
              </a:rPr>
              <a:t>Creatinine</a:t>
            </a:r>
          </a:p>
          <a:p>
            <a:pPr>
              <a:lnSpc>
                <a:spcPct val="120000"/>
              </a:lnSpc>
            </a:pPr>
            <a:r>
              <a:rPr lang="en-US" sz="1000" dirty="0">
                <a:sym typeface="+mn-lt"/>
              </a:rPr>
              <a:t>Gamma-GT</a:t>
            </a:r>
          </a:p>
          <a:p>
            <a:pPr>
              <a:lnSpc>
                <a:spcPct val="120000"/>
              </a:lnSpc>
            </a:pPr>
            <a:r>
              <a:rPr lang="en-US" sz="1000" dirty="0">
                <a:sym typeface="+mn-lt"/>
              </a:rPr>
              <a:t>Glucose</a:t>
            </a:r>
          </a:p>
          <a:p>
            <a:pPr>
              <a:lnSpc>
                <a:spcPct val="120000"/>
              </a:lnSpc>
            </a:pPr>
            <a:r>
              <a:rPr lang="en-US" sz="1000" dirty="0">
                <a:sym typeface="+mn-lt"/>
              </a:rPr>
              <a:t>Iron</a:t>
            </a:r>
          </a:p>
          <a:p>
            <a:pPr>
              <a:lnSpc>
                <a:spcPct val="120000"/>
              </a:lnSpc>
            </a:pPr>
            <a:r>
              <a:rPr lang="en-US" sz="1000" dirty="0">
                <a:sym typeface="+mn-lt"/>
              </a:rPr>
              <a:t>LDH</a:t>
            </a:r>
          </a:p>
          <a:p>
            <a:pPr>
              <a:lnSpc>
                <a:spcPct val="120000"/>
              </a:lnSpc>
            </a:pPr>
            <a:r>
              <a:rPr lang="en-US" sz="1000" dirty="0">
                <a:sym typeface="+mn-lt"/>
              </a:rPr>
              <a:t>Lipase</a:t>
            </a:r>
          </a:p>
          <a:p>
            <a:pPr>
              <a:lnSpc>
                <a:spcPct val="120000"/>
              </a:lnSpc>
            </a:pPr>
            <a:r>
              <a:rPr lang="en-US" sz="1000" dirty="0">
                <a:sym typeface="+mn-lt"/>
              </a:rPr>
              <a:t>Magnesium</a:t>
            </a:r>
          </a:p>
          <a:p>
            <a:pPr>
              <a:lnSpc>
                <a:spcPct val="120000"/>
              </a:lnSpc>
            </a:pPr>
            <a:r>
              <a:rPr lang="en-US" sz="1000" dirty="0">
                <a:sym typeface="+mn-lt"/>
              </a:rPr>
              <a:t>Phosphorus</a:t>
            </a:r>
          </a:p>
          <a:p>
            <a:pPr>
              <a:lnSpc>
                <a:spcPct val="120000"/>
              </a:lnSpc>
            </a:pPr>
            <a:r>
              <a:rPr lang="en-US" sz="1000" dirty="0">
                <a:sym typeface="+mn-lt"/>
              </a:rPr>
              <a:t>Total Protein</a:t>
            </a:r>
          </a:p>
          <a:p>
            <a:pPr>
              <a:lnSpc>
                <a:spcPct val="120000"/>
              </a:lnSpc>
            </a:pPr>
            <a:r>
              <a:rPr lang="en-US" sz="1000" dirty="0">
                <a:sym typeface="+mn-lt"/>
              </a:rPr>
              <a:t>Triglycerides</a:t>
            </a:r>
          </a:p>
          <a:p>
            <a:pPr>
              <a:lnSpc>
                <a:spcPct val="120000"/>
              </a:lnSpc>
            </a:pPr>
            <a:r>
              <a:rPr lang="en-US" sz="1000" dirty="0">
                <a:sym typeface="+mn-lt"/>
              </a:rPr>
              <a:t>U/CSF Protein	</a:t>
            </a:r>
          </a:p>
          <a:p>
            <a:pPr>
              <a:lnSpc>
                <a:spcPct val="120000"/>
              </a:lnSpc>
            </a:pPr>
            <a:r>
              <a:rPr lang="en-US" sz="1000" dirty="0">
                <a:sym typeface="+mn-lt"/>
              </a:rPr>
              <a:t>Urea</a:t>
            </a:r>
          </a:p>
          <a:p>
            <a:pPr>
              <a:lnSpc>
                <a:spcPct val="120000"/>
              </a:lnSpc>
            </a:pPr>
            <a:r>
              <a:rPr lang="en-US" sz="1000" dirty="0">
                <a:sym typeface="+mn-lt"/>
              </a:rPr>
              <a:t>Uric acid </a:t>
            </a:r>
          </a:p>
          <a:p>
            <a:pPr>
              <a:lnSpc>
                <a:spcPct val="120000"/>
              </a:lnSpc>
            </a:pPr>
            <a:endParaRPr lang="en-US" sz="1000" dirty="0">
              <a:sym typeface="+mn-lt"/>
            </a:endParaRPr>
          </a:p>
          <a:p>
            <a:pPr>
              <a:lnSpc>
                <a:spcPct val="120000"/>
              </a:lnSpc>
            </a:pPr>
            <a:r>
              <a:rPr lang="en-US" sz="1000" b="1" dirty="0">
                <a:solidFill>
                  <a:schemeClr val="accent2">
                    <a:lumMod val="50000"/>
                  </a:schemeClr>
                </a:solidFill>
                <a:sym typeface="+mn-lt"/>
              </a:rPr>
              <a:t>Specific Proteins*</a:t>
            </a:r>
            <a:endParaRPr lang="en-US" sz="1000" dirty="0">
              <a:solidFill>
                <a:schemeClr val="accent2">
                  <a:lumMod val="50000"/>
                </a:schemeClr>
              </a:solidFill>
              <a:sym typeface="+mn-lt"/>
            </a:endParaRPr>
          </a:p>
          <a:p>
            <a:pPr>
              <a:lnSpc>
                <a:spcPct val="120000"/>
              </a:lnSpc>
            </a:pPr>
            <a:r>
              <a:rPr lang="en-US" sz="1000" dirty="0">
                <a:sym typeface="+mn-lt"/>
              </a:rPr>
              <a:t>Albumin in urine	</a:t>
            </a:r>
          </a:p>
          <a:p>
            <a:pPr>
              <a:lnSpc>
                <a:spcPct val="120000"/>
              </a:lnSpc>
            </a:pPr>
            <a:r>
              <a:rPr lang="en-US" sz="1000" dirty="0" err="1">
                <a:sym typeface="+mn-lt"/>
              </a:rPr>
              <a:t>Antistreptolysin</a:t>
            </a:r>
            <a:r>
              <a:rPr lang="en-US" sz="1000" dirty="0">
                <a:sym typeface="+mn-lt"/>
              </a:rPr>
              <a:t> O</a:t>
            </a:r>
          </a:p>
          <a:p>
            <a:pPr>
              <a:lnSpc>
                <a:spcPct val="120000"/>
              </a:lnSpc>
            </a:pPr>
            <a:r>
              <a:rPr lang="en-US" sz="1000" dirty="0">
                <a:sym typeface="+mn-lt"/>
              </a:rPr>
              <a:t>Apolipoprotein A1</a:t>
            </a:r>
          </a:p>
          <a:p>
            <a:pPr>
              <a:lnSpc>
                <a:spcPct val="120000"/>
              </a:lnSpc>
            </a:pPr>
            <a:r>
              <a:rPr lang="en-US" sz="1000" dirty="0">
                <a:sym typeface="+mn-lt"/>
              </a:rPr>
              <a:t>Apolipoprotein B</a:t>
            </a:r>
          </a:p>
          <a:p>
            <a:pPr>
              <a:lnSpc>
                <a:spcPct val="120000"/>
              </a:lnSpc>
            </a:pPr>
            <a:r>
              <a:rPr lang="en-US" sz="1000" dirty="0">
                <a:sym typeface="+mn-lt"/>
              </a:rPr>
              <a:t>Complement C3</a:t>
            </a:r>
          </a:p>
          <a:p>
            <a:pPr>
              <a:lnSpc>
                <a:spcPct val="120000"/>
              </a:lnSpc>
            </a:pPr>
            <a:r>
              <a:rPr lang="en-US" sz="1000" dirty="0">
                <a:sym typeface="+mn-lt"/>
              </a:rPr>
              <a:t>Complement C4</a:t>
            </a:r>
          </a:p>
          <a:p>
            <a:pPr>
              <a:lnSpc>
                <a:spcPct val="120000"/>
              </a:lnSpc>
            </a:pPr>
            <a:r>
              <a:rPr lang="en-US" sz="1000" dirty="0">
                <a:sym typeface="+mn-lt"/>
              </a:rPr>
              <a:t>CRP </a:t>
            </a:r>
          </a:p>
          <a:p>
            <a:pPr>
              <a:lnSpc>
                <a:spcPct val="120000"/>
              </a:lnSpc>
            </a:pPr>
            <a:r>
              <a:rPr lang="en-US" sz="1000" dirty="0">
                <a:sym typeface="+mn-lt"/>
              </a:rPr>
              <a:t>CRP, high sensitivity</a:t>
            </a:r>
          </a:p>
          <a:p>
            <a:pPr>
              <a:lnSpc>
                <a:spcPct val="120000"/>
              </a:lnSpc>
            </a:pPr>
            <a:r>
              <a:rPr lang="en-US" sz="1000" dirty="0">
                <a:sym typeface="+mn-lt"/>
              </a:rPr>
              <a:t>D-Dimer</a:t>
            </a:r>
          </a:p>
          <a:p>
            <a:pPr>
              <a:lnSpc>
                <a:spcPct val="120000"/>
              </a:lnSpc>
            </a:pPr>
            <a:r>
              <a:rPr lang="en-US" sz="1000" dirty="0">
                <a:sym typeface="+mn-lt"/>
              </a:rPr>
              <a:t>Ferritin</a:t>
            </a:r>
          </a:p>
          <a:p>
            <a:pPr>
              <a:lnSpc>
                <a:spcPct val="120000"/>
              </a:lnSpc>
            </a:pPr>
            <a:r>
              <a:rPr lang="en-US" sz="1000" dirty="0">
                <a:sym typeface="+mn-lt"/>
              </a:rPr>
              <a:t>HbA1c	</a:t>
            </a:r>
          </a:p>
          <a:p>
            <a:pPr>
              <a:lnSpc>
                <a:spcPct val="120000"/>
              </a:lnSpc>
            </a:pPr>
            <a:r>
              <a:rPr lang="en-US" sz="1000" dirty="0">
                <a:sym typeface="+mn-lt"/>
              </a:rPr>
              <a:t>Immunoglobulin A</a:t>
            </a:r>
          </a:p>
          <a:p>
            <a:pPr>
              <a:lnSpc>
                <a:spcPct val="120000"/>
              </a:lnSpc>
            </a:pPr>
            <a:r>
              <a:rPr lang="en-US" sz="1000" dirty="0">
                <a:sym typeface="+mn-lt"/>
              </a:rPr>
              <a:t>Immunoglobulin G</a:t>
            </a:r>
          </a:p>
          <a:p>
            <a:pPr>
              <a:lnSpc>
                <a:spcPct val="120000"/>
              </a:lnSpc>
            </a:pPr>
            <a:r>
              <a:rPr lang="en-US" sz="1000" dirty="0">
                <a:sym typeface="+mn-lt"/>
              </a:rPr>
              <a:t>Immunoglobulin M</a:t>
            </a:r>
          </a:p>
          <a:p>
            <a:pPr>
              <a:lnSpc>
                <a:spcPct val="120000"/>
              </a:lnSpc>
            </a:pPr>
            <a:r>
              <a:rPr lang="en-US" sz="1000" dirty="0">
                <a:sym typeface="+mn-lt"/>
              </a:rPr>
              <a:t>Rheumatoid Factors</a:t>
            </a:r>
          </a:p>
          <a:p>
            <a:pPr>
              <a:lnSpc>
                <a:spcPct val="120000"/>
              </a:lnSpc>
            </a:pPr>
            <a:r>
              <a:rPr lang="en-US" sz="1000" dirty="0" err="1">
                <a:sym typeface="+mn-lt"/>
              </a:rPr>
              <a:t>sTfR</a:t>
            </a:r>
            <a:r>
              <a:rPr lang="en-US" sz="1000" dirty="0">
                <a:sym typeface="+mn-lt"/>
              </a:rPr>
              <a:t>	</a:t>
            </a:r>
          </a:p>
          <a:p>
            <a:pPr>
              <a:lnSpc>
                <a:spcPct val="120000"/>
              </a:lnSpc>
            </a:pPr>
            <a:r>
              <a:rPr lang="en-US" sz="1000" dirty="0">
                <a:sym typeface="+mn-lt"/>
              </a:rPr>
              <a:t>Transferrin</a:t>
            </a:r>
          </a:p>
          <a:p>
            <a:pPr>
              <a:lnSpc>
                <a:spcPct val="120000"/>
              </a:lnSpc>
            </a:pPr>
            <a:endParaRPr lang="en-US" sz="1000" dirty="0">
              <a:sym typeface="+mn-lt"/>
            </a:endParaRPr>
          </a:p>
          <a:p>
            <a:pPr>
              <a:lnSpc>
                <a:spcPct val="120000"/>
              </a:lnSpc>
            </a:pPr>
            <a:r>
              <a:rPr lang="en-US" sz="1000" b="1" dirty="0">
                <a:solidFill>
                  <a:schemeClr val="accent2">
                    <a:lumMod val="50000"/>
                  </a:schemeClr>
                </a:solidFill>
                <a:sym typeface="+mn-lt"/>
              </a:rPr>
              <a:t>Electrolytes*</a:t>
            </a:r>
          </a:p>
          <a:p>
            <a:pPr>
              <a:lnSpc>
                <a:spcPct val="120000"/>
              </a:lnSpc>
            </a:pPr>
            <a:r>
              <a:rPr lang="en-US" sz="1000" dirty="0">
                <a:sym typeface="+mn-lt"/>
              </a:rPr>
              <a:t>Chloride</a:t>
            </a:r>
          </a:p>
          <a:p>
            <a:pPr>
              <a:lnSpc>
                <a:spcPct val="120000"/>
              </a:lnSpc>
            </a:pPr>
            <a:r>
              <a:rPr lang="en-US" sz="1000" dirty="0">
                <a:sym typeface="+mn-lt"/>
              </a:rPr>
              <a:t>Sodium</a:t>
            </a:r>
          </a:p>
          <a:p>
            <a:pPr>
              <a:lnSpc>
                <a:spcPct val="120000"/>
              </a:lnSpc>
            </a:pPr>
            <a:r>
              <a:rPr lang="en-US" sz="1000" dirty="0">
                <a:sym typeface="+mn-lt"/>
              </a:rPr>
              <a:t>Potassium</a:t>
            </a:r>
          </a:p>
          <a:p>
            <a:pPr>
              <a:lnSpc>
                <a:spcPct val="120000"/>
              </a:lnSpc>
            </a:pPr>
            <a:endParaRPr lang="en-US" sz="1000" dirty="0">
              <a:sym typeface="+mn-lt"/>
            </a:endParaRPr>
          </a:p>
          <a:p>
            <a:pPr>
              <a:lnSpc>
                <a:spcPct val="120000"/>
              </a:lnSpc>
            </a:pPr>
            <a:r>
              <a:rPr lang="en-US" sz="1000" b="1" dirty="0">
                <a:solidFill>
                  <a:schemeClr val="accent2">
                    <a:lumMod val="50000"/>
                  </a:schemeClr>
                </a:solidFill>
                <a:sym typeface="+mn-lt"/>
              </a:rPr>
              <a:t>DATs</a:t>
            </a:r>
            <a:endParaRPr lang="en-US" sz="1000" dirty="0">
              <a:solidFill>
                <a:schemeClr val="accent2">
                  <a:lumMod val="50000"/>
                </a:schemeClr>
              </a:solidFill>
              <a:sym typeface="+mn-lt"/>
            </a:endParaRPr>
          </a:p>
          <a:p>
            <a:pPr>
              <a:lnSpc>
                <a:spcPct val="120000"/>
              </a:lnSpc>
            </a:pPr>
            <a:r>
              <a:rPr lang="en-US" sz="1000" dirty="0">
                <a:sym typeface="+mn-lt"/>
              </a:rPr>
              <a:t>Amphetamines</a:t>
            </a:r>
          </a:p>
          <a:p>
            <a:pPr>
              <a:lnSpc>
                <a:spcPct val="120000"/>
              </a:lnSpc>
            </a:pPr>
            <a:r>
              <a:rPr lang="en-US" sz="1000" dirty="0">
                <a:sym typeface="+mn-lt"/>
              </a:rPr>
              <a:t>Amphetamines / Ecstasy</a:t>
            </a:r>
          </a:p>
          <a:p>
            <a:pPr>
              <a:lnSpc>
                <a:spcPct val="120000"/>
              </a:lnSpc>
            </a:pPr>
            <a:r>
              <a:rPr lang="en-US" sz="1000" dirty="0">
                <a:sym typeface="+mn-lt"/>
              </a:rPr>
              <a:t>Barbiturate</a:t>
            </a:r>
          </a:p>
          <a:p>
            <a:pPr>
              <a:lnSpc>
                <a:spcPct val="120000"/>
              </a:lnSpc>
            </a:pPr>
            <a:r>
              <a:rPr lang="en-US" sz="1000" dirty="0">
                <a:sym typeface="+mn-lt"/>
              </a:rPr>
              <a:t>Benzodiazepine	</a:t>
            </a:r>
          </a:p>
          <a:p>
            <a:pPr>
              <a:lnSpc>
                <a:spcPct val="120000"/>
              </a:lnSpc>
            </a:pPr>
            <a:r>
              <a:rPr lang="en-US" sz="1000" dirty="0">
                <a:sym typeface="+mn-lt"/>
              </a:rPr>
              <a:t>Buprenorphine</a:t>
            </a:r>
          </a:p>
          <a:p>
            <a:pPr>
              <a:lnSpc>
                <a:spcPct val="120000"/>
              </a:lnSpc>
            </a:pPr>
            <a:r>
              <a:rPr lang="en-US" sz="1000" dirty="0">
                <a:sym typeface="+mn-lt"/>
              </a:rPr>
              <a:t>Cannabinoids (THC)</a:t>
            </a:r>
          </a:p>
          <a:p>
            <a:pPr>
              <a:lnSpc>
                <a:spcPct val="120000"/>
              </a:lnSpc>
            </a:pPr>
            <a:r>
              <a:rPr lang="en-US" sz="1000" dirty="0">
                <a:sym typeface="+mn-lt"/>
              </a:rPr>
              <a:t>Cocaine</a:t>
            </a:r>
          </a:p>
          <a:p>
            <a:pPr>
              <a:lnSpc>
                <a:spcPct val="120000"/>
              </a:lnSpc>
            </a:pPr>
            <a:r>
              <a:rPr lang="en-US" sz="1000" dirty="0">
                <a:sym typeface="+mn-lt"/>
              </a:rPr>
              <a:t>Cotinine</a:t>
            </a:r>
          </a:p>
          <a:p>
            <a:pPr>
              <a:lnSpc>
                <a:spcPct val="120000"/>
              </a:lnSpc>
            </a:pPr>
            <a:r>
              <a:rPr lang="en-US" sz="1000" dirty="0">
                <a:sym typeface="+mn-lt"/>
              </a:rPr>
              <a:t>Ecstasy	</a:t>
            </a:r>
          </a:p>
          <a:p>
            <a:pPr>
              <a:lnSpc>
                <a:spcPct val="120000"/>
              </a:lnSpc>
            </a:pPr>
            <a:r>
              <a:rPr lang="en-US" sz="1000" dirty="0">
                <a:sym typeface="+mn-lt"/>
              </a:rPr>
              <a:t>Ethyl Alcohol</a:t>
            </a:r>
          </a:p>
          <a:p>
            <a:pPr>
              <a:lnSpc>
                <a:spcPct val="120000"/>
              </a:lnSpc>
            </a:pPr>
            <a:r>
              <a:rPr lang="en-US" sz="1000" dirty="0">
                <a:sym typeface="+mn-lt"/>
              </a:rPr>
              <a:t>Ethyl Glucuronide†</a:t>
            </a:r>
          </a:p>
          <a:p>
            <a:pPr>
              <a:lnSpc>
                <a:spcPct val="120000"/>
              </a:lnSpc>
            </a:pPr>
            <a:r>
              <a:rPr lang="en-US" sz="1000" dirty="0">
                <a:sym typeface="+mn-lt"/>
              </a:rPr>
              <a:t>Fentanyl †</a:t>
            </a:r>
          </a:p>
          <a:p>
            <a:pPr>
              <a:lnSpc>
                <a:spcPct val="120000"/>
              </a:lnSpc>
            </a:pPr>
            <a:r>
              <a:rPr lang="en-US" sz="1000" dirty="0">
                <a:sym typeface="+mn-lt"/>
              </a:rPr>
              <a:t>Heroin Metabolite</a:t>
            </a:r>
          </a:p>
          <a:p>
            <a:pPr>
              <a:lnSpc>
                <a:spcPct val="120000"/>
              </a:lnSpc>
            </a:pPr>
            <a:r>
              <a:rPr lang="en-US" sz="1000" dirty="0">
                <a:sym typeface="+mn-lt"/>
              </a:rPr>
              <a:t>Hydrocodone ‡	</a:t>
            </a:r>
          </a:p>
          <a:p>
            <a:pPr>
              <a:lnSpc>
                <a:spcPct val="120000"/>
              </a:lnSpc>
            </a:pPr>
            <a:r>
              <a:rPr lang="en-US" sz="1000" dirty="0">
                <a:sym typeface="+mn-lt"/>
              </a:rPr>
              <a:t>LSD</a:t>
            </a:r>
          </a:p>
          <a:p>
            <a:pPr>
              <a:lnSpc>
                <a:spcPct val="120000"/>
              </a:lnSpc>
            </a:pPr>
            <a:r>
              <a:rPr lang="en-US" sz="1000" dirty="0">
                <a:sym typeface="+mn-lt"/>
              </a:rPr>
              <a:t>Methadone</a:t>
            </a:r>
          </a:p>
          <a:p>
            <a:pPr>
              <a:lnSpc>
                <a:spcPct val="120000"/>
              </a:lnSpc>
            </a:pPr>
            <a:r>
              <a:rPr lang="en-US" sz="1000" dirty="0">
                <a:sym typeface="+mn-lt"/>
              </a:rPr>
              <a:t>Methadone Metabolite</a:t>
            </a:r>
          </a:p>
          <a:p>
            <a:pPr>
              <a:lnSpc>
                <a:spcPct val="120000"/>
              </a:lnSpc>
            </a:pPr>
            <a:r>
              <a:rPr lang="en-US" sz="1000" dirty="0">
                <a:sym typeface="+mn-lt"/>
              </a:rPr>
              <a:t>Opiate</a:t>
            </a:r>
          </a:p>
          <a:p>
            <a:pPr>
              <a:lnSpc>
                <a:spcPct val="120000"/>
              </a:lnSpc>
            </a:pPr>
            <a:r>
              <a:rPr lang="en-US" sz="1000" dirty="0">
                <a:sym typeface="+mn-lt"/>
              </a:rPr>
              <a:t>Opiate 2K</a:t>
            </a:r>
          </a:p>
          <a:p>
            <a:pPr>
              <a:lnSpc>
                <a:spcPct val="120000"/>
              </a:lnSpc>
            </a:pPr>
            <a:r>
              <a:rPr lang="en-US" sz="1000" dirty="0">
                <a:sym typeface="+mn-lt"/>
              </a:rPr>
              <a:t>Oxycodone</a:t>
            </a:r>
          </a:p>
          <a:p>
            <a:pPr>
              <a:lnSpc>
                <a:spcPct val="120000"/>
              </a:lnSpc>
            </a:pPr>
            <a:r>
              <a:rPr lang="en-US" sz="1000" dirty="0">
                <a:sym typeface="+mn-lt"/>
              </a:rPr>
              <a:t>Phencyclidine (PCP)</a:t>
            </a:r>
          </a:p>
          <a:p>
            <a:pPr>
              <a:lnSpc>
                <a:spcPct val="120000"/>
              </a:lnSpc>
            </a:pPr>
            <a:r>
              <a:rPr lang="en-US" sz="1000" dirty="0">
                <a:sym typeface="+mn-lt"/>
              </a:rPr>
              <a:t>Propoxyphene</a:t>
            </a:r>
          </a:p>
          <a:p>
            <a:pPr>
              <a:lnSpc>
                <a:spcPct val="120000"/>
              </a:lnSpc>
            </a:pPr>
            <a:endParaRPr lang="en-US" sz="1000" dirty="0">
              <a:sym typeface="+mn-lt"/>
            </a:endParaRPr>
          </a:p>
          <a:p>
            <a:pPr>
              <a:lnSpc>
                <a:spcPct val="120000"/>
              </a:lnSpc>
            </a:pPr>
            <a:r>
              <a:rPr lang="en-US" sz="1000" b="1" dirty="0">
                <a:solidFill>
                  <a:schemeClr val="accent2">
                    <a:lumMod val="50000"/>
                  </a:schemeClr>
                </a:solidFill>
                <a:sym typeface="+mn-lt"/>
              </a:rPr>
              <a:t>TDMs*</a:t>
            </a:r>
            <a:r>
              <a:rPr lang="en-US" sz="1000" dirty="0">
                <a:solidFill>
                  <a:schemeClr val="accent2">
                    <a:lumMod val="50000"/>
                  </a:schemeClr>
                </a:solidFill>
                <a:sym typeface="+mn-lt"/>
              </a:rPr>
              <a:t>	</a:t>
            </a:r>
          </a:p>
          <a:p>
            <a:pPr>
              <a:lnSpc>
                <a:spcPct val="120000"/>
              </a:lnSpc>
            </a:pPr>
            <a:r>
              <a:rPr lang="en-US" sz="1000" dirty="0">
                <a:sym typeface="+mn-lt"/>
              </a:rPr>
              <a:t>Amikacin</a:t>
            </a:r>
          </a:p>
          <a:p>
            <a:pPr>
              <a:lnSpc>
                <a:spcPct val="120000"/>
              </a:lnSpc>
            </a:pPr>
            <a:r>
              <a:rPr lang="en-US" sz="1000" dirty="0">
                <a:sym typeface="+mn-lt"/>
              </a:rPr>
              <a:t>Carbamazepine	</a:t>
            </a:r>
          </a:p>
          <a:p>
            <a:pPr>
              <a:lnSpc>
                <a:spcPct val="120000"/>
              </a:lnSpc>
            </a:pPr>
            <a:r>
              <a:rPr lang="en-US" sz="1000" dirty="0">
                <a:sym typeface="+mn-lt"/>
              </a:rPr>
              <a:t>Digoxin	</a:t>
            </a:r>
          </a:p>
          <a:p>
            <a:pPr>
              <a:lnSpc>
                <a:spcPct val="120000"/>
              </a:lnSpc>
            </a:pPr>
            <a:r>
              <a:rPr lang="en-US" sz="1000" dirty="0">
                <a:sym typeface="+mn-lt"/>
              </a:rPr>
              <a:t>Digitoxin</a:t>
            </a:r>
          </a:p>
          <a:p>
            <a:pPr>
              <a:lnSpc>
                <a:spcPct val="120000"/>
              </a:lnSpc>
            </a:pPr>
            <a:r>
              <a:rPr lang="en-US" sz="1000" dirty="0">
                <a:sym typeface="+mn-lt"/>
              </a:rPr>
              <a:t>Gentamicin</a:t>
            </a:r>
          </a:p>
          <a:p>
            <a:pPr>
              <a:lnSpc>
                <a:spcPct val="120000"/>
              </a:lnSpc>
            </a:pPr>
            <a:r>
              <a:rPr lang="en-US" sz="1000" dirty="0">
                <a:sym typeface="+mn-lt"/>
              </a:rPr>
              <a:t>Lamotrigine</a:t>
            </a:r>
          </a:p>
          <a:p>
            <a:pPr>
              <a:lnSpc>
                <a:spcPct val="120000"/>
              </a:lnSpc>
            </a:pPr>
            <a:r>
              <a:rPr lang="en-US" sz="1000" dirty="0">
                <a:sym typeface="+mn-lt"/>
              </a:rPr>
              <a:t>Lidocaine §</a:t>
            </a:r>
          </a:p>
          <a:p>
            <a:pPr>
              <a:lnSpc>
                <a:spcPct val="120000"/>
              </a:lnSpc>
            </a:pPr>
            <a:r>
              <a:rPr lang="en-US" sz="1000" dirty="0">
                <a:sym typeface="+mn-lt"/>
              </a:rPr>
              <a:t>Phenytoin</a:t>
            </a:r>
          </a:p>
          <a:p>
            <a:pPr>
              <a:lnSpc>
                <a:spcPct val="120000"/>
              </a:lnSpc>
            </a:pPr>
            <a:r>
              <a:rPr lang="en-US" sz="1000" dirty="0">
                <a:sym typeface="+mn-lt"/>
              </a:rPr>
              <a:t>Quinidine</a:t>
            </a:r>
          </a:p>
          <a:p>
            <a:pPr>
              <a:lnSpc>
                <a:spcPct val="120000"/>
              </a:lnSpc>
            </a:pPr>
            <a:r>
              <a:rPr lang="en-US" sz="1000" dirty="0">
                <a:sym typeface="+mn-lt"/>
              </a:rPr>
              <a:t>Teicoplanin</a:t>
            </a:r>
          </a:p>
          <a:p>
            <a:pPr>
              <a:lnSpc>
                <a:spcPct val="120000"/>
              </a:lnSpc>
            </a:pPr>
            <a:r>
              <a:rPr lang="en-US" sz="1000" dirty="0">
                <a:sym typeface="+mn-lt"/>
              </a:rPr>
              <a:t>Theophylline</a:t>
            </a:r>
          </a:p>
          <a:p>
            <a:pPr>
              <a:lnSpc>
                <a:spcPct val="120000"/>
              </a:lnSpc>
            </a:pPr>
            <a:r>
              <a:rPr lang="en-US" sz="1000" dirty="0">
                <a:sym typeface="+mn-lt"/>
              </a:rPr>
              <a:t>Tobramycin</a:t>
            </a:r>
          </a:p>
          <a:p>
            <a:pPr>
              <a:lnSpc>
                <a:spcPct val="120000"/>
              </a:lnSpc>
            </a:pPr>
            <a:r>
              <a:rPr lang="en-US" sz="1000" dirty="0">
                <a:sym typeface="+mn-lt"/>
              </a:rPr>
              <a:t>Topiramate</a:t>
            </a:r>
          </a:p>
          <a:p>
            <a:pPr>
              <a:lnSpc>
                <a:spcPct val="120000"/>
              </a:lnSpc>
            </a:pPr>
            <a:r>
              <a:rPr lang="en-US" sz="1000" dirty="0">
                <a:sym typeface="+mn-lt"/>
              </a:rPr>
              <a:t>Valproic Acid</a:t>
            </a:r>
          </a:p>
          <a:p>
            <a:pPr>
              <a:lnSpc>
                <a:spcPct val="120000"/>
              </a:lnSpc>
            </a:pPr>
            <a:r>
              <a:rPr lang="en-US" sz="1000" dirty="0">
                <a:sym typeface="+mn-lt"/>
              </a:rPr>
              <a:t>Vancomycin</a:t>
            </a:r>
          </a:p>
          <a:p>
            <a:pPr>
              <a:lnSpc>
                <a:spcPct val="120000"/>
              </a:lnSpc>
            </a:pPr>
            <a:r>
              <a:rPr lang="en-US" sz="1000" dirty="0" err="1">
                <a:sym typeface="+mn-lt"/>
              </a:rPr>
              <a:t>Zonisamide</a:t>
            </a:r>
            <a:endParaRPr lang="en-US" sz="1000" dirty="0">
              <a:sym typeface="+mn-lt"/>
            </a:endParaRPr>
          </a:p>
          <a:p>
            <a:pPr>
              <a:lnSpc>
                <a:spcPct val="120000"/>
              </a:lnSpc>
            </a:pPr>
            <a:r>
              <a:rPr lang="en-US" sz="1000" dirty="0">
                <a:sym typeface="+mn-lt"/>
              </a:rPr>
              <a:t>	</a:t>
            </a:r>
          </a:p>
          <a:p>
            <a:pPr>
              <a:lnSpc>
                <a:spcPct val="120000"/>
              </a:lnSpc>
            </a:pPr>
            <a:r>
              <a:rPr lang="en-US" sz="1000" b="1" dirty="0">
                <a:solidFill>
                  <a:schemeClr val="accent2">
                    <a:lumMod val="50000"/>
                  </a:schemeClr>
                </a:solidFill>
                <a:sym typeface="+mn-lt"/>
              </a:rPr>
              <a:t>ISDs*</a:t>
            </a:r>
          </a:p>
          <a:p>
            <a:pPr>
              <a:lnSpc>
                <a:spcPct val="120000"/>
              </a:lnSpc>
            </a:pPr>
            <a:r>
              <a:rPr lang="en-US" sz="1000" dirty="0">
                <a:sym typeface="+mn-lt"/>
              </a:rPr>
              <a:t>Cyclosporine</a:t>
            </a:r>
          </a:p>
          <a:p>
            <a:pPr>
              <a:lnSpc>
                <a:spcPct val="120000"/>
              </a:lnSpc>
            </a:pPr>
            <a:r>
              <a:rPr lang="en-US" sz="1000" dirty="0" err="1">
                <a:sym typeface="+mn-lt"/>
              </a:rPr>
              <a:t>Everolimus</a:t>
            </a:r>
            <a:endParaRPr lang="en-US" sz="1000" dirty="0">
              <a:sym typeface="+mn-lt"/>
            </a:endParaRPr>
          </a:p>
          <a:p>
            <a:pPr>
              <a:lnSpc>
                <a:spcPct val="120000"/>
              </a:lnSpc>
            </a:pPr>
            <a:r>
              <a:rPr lang="en-US" sz="1000" dirty="0">
                <a:sym typeface="+mn-lt"/>
              </a:rPr>
              <a:t>Tacrolimus</a:t>
            </a:r>
          </a:p>
          <a:p>
            <a:pPr>
              <a:lnSpc>
                <a:spcPct val="120000"/>
              </a:lnSpc>
            </a:pPr>
            <a:r>
              <a:rPr lang="en-US" sz="1000" dirty="0">
                <a:sym typeface="+mn-lt"/>
              </a:rPr>
              <a:t>Mycophenolic Acid</a:t>
            </a:r>
          </a:p>
          <a:p>
            <a:pPr>
              <a:lnSpc>
                <a:spcPct val="120000"/>
              </a:lnSpc>
            </a:pPr>
            <a:r>
              <a:rPr lang="en-US" sz="1000" b="1" dirty="0">
                <a:solidFill>
                  <a:schemeClr val="accent2">
                    <a:lumMod val="50000"/>
                  </a:schemeClr>
                </a:solidFill>
                <a:sym typeface="+mn-lt"/>
              </a:rPr>
              <a:t>Serum Toxicology</a:t>
            </a:r>
            <a:endParaRPr lang="en-US" sz="1000" dirty="0">
              <a:solidFill>
                <a:schemeClr val="accent2">
                  <a:lumMod val="50000"/>
                </a:schemeClr>
              </a:solidFill>
              <a:sym typeface="+mn-lt"/>
            </a:endParaRPr>
          </a:p>
          <a:p>
            <a:pPr>
              <a:lnSpc>
                <a:spcPct val="120000"/>
              </a:lnSpc>
            </a:pPr>
            <a:r>
              <a:rPr lang="en-US" sz="1000" dirty="0">
                <a:sym typeface="+mn-lt"/>
              </a:rPr>
              <a:t>Acetaminophen</a:t>
            </a:r>
          </a:p>
          <a:p>
            <a:pPr>
              <a:lnSpc>
                <a:spcPct val="120000"/>
              </a:lnSpc>
            </a:pPr>
            <a:r>
              <a:rPr lang="en-US" sz="1000" dirty="0">
                <a:sym typeface="+mn-lt"/>
              </a:rPr>
              <a:t>Barbiturate</a:t>
            </a:r>
          </a:p>
          <a:p>
            <a:pPr>
              <a:lnSpc>
                <a:spcPct val="120000"/>
              </a:lnSpc>
            </a:pPr>
            <a:r>
              <a:rPr lang="en-US" sz="1000" dirty="0">
                <a:sym typeface="+mn-lt"/>
              </a:rPr>
              <a:t>Benzodiazepine	</a:t>
            </a:r>
          </a:p>
          <a:p>
            <a:pPr>
              <a:lnSpc>
                <a:spcPct val="120000"/>
              </a:lnSpc>
            </a:pPr>
            <a:r>
              <a:rPr lang="en-US" sz="1000" dirty="0">
                <a:sym typeface="+mn-lt"/>
              </a:rPr>
              <a:t>Tricyclic Antidepressants</a:t>
            </a:r>
          </a:p>
          <a:p>
            <a:pPr>
              <a:lnSpc>
                <a:spcPct val="120000"/>
              </a:lnSpc>
            </a:pPr>
            <a:endParaRPr lang="en-US" sz="1000" b="1" dirty="0">
              <a:solidFill>
                <a:schemeClr val="tx2"/>
              </a:solidFill>
              <a:sym typeface="+mn-lt"/>
            </a:endParaRPr>
          </a:p>
          <a:p>
            <a:pPr>
              <a:lnSpc>
                <a:spcPct val="120000"/>
              </a:lnSpc>
            </a:pPr>
            <a:r>
              <a:rPr lang="en-US" sz="1000" b="1" dirty="0">
                <a:solidFill>
                  <a:schemeClr val="accent2">
                    <a:lumMod val="50000"/>
                  </a:schemeClr>
                </a:solidFill>
                <a:sym typeface="+mn-lt"/>
              </a:rPr>
              <a:t>Oral Fluid Assays*</a:t>
            </a:r>
            <a:endParaRPr lang="en-US" sz="1000" dirty="0">
              <a:solidFill>
                <a:schemeClr val="accent2">
                  <a:lumMod val="50000"/>
                </a:schemeClr>
              </a:solidFill>
              <a:sym typeface="+mn-lt"/>
            </a:endParaRPr>
          </a:p>
          <a:p>
            <a:pPr>
              <a:lnSpc>
                <a:spcPct val="120000"/>
              </a:lnSpc>
            </a:pPr>
            <a:r>
              <a:rPr lang="en-US" sz="1000" dirty="0">
                <a:sym typeface="+mn-lt"/>
              </a:rPr>
              <a:t>Amphetamine</a:t>
            </a:r>
          </a:p>
          <a:p>
            <a:pPr>
              <a:lnSpc>
                <a:spcPct val="120000"/>
              </a:lnSpc>
            </a:pPr>
            <a:r>
              <a:rPr lang="en-US" sz="1000" dirty="0">
                <a:sym typeface="+mn-lt"/>
              </a:rPr>
              <a:t>Methamphetamine</a:t>
            </a:r>
          </a:p>
          <a:p>
            <a:pPr>
              <a:lnSpc>
                <a:spcPct val="120000"/>
              </a:lnSpc>
            </a:pPr>
            <a:r>
              <a:rPr lang="en-US" sz="1000" dirty="0">
                <a:sym typeface="+mn-lt"/>
              </a:rPr>
              <a:t>Cocaine</a:t>
            </a:r>
          </a:p>
          <a:p>
            <a:pPr>
              <a:lnSpc>
                <a:spcPct val="120000"/>
              </a:lnSpc>
            </a:pPr>
            <a:r>
              <a:rPr lang="en-US" sz="1000" dirty="0">
                <a:sym typeface="+mn-lt"/>
              </a:rPr>
              <a:t>Opiate</a:t>
            </a:r>
          </a:p>
          <a:p>
            <a:pPr>
              <a:lnSpc>
                <a:spcPct val="120000"/>
              </a:lnSpc>
            </a:pPr>
            <a:r>
              <a:rPr lang="en-US" sz="1000" dirty="0">
                <a:sym typeface="+mn-lt"/>
              </a:rPr>
              <a:t>PCP</a:t>
            </a:r>
          </a:p>
          <a:p>
            <a:pPr>
              <a:lnSpc>
                <a:spcPct val="120000"/>
              </a:lnSpc>
            </a:pPr>
            <a:r>
              <a:rPr lang="en-US" sz="1000" dirty="0">
                <a:sym typeface="+mn-lt"/>
              </a:rPr>
              <a:t>THC</a:t>
            </a:r>
          </a:p>
          <a:p>
            <a:pPr>
              <a:lnSpc>
                <a:spcPct val="120000"/>
              </a:lnSpc>
            </a:pPr>
            <a:endParaRPr lang="en-US" sz="1000" dirty="0">
              <a:sym typeface="+mn-lt"/>
            </a:endParaRPr>
          </a:p>
          <a:p>
            <a:pPr>
              <a:lnSpc>
                <a:spcPct val="120000"/>
              </a:lnSpc>
            </a:pPr>
            <a:r>
              <a:rPr lang="en-US" sz="1000" b="1" dirty="0">
                <a:solidFill>
                  <a:schemeClr val="accent2">
                    <a:lumMod val="50000"/>
                  </a:schemeClr>
                </a:solidFill>
                <a:sym typeface="+mn-lt"/>
              </a:rPr>
              <a:t>Specimen Validity Tests</a:t>
            </a:r>
            <a:endParaRPr lang="en-US" sz="1000" dirty="0">
              <a:solidFill>
                <a:schemeClr val="accent2">
                  <a:lumMod val="50000"/>
                </a:schemeClr>
              </a:solidFill>
              <a:sym typeface="+mn-lt"/>
            </a:endParaRPr>
          </a:p>
          <a:p>
            <a:pPr>
              <a:lnSpc>
                <a:spcPct val="120000"/>
              </a:lnSpc>
            </a:pPr>
            <a:r>
              <a:rPr lang="en-US" sz="1000" dirty="0">
                <a:sym typeface="+mn-lt"/>
              </a:rPr>
              <a:t>Creatinine-Detect</a:t>
            </a:r>
          </a:p>
          <a:p>
            <a:pPr>
              <a:lnSpc>
                <a:spcPct val="120000"/>
              </a:lnSpc>
            </a:pPr>
            <a:r>
              <a:rPr lang="en-US" sz="1000" dirty="0">
                <a:sym typeface="+mn-lt"/>
              </a:rPr>
              <a:t>General Oxidant-Detect</a:t>
            </a:r>
          </a:p>
          <a:p>
            <a:pPr>
              <a:lnSpc>
                <a:spcPct val="120000"/>
              </a:lnSpc>
            </a:pPr>
            <a:r>
              <a:rPr lang="en-US" sz="1000" dirty="0">
                <a:sym typeface="+mn-lt"/>
              </a:rPr>
              <a:t>Gravity-Detect</a:t>
            </a:r>
          </a:p>
          <a:p>
            <a:pPr>
              <a:lnSpc>
                <a:spcPct val="120000"/>
              </a:lnSpc>
            </a:pPr>
            <a:r>
              <a:rPr lang="en-US" sz="1000" dirty="0">
                <a:sym typeface="+mn-lt"/>
              </a:rPr>
              <a:t>pH-Detect</a:t>
            </a:r>
          </a:p>
          <a:p>
            <a:pPr>
              <a:lnSpc>
                <a:spcPct val="120000"/>
              </a:lnSpc>
            </a:pPr>
            <a:r>
              <a:rPr lang="en-US" sz="1000" dirty="0">
                <a:sym typeface="+mn-lt"/>
              </a:rPr>
              <a:t>Sample Check</a:t>
            </a:r>
          </a:p>
        </p:txBody>
      </p:sp>
      <p:sp>
        <p:nvSpPr>
          <p:cNvPr id="18" name="Oval 3">
            <a:extLst>
              <a:ext uri="{FF2B5EF4-FFF2-40B4-BE49-F238E27FC236}">
                <a16:creationId xmlns:a16="http://schemas.microsoft.com/office/drawing/2014/main" id="{43F7F570-928B-8944-6CAB-F2E502EE3700}"/>
              </a:ext>
            </a:extLst>
          </p:cNvPr>
          <p:cNvSpPr/>
          <p:nvPr/>
        </p:nvSpPr>
        <p:spPr bwMode="auto">
          <a:xfrm>
            <a:off x="4096139" y="2810754"/>
            <a:ext cx="1280248" cy="315437"/>
          </a:xfrm>
          <a:prstGeom prst="ellipse">
            <a:avLst/>
          </a:prstGeom>
          <a:noFill/>
          <a:ln w="38100" cap="flat" cmpd="sng" algn="ctr">
            <a:solidFill>
              <a:srgbClr val="E6131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19" name="Oval 26">
            <a:extLst>
              <a:ext uri="{FF2B5EF4-FFF2-40B4-BE49-F238E27FC236}">
                <a16:creationId xmlns:a16="http://schemas.microsoft.com/office/drawing/2014/main" id="{88312BF0-96DC-C83D-6FDD-0F063C549772}"/>
              </a:ext>
            </a:extLst>
          </p:cNvPr>
          <p:cNvSpPr/>
          <p:nvPr/>
        </p:nvSpPr>
        <p:spPr bwMode="auto">
          <a:xfrm>
            <a:off x="2107302" y="3067910"/>
            <a:ext cx="1688123" cy="233498"/>
          </a:xfrm>
          <a:prstGeom prst="ellipse">
            <a:avLst/>
          </a:prstGeom>
          <a:noFill/>
          <a:ln w="38100" cap="flat" cmpd="sng" algn="ctr">
            <a:solidFill>
              <a:srgbClr val="E6131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20" name="Oval 27">
            <a:extLst>
              <a:ext uri="{FF2B5EF4-FFF2-40B4-BE49-F238E27FC236}">
                <a16:creationId xmlns:a16="http://schemas.microsoft.com/office/drawing/2014/main" id="{B41F0170-CA17-D934-5AAC-E669826DE14E}"/>
              </a:ext>
            </a:extLst>
          </p:cNvPr>
          <p:cNvSpPr/>
          <p:nvPr/>
        </p:nvSpPr>
        <p:spPr bwMode="auto">
          <a:xfrm>
            <a:off x="309376" y="1317179"/>
            <a:ext cx="1575695" cy="395329"/>
          </a:xfrm>
          <a:prstGeom prst="ellipse">
            <a:avLst/>
          </a:prstGeom>
          <a:noFill/>
          <a:ln w="38100" cap="flat" cmpd="sng" algn="ctr">
            <a:solidFill>
              <a:srgbClr val="E6131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Tree>
    <p:extLst>
      <p:ext uri="{BB962C8B-B14F-4D97-AF65-F5344CB8AC3E}">
        <p14:creationId xmlns:p14="http://schemas.microsoft.com/office/powerpoint/2010/main" val="8285954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1">
            <a:extLst>
              <a:ext uri="{FF2B5EF4-FFF2-40B4-BE49-F238E27FC236}">
                <a16:creationId xmlns:a16="http://schemas.microsoft.com/office/drawing/2014/main" id="{170C7460-D28D-AC7F-A4B0-E40255969023}"/>
              </a:ext>
            </a:extLst>
          </p:cNvPr>
          <p:cNvGrpSpPr/>
          <p:nvPr/>
        </p:nvGrpSpPr>
        <p:grpSpPr>
          <a:xfrm>
            <a:off x="9851094" y="4455912"/>
            <a:ext cx="1730802" cy="1492937"/>
            <a:chOff x="9851094" y="4455912"/>
            <a:chExt cx="1730802" cy="1492937"/>
          </a:xfrm>
          <a:solidFill>
            <a:schemeClr val="bg2">
              <a:alpha val="80000"/>
            </a:schemeClr>
          </a:solidFill>
        </p:grpSpPr>
        <p:sp>
          <p:nvSpPr>
            <p:cNvPr id="3" name="Freeform: Shape 280">
              <a:extLst>
                <a:ext uri="{FF2B5EF4-FFF2-40B4-BE49-F238E27FC236}">
                  <a16:creationId xmlns:a16="http://schemas.microsoft.com/office/drawing/2014/main" id="{599DC5C9-3D96-BF72-8FF9-3127D9844E08}"/>
                </a:ext>
              </a:extLst>
            </p:cNvPr>
            <p:cNvSpPr/>
            <p:nvPr/>
          </p:nvSpPr>
          <p:spPr>
            <a:xfrm>
              <a:off x="10571916" y="4526688"/>
              <a:ext cx="324753" cy="246026"/>
            </a:xfrm>
            <a:custGeom>
              <a:avLst/>
              <a:gdLst>
                <a:gd name="connsiteX0" fmla="*/ 310604 w 424604"/>
                <a:gd name="connsiteY0" fmla="*/ 293449 h 321669"/>
                <a:gd name="connsiteX1" fmla="*/ 286886 w 424604"/>
                <a:gd name="connsiteY1" fmla="*/ 267201 h 321669"/>
                <a:gd name="connsiteX2" fmla="*/ 253347 w 424604"/>
                <a:gd name="connsiteY2" fmla="*/ 248930 h 321669"/>
                <a:gd name="connsiteX3" fmla="*/ 229630 w 424604"/>
                <a:gd name="connsiteY3" fmla="*/ 197548 h 321669"/>
                <a:gd name="connsiteX4" fmla="*/ 221738 w 424604"/>
                <a:gd name="connsiteY4" fmla="*/ 165553 h 321669"/>
                <a:gd name="connsiteX5" fmla="*/ 228643 w 424604"/>
                <a:gd name="connsiteY5" fmla="*/ 140462 h 321669"/>
                <a:gd name="connsiteX6" fmla="*/ 162464 w 424604"/>
                <a:gd name="connsiteY6" fmla="*/ 98217 h 321669"/>
                <a:gd name="connsiteX7" fmla="*/ 31138 w 424604"/>
                <a:gd name="connsiteY7" fmla="*/ 14797 h 321669"/>
                <a:gd name="connsiteX8" fmla="*/ 6433 w 424604"/>
                <a:gd name="connsiteY8" fmla="*/ 6433 h 321669"/>
                <a:gd name="connsiteX9" fmla="*/ 6433 w 424604"/>
                <a:gd name="connsiteY9" fmla="*/ 250174 h 321669"/>
                <a:gd name="connsiteX10" fmla="*/ 41989 w 424604"/>
                <a:gd name="connsiteY10" fmla="*/ 263812 h 321669"/>
                <a:gd name="connsiteX11" fmla="*/ 82476 w 424604"/>
                <a:gd name="connsiteY11" fmla="*/ 237521 h 321669"/>
                <a:gd name="connsiteX12" fmla="*/ 102247 w 424604"/>
                <a:gd name="connsiteY12" fmla="*/ 208957 h 321669"/>
                <a:gd name="connsiteX13" fmla="*/ 172372 w 424604"/>
                <a:gd name="connsiteY13" fmla="*/ 227228 h 321669"/>
                <a:gd name="connsiteX14" fmla="*/ 245455 w 424604"/>
                <a:gd name="connsiteY14" fmla="*/ 302627 h 321669"/>
                <a:gd name="connsiteX15" fmla="*/ 315580 w 424604"/>
                <a:gd name="connsiteY15" fmla="*/ 317467 h 321669"/>
                <a:gd name="connsiteX16" fmla="*/ 310604 w 424604"/>
                <a:gd name="connsiteY16" fmla="*/ 293449 h 321669"/>
                <a:gd name="connsiteX17" fmla="*/ 366918 w 424604"/>
                <a:gd name="connsiteY17" fmla="*/ 90153 h 321669"/>
                <a:gd name="connsiteX18" fmla="*/ 326430 w 424604"/>
                <a:gd name="connsiteY18" fmla="*/ 117560 h 321669"/>
                <a:gd name="connsiteX19" fmla="*/ 255320 w 424604"/>
                <a:gd name="connsiteY19" fmla="*/ 120991 h 321669"/>
                <a:gd name="connsiteX20" fmla="*/ 309661 w 424604"/>
                <a:gd name="connsiteY20" fmla="*/ 149556 h 321669"/>
                <a:gd name="connsiteX21" fmla="*/ 378799 w 424604"/>
                <a:gd name="connsiteY21" fmla="*/ 109582 h 321669"/>
                <a:gd name="connsiteX22" fmla="*/ 388662 w 424604"/>
                <a:gd name="connsiteY22" fmla="*/ 75314 h 321669"/>
                <a:gd name="connsiteX23" fmla="*/ 366918 w 424604"/>
                <a:gd name="connsiteY23" fmla="*/ 90153 h 321669"/>
                <a:gd name="connsiteX24" fmla="*/ 400500 w 424604"/>
                <a:gd name="connsiteY24" fmla="*/ 46749 h 321669"/>
                <a:gd name="connsiteX25" fmla="*/ 390593 w 424604"/>
                <a:gd name="connsiteY25" fmla="*/ 49023 h 321669"/>
                <a:gd name="connsiteX26" fmla="*/ 411351 w 424604"/>
                <a:gd name="connsiteY26" fmla="*/ 85607 h 321669"/>
                <a:gd name="connsiteX27" fmla="*/ 400500 w 424604"/>
                <a:gd name="connsiteY27" fmla="*/ 46749 h 32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4604" h="321669">
                  <a:moveTo>
                    <a:pt x="310604" y="293449"/>
                  </a:moveTo>
                  <a:cubicBezTo>
                    <a:pt x="303699" y="290018"/>
                    <a:pt x="285943" y="276336"/>
                    <a:pt x="286886" y="267201"/>
                  </a:cubicBezTo>
                  <a:cubicBezTo>
                    <a:pt x="287872" y="258108"/>
                    <a:pt x="267158" y="259223"/>
                    <a:pt x="253347" y="248930"/>
                  </a:cubicBezTo>
                  <a:cubicBezTo>
                    <a:pt x="239536" y="238636"/>
                    <a:pt x="244469" y="205526"/>
                    <a:pt x="229630" y="197548"/>
                  </a:cubicBezTo>
                  <a:cubicBezTo>
                    <a:pt x="214832" y="189528"/>
                    <a:pt x="203939" y="164438"/>
                    <a:pt x="221738" y="165553"/>
                  </a:cubicBezTo>
                  <a:cubicBezTo>
                    <a:pt x="239493" y="166711"/>
                    <a:pt x="242496" y="155260"/>
                    <a:pt x="228643" y="140462"/>
                  </a:cubicBezTo>
                  <a:cubicBezTo>
                    <a:pt x="214832" y="125623"/>
                    <a:pt x="164437" y="119919"/>
                    <a:pt x="162464" y="98217"/>
                  </a:cubicBezTo>
                  <a:cubicBezTo>
                    <a:pt x="160491" y="76472"/>
                    <a:pt x="70639" y="25091"/>
                    <a:pt x="31138" y="14797"/>
                  </a:cubicBezTo>
                  <a:cubicBezTo>
                    <a:pt x="24103" y="12996"/>
                    <a:pt x="15654" y="9994"/>
                    <a:pt x="6433" y="6433"/>
                  </a:cubicBezTo>
                  <a:lnTo>
                    <a:pt x="6433" y="250174"/>
                  </a:lnTo>
                  <a:cubicBezTo>
                    <a:pt x="15611" y="257293"/>
                    <a:pt x="26978" y="262998"/>
                    <a:pt x="41989" y="263812"/>
                  </a:cubicBezTo>
                  <a:cubicBezTo>
                    <a:pt x="85435" y="266085"/>
                    <a:pt x="74584" y="237521"/>
                    <a:pt x="82476" y="237521"/>
                  </a:cubicBezTo>
                  <a:cubicBezTo>
                    <a:pt x="90411" y="237521"/>
                    <a:pt x="93370" y="221523"/>
                    <a:pt x="102247" y="208957"/>
                  </a:cubicBezTo>
                  <a:cubicBezTo>
                    <a:pt x="111126" y="196433"/>
                    <a:pt x="149640" y="206684"/>
                    <a:pt x="172372" y="227228"/>
                  </a:cubicBezTo>
                  <a:cubicBezTo>
                    <a:pt x="195103" y="247815"/>
                    <a:pt x="221738" y="308331"/>
                    <a:pt x="245455" y="302627"/>
                  </a:cubicBezTo>
                  <a:cubicBezTo>
                    <a:pt x="269173" y="296923"/>
                    <a:pt x="293878" y="318625"/>
                    <a:pt x="315580" y="317467"/>
                  </a:cubicBezTo>
                  <a:cubicBezTo>
                    <a:pt x="337324" y="316266"/>
                    <a:pt x="317510" y="296880"/>
                    <a:pt x="310604" y="293449"/>
                  </a:cubicBezTo>
                  <a:close/>
                  <a:moveTo>
                    <a:pt x="366918" y="90153"/>
                  </a:moveTo>
                  <a:cubicBezTo>
                    <a:pt x="366918" y="100404"/>
                    <a:pt x="351134" y="106151"/>
                    <a:pt x="326430" y="117560"/>
                  </a:cubicBezTo>
                  <a:cubicBezTo>
                    <a:pt x="301769" y="128968"/>
                    <a:pt x="256907" y="104479"/>
                    <a:pt x="255320" y="120991"/>
                  </a:cubicBezTo>
                  <a:cubicBezTo>
                    <a:pt x="254377" y="131285"/>
                    <a:pt x="282984" y="149556"/>
                    <a:pt x="309661" y="149556"/>
                  </a:cubicBezTo>
                  <a:cubicBezTo>
                    <a:pt x="336338" y="149556"/>
                    <a:pt x="378799" y="118718"/>
                    <a:pt x="378799" y="109582"/>
                  </a:cubicBezTo>
                  <a:cubicBezTo>
                    <a:pt x="378799" y="100447"/>
                    <a:pt x="395568" y="84449"/>
                    <a:pt x="388662" y="75314"/>
                  </a:cubicBezTo>
                  <a:cubicBezTo>
                    <a:pt x="381758" y="66178"/>
                    <a:pt x="366918" y="79860"/>
                    <a:pt x="366918" y="90153"/>
                  </a:cubicBezTo>
                  <a:close/>
                  <a:moveTo>
                    <a:pt x="400500" y="46749"/>
                  </a:moveTo>
                  <a:cubicBezTo>
                    <a:pt x="384717" y="35298"/>
                    <a:pt x="370864" y="27321"/>
                    <a:pt x="390593" y="49023"/>
                  </a:cubicBezTo>
                  <a:cubicBezTo>
                    <a:pt x="410365" y="70725"/>
                    <a:pt x="399728" y="89124"/>
                    <a:pt x="411351" y="85607"/>
                  </a:cubicBezTo>
                  <a:cubicBezTo>
                    <a:pt x="430094" y="79903"/>
                    <a:pt x="416284" y="58201"/>
                    <a:pt x="400500" y="46749"/>
                  </a:cubicBezTo>
                  <a:close/>
                </a:path>
              </a:pathLst>
            </a:custGeom>
            <a:grpFill/>
            <a:ln w="1905" cap="flat">
              <a:solidFill>
                <a:schemeClr val="bg2">
                  <a:lumMod val="75000"/>
                </a:schemeClr>
              </a:solidFill>
              <a:prstDash val="solid"/>
              <a:miter/>
            </a:ln>
          </p:spPr>
          <p:txBody>
            <a:bodyPr rtlCol="0" anchor="ctr"/>
            <a:lstStyle/>
            <a:p>
              <a:endParaRPr lang="en-US" dirty="0">
                <a:sym typeface="+mn-lt"/>
              </a:endParaRPr>
            </a:p>
          </p:txBody>
        </p:sp>
        <p:sp>
          <p:nvSpPr>
            <p:cNvPr id="4" name="Freeform: Shape 285">
              <a:extLst>
                <a:ext uri="{FF2B5EF4-FFF2-40B4-BE49-F238E27FC236}">
                  <a16:creationId xmlns:a16="http://schemas.microsoft.com/office/drawing/2014/main" id="{703640B3-30A0-A8A0-462D-480DCE97C8AE}"/>
                </a:ext>
              </a:extLst>
            </p:cNvPr>
            <p:cNvSpPr/>
            <p:nvPr/>
          </p:nvSpPr>
          <p:spPr>
            <a:xfrm>
              <a:off x="10926122" y="4610630"/>
              <a:ext cx="206662" cy="170577"/>
            </a:xfrm>
            <a:custGeom>
              <a:avLst/>
              <a:gdLst>
                <a:gd name="connsiteX0" fmla="*/ 6525 w 270202"/>
                <a:gd name="connsiteY0" fmla="*/ 7810 h 223024"/>
                <a:gd name="connsiteX1" fmla="*/ 47999 w 270202"/>
                <a:gd name="connsiteY1" fmla="*/ 63780 h 223024"/>
                <a:gd name="connsiteX2" fmla="*/ 6525 w 270202"/>
                <a:gd name="connsiteY2" fmla="*/ 7810 h 223024"/>
                <a:gd name="connsiteX3" fmla="*/ 69701 w 270202"/>
                <a:gd name="connsiteY3" fmla="*/ 55760 h 223024"/>
                <a:gd name="connsiteX4" fmla="*/ 97837 w 270202"/>
                <a:gd name="connsiteY4" fmla="*/ 82308 h 223024"/>
                <a:gd name="connsiteX5" fmla="*/ 69701 w 270202"/>
                <a:gd name="connsiteY5" fmla="*/ 55760 h 223024"/>
                <a:gd name="connsiteX6" fmla="*/ 180784 w 270202"/>
                <a:gd name="connsiteY6" fmla="*/ 124297 h 223024"/>
                <a:gd name="connsiteX7" fmla="*/ 134121 w 270202"/>
                <a:gd name="connsiteY7" fmla="*/ 95175 h 223024"/>
                <a:gd name="connsiteX8" fmla="*/ 180784 w 270202"/>
                <a:gd name="connsiteY8" fmla="*/ 124297 h 223024"/>
                <a:gd name="connsiteX9" fmla="*/ 174866 w 270202"/>
                <a:gd name="connsiteY9" fmla="*/ 161139 h 223024"/>
                <a:gd name="connsiteX10" fmla="*/ 208963 w 270202"/>
                <a:gd name="connsiteY10" fmla="*/ 182583 h 223024"/>
                <a:gd name="connsiteX11" fmla="*/ 174866 w 270202"/>
                <a:gd name="connsiteY11" fmla="*/ 161139 h 223024"/>
                <a:gd name="connsiteX12" fmla="*/ 235597 w 270202"/>
                <a:gd name="connsiteY12" fmla="*/ 198796 h 223024"/>
                <a:gd name="connsiteX13" fmla="*/ 265963 w 270202"/>
                <a:gd name="connsiteY13" fmla="*/ 215951 h 223024"/>
                <a:gd name="connsiteX14" fmla="*/ 235597 w 270202"/>
                <a:gd name="connsiteY14" fmla="*/ 198796 h 223024"/>
                <a:gd name="connsiteX15" fmla="*/ 209691 w 270202"/>
                <a:gd name="connsiteY15" fmla="*/ 122581 h 223024"/>
                <a:gd name="connsiteX16" fmla="*/ 236368 w 270202"/>
                <a:gd name="connsiteY16" fmla="*/ 174821 h 223024"/>
                <a:gd name="connsiteX17" fmla="*/ 209691 w 270202"/>
                <a:gd name="connsiteY17" fmla="*/ 122581 h 22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0202" h="223024">
                  <a:moveTo>
                    <a:pt x="6525" y="7810"/>
                  </a:moveTo>
                  <a:cubicBezTo>
                    <a:pt x="4510" y="18103"/>
                    <a:pt x="36204" y="72444"/>
                    <a:pt x="47999" y="63780"/>
                  </a:cubicBezTo>
                  <a:cubicBezTo>
                    <a:pt x="69701" y="47826"/>
                    <a:pt x="8498" y="-2484"/>
                    <a:pt x="6525" y="7810"/>
                  </a:cubicBezTo>
                  <a:close/>
                  <a:moveTo>
                    <a:pt x="69701" y="55760"/>
                  </a:moveTo>
                  <a:cubicBezTo>
                    <a:pt x="68929" y="60049"/>
                    <a:pt x="92647" y="86597"/>
                    <a:pt x="97837" y="82308"/>
                  </a:cubicBezTo>
                  <a:cubicBezTo>
                    <a:pt x="103026" y="78062"/>
                    <a:pt x="71031" y="48040"/>
                    <a:pt x="69701" y="55760"/>
                  </a:cubicBezTo>
                  <a:close/>
                  <a:moveTo>
                    <a:pt x="180784" y="124297"/>
                  </a:moveTo>
                  <a:cubicBezTo>
                    <a:pt x="188934" y="118292"/>
                    <a:pt x="134936" y="84110"/>
                    <a:pt x="134121" y="95175"/>
                  </a:cubicBezTo>
                  <a:cubicBezTo>
                    <a:pt x="133392" y="105426"/>
                    <a:pt x="172635" y="130302"/>
                    <a:pt x="180784" y="124297"/>
                  </a:cubicBezTo>
                  <a:close/>
                  <a:moveTo>
                    <a:pt x="174866" y="161139"/>
                  </a:moveTo>
                  <a:cubicBezTo>
                    <a:pt x="177825" y="178295"/>
                    <a:pt x="200041" y="188545"/>
                    <a:pt x="208963" y="182583"/>
                  </a:cubicBezTo>
                  <a:cubicBezTo>
                    <a:pt x="217841" y="176536"/>
                    <a:pt x="171821" y="143426"/>
                    <a:pt x="174866" y="161139"/>
                  </a:cubicBezTo>
                  <a:close/>
                  <a:moveTo>
                    <a:pt x="235597" y="198796"/>
                  </a:moveTo>
                  <a:cubicBezTo>
                    <a:pt x="237055" y="203085"/>
                    <a:pt x="256355" y="223629"/>
                    <a:pt x="265963" y="215951"/>
                  </a:cubicBezTo>
                  <a:cubicBezTo>
                    <a:pt x="275570" y="208231"/>
                    <a:pt x="233067" y="191462"/>
                    <a:pt x="235597" y="198796"/>
                  </a:cubicBezTo>
                  <a:close/>
                  <a:moveTo>
                    <a:pt x="209691" y="122581"/>
                  </a:moveTo>
                  <a:cubicBezTo>
                    <a:pt x="202272" y="141410"/>
                    <a:pt x="231909" y="173963"/>
                    <a:pt x="236368" y="174821"/>
                  </a:cubicBezTo>
                  <a:cubicBezTo>
                    <a:pt x="240786" y="175678"/>
                    <a:pt x="215396" y="108085"/>
                    <a:pt x="209691" y="122581"/>
                  </a:cubicBezTo>
                  <a:close/>
                </a:path>
              </a:pathLst>
            </a:custGeom>
            <a:grpFill/>
            <a:ln w="1905" cap="flat">
              <a:solidFill>
                <a:schemeClr val="bg2">
                  <a:lumMod val="75000"/>
                </a:schemeClr>
              </a:solidFill>
              <a:prstDash val="solid"/>
              <a:miter/>
            </a:ln>
          </p:spPr>
          <p:txBody>
            <a:bodyPr rtlCol="0" anchor="ctr"/>
            <a:lstStyle/>
            <a:p>
              <a:endParaRPr lang="en-US" dirty="0">
                <a:sym typeface="+mn-lt"/>
              </a:endParaRPr>
            </a:p>
          </p:txBody>
        </p:sp>
        <p:sp>
          <p:nvSpPr>
            <p:cNvPr id="5" name="Freeform: Shape 286">
              <a:extLst>
                <a:ext uri="{FF2B5EF4-FFF2-40B4-BE49-F238E27FC236}">
                  <a16:creationId xmlns:a16="http://schemas.microsoft.com/office/drawing/2014/main" id="{67B76E08-2C4A-B272-89D3-ED35B08636C0}"/>
                </a:ext>
              </a:extLst>
            </p:cNvPr>
            <p:cNvSpPr/>
            <p:nvPr/>
          </p:nvSpPr>
          <p:spPr>
            <a:xfrm>
              <a:off x="10926122" y="4610630"/>
              <a:ext cx="206662" cy="170577"/>
            </a:xfrm>
            <a:custGeom>
              <a:avLst/>
              <a:gdLst>
                <a:gd name="connsiteX0" fmla="*/ 6525 w 270202"/>
                <a:gd name="connsiteY0" fmla="*/ 7810 h 223024"/>
                <a:gd name="connsiteX1" fmla="*/ 47999 w 270202"/>
                <a:gd name="connsiteY1" fmla="*/ 63780 h 223024"/>
                <a:gd name="connsiteX2" fmla="*/ 6525 w 270202"/>
                <a:gd name="connsiteY2" fmla="*/ 7810 h 223024"/>
                <a:gd name="connsiteX3" fmla="*/ 69701 w 270202"/>
                <a:gd name="connsiteY3" fmla="*/ 55760 h 223024"/>
                <a:gd name="connsiteX4" fmla="*/ 97837 w 270202"/>
                <a:gd name="connsiteY4" fmla="*/ 82308 h 223024"/>
                <a:gd name="connsiteX5" fmla="*/ 69701 w 270202"/>
                <a:gd name="connsiteY5" fmla="*/ 55760 h 223024"/>
                <a:gd name="connsiteX6" fmla="*/ 180784 w 270202"/>
                <a:gd name="connsiteY6" fmla="*/ 124297 h 223024"/>
                <a:gd name="connsiteX7" fmla="*/ 134121 w 270202"/>
                <a:gd name="connsiteY7" fmla="*/ 95175 h 223024"/>
                <a:gd name="connsiteX8" fmla="*/ 180784 w 270202"/>
                <a:gd name="connsiteY8" fmla="*/ 124297 h 223024"/>
                <a:gd name="connsiteX9" fmla="*/ 174866 w 270202"/>
                <a:gd name="connsiteY9" fmla="*/ 161139 h 223024"/>
                <a:gd name="connsiteX10" fmla="*/ 208963 w 270202"/>
                <a:gd name="connsiteY10" fmla="*/ 182583 h 223024"/>
                <a:gd name="connsiteX11" fmla="*/ 174866 w 270202"/>
                <a:gd name="connsiteY11" fmla="*/ 161139 h 223024"/>
                <a:gd name="connsiteX12" fmla="*/ 235597 w 270202"/>
                <a:gd name="connsiteY12" fmla="*/ 198796 h 223024"/>
                <a:gd name="connsiteX13" fmla="*/ 265963 w 270202"/>
                <a:gd name="connsiteY13" fmla="*/ 215951 h 223024"/>
                <a:gd name="connsiteX14" fmla="*/ 235597 w 270202"/>
                <a:gd name="connsiteY14" fmla="*/ 198796 h 223024"/>
                <a:gd name="connsiteX15" fmla="*/ 209691 w 270202"/>
                <a:gd name="connsiteY15" fmla="*/ 122581 h 223024"/>
                <a:gd name="connsiteX16" fmla="*/ 236368 w 270202"/>
                <a:gd name="connsiteY16" fmla="*/ 174821 h 223024"/>
                <a:gd name="connsiteX17" fmla="*/ 209691 w 270202"/>
                <a:gd name="connsiteY17" fmla="*/ 122581 h 22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0202" h="223024">
                  <a:moveTo>
                    <a:pt x="6525" y="7810"/>
                  </a:moveTo>
                  <a:cubicBezTo>
                    <a:pt x="4510" y="18103"/>
                    <a:pt x="36204" y="72444"/>
                    <a:pt x="47999" y="63780"/>
                  </a:cubicBezTo>
                  <a:cubicBezTo>
                    <a:pt x="69701" y="47826"/>
                    <a:pt x="8498" y="-2484"/>
                    <a:pt x="6525" y="7810"/>
                  </a:cubicBezTo>
                  <a:close/>
                  <a:moveTo>
                    <a:pt x="69701" y="55760"/>
                  </a:moveTo>
                  <a:cubicBezTo>
                    <a:pt x="68929" y="60049"/>
                    <a:pt x="92647" y="86597"/>
                    <a:pt x="97837" y="82308"/>
                  </a:cubicBezTo>
                  <a:cubicBezTo>
                    <a:pt x="103026" y="78062"/>
                    <a:pt x="71031" y="48040"/>
                    <a:pt x="69701" y="55760"/>
                  </a:cubicBezTo>
                  <a:close/>
                  <a:moveTo>
                    <a:pt x="180784" y="124297"/>
                  </a:moveTo>
                  <a:cubicBezTo>
                    <a:pt x="188934" y="118292"/>
                    <a:pt x="134936" y="84110"/>
                    <a:pt x="134121" y="95175"/>
                  </a:cubicBezTo>
                  <a:cubicBezTo>
                    <a:pt x="133392" y="105426"/>
                    <a:pt x="172635" y="130302"/>
                    <a:pt x="180784" y="124297"/>
                  </a:cubicBezTo>
                  <a:close/>
                  <a:moveTo>
                    <a:pt x="174866" y="161139"/>
                  </a:moveTo>
                  <a:cubicBezTo>
                    <a:pt x="177825" y="178295"/>
                    <a:pt x="200041" y="188545"/>
                    <a:pt x="208963" y="182583"/>
                  </a:cubicBezTo>
                  <a:cubicBezTo>
                    <a:pt x="217841" y="176536"/>
                    <a:pt x="171821" y="143426"/>
                    <a:pt x="174866" y="161139"/>
                  </a:cubicBezTo>
                  <a:close/>
                  <a:moveTo>
                    <a:pt x="235597" y="198796"/>
                  </a:moveTo>
                  <a:cubicBezTo>
                    <a:pt x="237055" y="203085"/>
                    <a:pt x="256355" y="223629"/>
                    <a:pt x="265963" y="215951"/>
                  </a:cubicBezTo>
                  <a:cubicBezTo>
                    <a:pt x="275570" y="208231"/>
                    <a:pt x="233067" y="191462"/>
                    <a:pt x="235597" y="198796"/>
                  </a:cubicBezTo>
                  <a:close/>
                  <a:moveTo>
                    <a:pt x="209691" y="122581"/>
                  </a:moveTo>
                  <a:cubicBezTo>
                    <a:pt x="202272" y="141410"/>
                    <a:pt x="231909" y="173963"/>
                    <a:pt x="236368" y="174821"/>
                  </a:cubicBezTo>
                  <a:cubicBezTo>
                    <a:pt x="240786" y="175678"/>
                    <a:pt x="215396" y="108085"/>
                    <a:pt x="209691" y="122581"/>
                  </a:cubicBezTo>
                  <a:close/>
                </a:path>
              </a:pathLst>
            </a:custGeom>
            <a:grpFill/>
            <a:ln w="1905" cap="flat">
              <a:solidFill>
                <a:schemeClr val="bg2">
                  <a:lumMod val="75000"/>
                </a:schemeClr>
              </a:solidFill>
              <a:prstDash val="solid"/>
              <a:miter/>
            </a:ln>
          </p:spPr>
          <p:txBody>
            <a:bodyPr rtlCol="0" anchor="ctr"/>
            <a:lstStyle/>
            <a:p>
              <a:endParaRPr lang="en-US" dirty="0">
                <a:sym typeface="+mn-lt"/>
              </a:endParaRPr>
            </a:p>
          </p:txBody>
        </p:sp>
        <p:sp>
          <p:nvSpPr>
            <p:cNvPr id="6" name="Freeform: Shape 288">
              <a:extLst>
                <a:ext uri="{FF2B5EF4-FFF2-40B4-BE49-F238E27FC236}">
                  <a16:creationId xmlns:a16="http://schemas.microsoft.com/office/drawing/2014/main" id="{853B1B61-5657-B8C4-290C-9D9B0BE68194}"/>
                </a:ext>
              </a:extLst>
            </p:cNvPr>
            <p:cNvSpPr/>
            <p:nvPr/>
          </p:nvSpPr>
          <p:spPr>
            <a:xfrm>
              <a:off x="10451677" y="5557395"/>
              <a:ext cx="39364" cy="19682"/>
            </a:xfrm>
            <a:custGeom>
              <a:avLst/>
              <a:gdLst>
                <a:gd name="connsiteX0" fmla="*/ 7139 w 51467"/>
                <a:gd name="connsiteY0" fmla="*/ 17896 h 25733"/>
                <a:gd name="connsiteX1" fmla="*/ 47112 w 51467"/>
                <a:gd name="connsiteY1" fmla="*/ 11892 h 25733"/>
                <a:gd name="connsiteX2" fmla="*/ 7139 w 51467"/>
                <a:gd name="connsiteY2" fmla="*/ 17896 h 25733"/>
              </a:gdLst>
              <a:ahLst/>
              <a:cxnLst>
                <a:cxn ang="0">
                  <a:pos x="connsiteX0" y="connsiteY0"/>
                </a:cxn>
                <a:cxn ang="0">
                  <a:pos x="connsiteX1" y="connsiteY1"/>
                </a:cxn>
                <a:cxn ang="0">
                  <a:pos x="connsiteX2" y="connsiteY2"/>
                </a:cxn>
              </a:cxnLst>
              <a:rect l="l" t="t" r="r" b="b"/>
              <a:pathLst>
                <a:path w="51467" h="25733">
                  <a:moveTo>
                    <a:pt x="7139" y="17896"/>
                  </a:moveTo>
                  <a:cubicBezTo>
                    <a:pt x="15287" y="26432"/>
                    <a:pt x="42694" y="23901"/>
                    <a:pt x="47112" y="11892"/>
                  </a:cubicBezTo>
                  <a:cubicBezTo>
                    <a:pt x="51572" y="-74"/>
                    <a:pt x="-152" y="10263"/>
                    <a:pt x="7139" y="17896"/>
                  </a:cubicBezTo>
                  <a:close/>
                </a:path>
              </a:pathLst>
            </a:custGeom>
            <a:grpFill/>
            <a:ln w="1905" cap="flat">
              <a:solidFill>
                <a:schemeClr val="bg2">
                  <a:lumMod val="75000"/>
                </a:schemeClr>
              </a:solidFill>
              <a:prstDash val="solid"/>
              <a:miter/>
            </a:ln>
          </p:spPr>
          <p:txBody>
            <a:bodyPr rtlCol="0" anchor="ctr"/>
            <a:lstStyle/>
            <a:p>
              <a:endParaRPr lang="en-US" dirty="0">
                <a:sym typeface="+mn-lt"/>
              </a:endParaRPr>
            </a:p>
          </p:txBody>
        </p:sp>
        <p:sp>
          <p:nvSpPr>
            <p:cNvPr id="7" name="Freeform: Shape 289">
              <a:extLst>
                <a:ext uri="{FF2B5EF4-FFF2-40B4-BE49-F238E27FC236}">
                  <a16:creationId xmlns:a16="http://schemas.microsoft.com/office/drawing/2014/main" id="{DDC338E5-31D1-A0C3-7BAF-42DA794D16DD}"/>
                </a:ext>
              </a:extLst>
            </p:cNvPr>
            <p:cNvSpPr/>
            <p:nvPr/>
          </p:nvSpPr>
          <p:spPr>
            <a:xfrm>
              <a:off x="9851094" y="4776455"/>
              <a:ext cx="1046428" cy="908654"/>
            </a:xfrm>
            <a:custGeom>
              <a:avLst/>
              <a:gdLst>
                <a:gd name="connsiteX0" fmla="*/ 1359720 w 1368168"/>
                <a:gd name="connsiteY0" fmla="*/ 667227 h 1188033"/>
                <a:gd name="connsiteX1" fmla="*/ 1355902 w 1368168"/>
                <a:gd name="connsiteY1" fmla="*/ 628584 h 1188033"/>
                <a:gd name="connsiteX2" fmla="*/ 1340805 w 1368168"/>
                <a:gd name="connsiteY2" fmla="*/ 594615 h 1188033"/>
                <a:gd name="connsiteX3" fmla="*/ 1327852 w 1368168"/>
                <a:gd name="connsiteY3" fmla="*/ 565279 h 1188033"/>
                <a:gd name="connsiteX4" fmla="*/ 1301948 w 1368168"/>
                <a:gd name="connsiteY4" fmla="*/ 536157 h 1188033"/>
                <a:gd name="connsiteX5" fmla="*/ 1285650 w 1368168"/>
                <a:gd name="connsiteY5" fmla="*/ 518187 h 1188033"/>
                <a:gd name="connsiteX6" fmla="*/ 1273812 w 1368168"/>
                <a:gd name="connsiteY6" fmla="*/ 477913 h 1188033"/>
                <a:gd name="connsiteX7" fmla="*/ 1260473 w 1368168"/>
                <a:gd name="connsiteY7" fmla="*/ 465090 h 1188033"/>
                <a:gd name="connsiteX8" fmla="*/ 1241216 w 1368168"/>
                <a:gd name="connsiteY8" fmla="*/ 466762 h 1188033"/>
                <a:gd name="connsiteX9" fmla="*/ 1233068 w 1368168"/>
                <a:gd name="connsiteY9" fmla="*/ 440214 h 1188033"/>
                <a:gd name="connsiteX10" fmla="*/ 1220458 w 1368168"/>
                <a:gd name="connsiteY10" fmla="*/ 411950 h 1188033"/>
                <a:gd name="connsiteX11" fmla="*/ 1209350 w 1368168"/>
                <a:gd name="connsiteY11" fmla="*/ 383686 h 1188033"/>
                <a:gd name="connsiteX12" fmla="*/ 1132321 w 1368168"/>
                <a:gd name="connsiteY12" fmla="*/ 331446 h 1188033"/>
                <a:gd name="connsiteX13" fmla="*/ 1124171 w 1368168"/>
                <a:gd name="connsiteY13" fmla="*/ 304898 h 1188033"/>
                <a:gd name="connsiteX14" fmla="*/ 1116022 w 1368168"/>
                <a:gd name="connsiteY14" fmla="*/ 257805 h 1188033"/>
                <a:gd name="connsiteX15" fmla="*/ 1096036 w 1368168"/>
                <a:gd name="connsiteY15" fmla="*/ 217533 h 1188033"/>
                <a:gd name="connsiteX16" fmla="*/ 1091576 w 1368168"/>
                <a:gd name="connsiteY16" fmla="*/ 170397 h 1188033"/>
                <a:gd name="connsiteX17" fmla="*/ 1069358 w 1368168"/>
                <a:gd name="connsiteY17" fmla="*/ 139560 h 1188033"/>
                <a:gd name="connsiteX18" fmla="*/ 1043454 w 1368168"/>
                <a:gd name="connsiteY18" fmla="*/ 140417 h 1188033"/>
                <a:gd name="connsiteX19" fmla="*/ 1033074 w 1368168"/>
                <a:gd name="connsiteY19" fmla="*/ 101860 h 1188033"/>
                <a:gd name="connsiteX20" fmla="*/ 1032988 w 1368168"/>
                <a:gd name="connsiteY20" fmla="*/ 88650 h 1188033"/>
                <a:gd name="connsiteX21" fmla="*/ 996618 w 1368168"/>
                <a:gd name="connsiteY21" fmla="*/ 71752 h 1188033"/>
                <a:gd name="connsiteX22" fmla="*/ 974402 w 1368168"/>
                <a:gd name="connsiteY22" fmla="*/ 48549 h 1188033"/>
                <a:gd name="connsiteX23" fmla="*/ 971614 w 1368168"/>
                <a:gd name="connsiteY23" fmla="*/ 52237 h 1188033"/>
                <a:gd name="connsiteX24" fmla="*/ 967154 w 1368168"/>
                <a:gd name="connsiteY24" fmla="*/ 95083 h 1188033"/>
                <a:gd name="connsiteX25" fmla="*/ 964195 w 1368168"/>
                <a:gd name="connsiteY25" fmla="*/ 163620 h 1188033"/>
                <a:gd name="connsiteX26" fmla="*/ 953815 w 1368168"/>
                <a:gd name="connsiteY26" fmla="*/ 222722 h 1188033"/>
                <a:gd name="connsiteX27" fmla="*/ 925637 w 1368168"/>
                <a:gd name="connsiteY27" fmla="*/ 268099 h 1188033"/>
                <a:gd name="connsiteX28" fmla="*/ 884892 w 1368168"/>
                <a:gd name="connsiteY28" fmla="*/ 248413 h 1188033"/>
                <a:gd name="connsiteX29" fmla="*/ 855298 w 1368168"/>
                <a:gd name="connsiteY29" fmla="*/ 232158 h 1188033"/>
                <a:gd name="connsiteX30" fmla="*/ 822703 w 1368168"/>
                <a:gd name="connsiteY30" fmla="*/ 202178 h 1188033"/>
                <a:gd name="connsiteX31" fmla="*/ 788648 w 1368168"/>
                <a:gd name="connsiteY31" fmla="*/ 188496 h 1188033"/>
                <a:gd name="connsiteX32" fmla="*/ 766432 w 1368168"/>
                <a:gd name="connsiteY32" fmla="*/ 159374 h 1188033"/>
                <a:gd name="connsiteX33" fmla="*/ 769391 w 1368168"/>
                <a:gd name="connsiteY33" fmla="*/ 140546 h 1188033"/>
                <a:gd name="connsiteX34" fmla="*/ 772350 w 1368168"/>
                <a:gd name="connsiteY34" fmla="*/ 107993 h 1188033"/>
                <a:gd name="connsiteX35" fmla="*/ 793837 w 1368168"/>
                <a:gd name="connsiteY35" fmla="*/ 89980 h 1188033"/>
                <a:gd name="connsiteX36" fmla="*/ 804946 w 1368168"/>
                <a:gd name="connsiteY36" fmla="*/ 64289 h 1188033"/>
                <a:gd name="connsiteX37" fmla="*/ 797526 w 1368168"/>
                <a:gd name="connsiteY37" fmla="*/ 45461 h 1188033"/>
                <a:gd name="connsiteX38" fmla="*/ 784917 w 1368168"/>
                <a:gd name="connsiteY38" fmla="*/ 60858 h 1188033"/>
                <a:gd name="connsiteX39" fmla="*/ 772350 w 1368168"/>
                <a:gd name="connsiteY39" fmla="*/ 40314 h 1188033"/>
                <a:gd name="connsiteX40" fmla="*/ 747174 w 1368168"/>
                <a:gd name="connsiteY40" fmla="*/ 52323 h 1188033"/>
                <a:gd name="connsiteX41" fmla="*/ 681983 w 1368168"/>
                <a:gd name="connsiteY41" fmla="*/ 29206 h 1188033"/>
                <a:gd name="connsiteX42" fmla="*/ 650888 w 1368168"/>
                <a:gd name="connsiteY42" fmla="*/ 6946 h 1188033"/>
                <a:gd name="connsiteX43" fmla="*/ 663497 w 1368168"/>
                <a:gd name="connsiteY43" fmla="*/ 32636 h 1188033"/>
                <a:gd name="connsiteX44" fmla="*/ 612417 w 1368168"/>
                <a:gd name="connsiteY44" fmla="*/ 50650 h 1188033"/>
                <a:gd name="connsiteX45" fmla="*/ 602809 w 1368168"/>
                <a:gd name="connsiteY45" fmla="*/ 61758 h 1188033"/>
                <a:gd name="connsiteX46" fmla="*/ 579091 w 1368168"/>
                <a:gd name="connsiteY46" fmla="*/ 96885 h 1188033"/>
                <a:gd name="connsiteX47" fmla="*/ 565752 w 1368168"/>
                <a:gd name="connsiteY47" fmla="*/ 125149 h 1188033"/>
                <a:gd name="connsiteX48" fmla="*/ 567254 w 1368168"/>
                <a:gd name="connsiteY48" fmla="*/ 157745 h 1188033"/>
                <a:gd name="connsiteX49" fmla="*/ 550227 w 1368168"/>
                <a:gd name="connsiteY49" fmla="*/ 162034 h 1188033"/>
                <a:gd name="connsiteX50" fmla="*/ 528782 w 1368168"/>
                <a:gd name="connsiteY50" fmla="*/ 163749 h 1188033"/>
                <a:gd name="connsiteX51" fmla="*/ 517674 w 1368168"/>
                <a:gd name="connsiteY51" fmla="*/ 155171 h 1188033"/>
                <a:gd name="connsiteX52" fmla="*/ 499145 w 1368168"/>
                <a:gd name="connsiteY52" fmla="*/ 137201 h 1188033"/>
                <a:gd name="connsiteX53" fmla="*/ 470968 w 1368168"/>
                <a:gd name="connsiteY53" fmla="*/ 113226 h 1188033"/>
                <a:gd name="connsiteX54" fmla="*/ 451710 w 1368168"/>
                <a:gd name="connsiteY54" fmla="*/ 126092 h 1188033"/>
                <a:gd name="connsiteX55" fmla="*/ 441331 w 1368168"/>
                <a:gd name="connsiteY55" fmla="*/ 144063 h 1188033"/>
                <a:gd name="connsiteX56" fmla="*/ 415425 w 1368168"/>
                <a:gd name="connsiteY56" fmla="*/ 144921 h 1188033"/>
                <a:gd name="connsiteX57" fmla="*/ 409507 w 1368168"/>
                <a:gd name="connsiteY57" fmla="*/ 162034 h 1188033"/>
                <a:gd name="connsiteX58" fmla="*/ 393938 w 1368168"/>
                <a:gd name="connsiteY58" fmla="*/ 174900 h 1188033"/>
                <a:gd name="connsiteX59" fmla="*/ 387291 w 1368168"/>
                <a:gd name="connsiteY59" fmla="*/ 212600 h 1188033"/>
                <a:gd name="connsiteX60" fmla="*/ 362843 w 1368168"/>
                <a:gd name="connsiteY60" fmla="*/ 210027 h 1188033"/>
                <a:gd name="connsiteX61" fmla="*/ 368033 w 1368168"/>
                <a:gd name="connsiteY61" fmla="*/ 239148 h 1188033"/>
                <a:gd name="connsiteX62" fmla="*/ 357653 w 1368168"/>
                <a:gd name="connsiteY62" fmla="*/ 258835 h 1188033"/>
                <a:gd name="connsiteX63" fmla="*/ 344315 w 1368168"/>
                <a:gd name="connsiteY63" fmla="*/ 229713 h 1188033"/>
                <a:gd name="connsiteX64" fmla="*/ 318367 w 1368168"/>
                <a:gd name="connsiteY64" fmla="*/ 245110 h 1188033"/>
                <a:gd name="connsiteX65" fmla="*/ 316909 w 1368168"/>
                <a:gd name="connsiteY65" fmla="*/ 290530 h 1188033"/>
                <a:gd name="connsiteX66" fmla="*/ 268744 w 1368168"/>
                <a:gd name="connsiteY66" fmla="*/ 345342 h 1188033"/>
                <a:gd name="connsiteX67" fmla="*/ 218349 w 1368168"/>
                <a:gd name="connsiteY67" fmla="*/ 360354 h 1188033"/>
                <a:gd name="connsiteX68" fmla="*/ 213803 w 1368168"/>
                <a:gd name="connsiteY68" fmla="*/ 364986 h 1188033"/>
                <a:gd name="connsiteX69" fmla="*/ 95085 w 1368168"/>
                <a:gd name="connsiteY69" fmla="*/ 431078 h 1188033"/>
                <a:gd name="connsiteX70" fmla="*/ 30323 w 1368168"/>
                <a:gd name="connsiteY70" fmla="*/ 499444 h 1188033"/>
                <a:gd name="connsiteX71" fmla="*/ 27320 w 1368168"/>
                <a:gd name="connsiteY71" fmla="*/ 506435 h 1188033"/>
                <a:gd name="connsiteX72" fmla="*/ 21402 w 1368168"/>
                <a:gd name="connsiteY72" fmla="*/ 568110 h 1188033"/>
                <a:gd name="connsiteX73" fmla="*/ 40659 w 1368168"/>
                <a:gd name="connsiteY73" fmla="*/ 619491 h 1188033"/>
                <a:gd name="connsiteX74" fmla="*/ 20673 w 1368168"/>
                <a:gd name="connsiteY74" fmla="*/ 599805 h 1188033"/>
                <a:gd name="connsiteX75" fmla="*/ 30323 w 1368168"/>
                <a:gd name="connsiteY75" fmla="*/ 627211 h 1188033"/>
                <a:gd name="connsiteX76" fmla="*/ 6605 w 1368168"/>
                <a:gd name="connsiteY76" fmla="*/ 606667 h 1188033"/>
                <a:gd name="connsiteX77" fmla="*/ 40659 w 1368168"/>
                <a:gd name="connsiteY77" fmla="*/ 694033 h 1188033"/>
                <a:gd name="connsiteX78" fmla="*/ 68838 w 1368168"/>
                <a:gd name="connsiteY78" fmla="*/ 766859 h 1188033"/>
                <a:gd name="connsiteX79" fmla="*/ 98474 w 1368168"/>
                <a:gd name="connsiteY79" fmla="*/ 855082 h 1188033"/>
                <a:gd name="connsiteX80" fmla="*/ 91054 w 1368168"/>
                <a:gd name="connsiteY80" fmla="*/ 906464 h 1188033"/>
                <a:gd name="connsiteX81" fmla="*/ 71797 w 1368168"/>
                <a:gd name="connsiteY81" fmla="*/ 938158 h 1188033"/>
                <a:gd name="connsiteX82" fmla="*/ 80675 w 1368168"/>
                <a:gd name="connsiteY82" fmla="*/ 963850 h 1188033"/>
                <a:gd name="connsiteX83" fmla="*/ 105122 w 1368168"/>
                <a:gd name="connsiteY83" fmla="*/ 988725 h 1188033"/>
                <a:gd name="connsiteX84" fmla="*/ 117774 w 1368168"/>
                <a:gd name="connsiteY84" fmla="*/ 994387 h 1188033"/>
                <a:gd name="connsiteX85" fmla="*/ 227571 w 1368168"/>
                <a:gd name="connsiteY85" fmla="*/ 954156 h 1188033"/>
                <a:gd name="connsiteX86" fmla="*/ 242153 w 1368168"/>
                <a:gd name="connsiteY86" fmla="*/ 947423 h 1188033"/>
                <a:gd name="connsiteX87" fmla="*/ 276335 w 1368168"/>
                <a:gd name="connsiteY87" fmla="*/ 927093 h 1188033"/>
                <a:gd name="connsiteX88" fmla="*/ 435712 w 1368168"/>
                <a:gd name="connsiteY88" fmla="*/ 872710 h 1188033"/>
                <a:gd name="connsiteX89" fmla="*/ 447379 w 1368168"/>
                <a:gd name="connsiteY89" fmla="*/ 877685 h 1188033"/>
                <a:gd name="connsiteX90" fmla="*/ 469509 w 1368168"/>
                <a:gd name="connsiteY90" fmla="*/ 878285 h 1188033"/>
                <a:gd name="connsiteX91" fmla="*/ 543579 w 1368168"/>
                <a:gd name="connsiteY91" fmla="*/ 853452 h 1188033"/>
                <a:gd name="connsiteX92" fmla="*/ 613917 w 1368168"/>
                <a:gd name="connsiteY92" fmla="*/ 843159 h 1188033"/>
                <a:gd name="connsiteX93" fmla="*/ 654662 w 1368168"/>
                <a:gd name="connsiteY93" fmla="*/ 866276 h 1188033"/>
                <a:gd name="connsiteX94" fmla="*/ 693906 w 1368168"/>
                <a:gd name="connsiteY94" fmla="*/ 872280 h 1188033"/>
                <a:gd name="connsiteX95" fmla="*/ 713164 w 1368168"/>
                <a:gd name="connsiteY95" fmla="*/ 883432 h 1188033"/>
                <a:gd name="connsiteX96" fmla="*/ 715394 w 1368168"/>
                <a:gd name="connsiteY96" fmla="*/ 907450 h 1188033"/>
                <a:gd name="connsiteX97" fmla="*/ 745030 w 1368168"/>
                <a:gd name="connsiteY97" fmla="*/ 940003 h 1188033"/>
                <a:gd name="connsiteX98" fmla="*/ 753179 w 1368168"/>
                <a:gd name="connsiteY98" fmla="*/ 982849 h 1188033"/>
                <a:gd name="connsiteX99" fmla="*/ 780585 w 1368168"/>
                <a:gd name="connsiteY99" fmla="*/ 971698 h 1188033"/>
                <a:gd name="connsiteX100" fmla="*/ 813910 w 1368168"/>
                <a:gd name="connsiteY100" fmla="*/ 942576 h 1188033"/>
                <a:gd name="connsiteX101" fmla="*/ 842088 w 1368168"/>
                <a:gd name="connsiteY101" fmla="*/ 908308 h 1188033"/>
                <a:gd name="connsiteX102" fmla="*/ 828021 w 1368168"/>
                <a:gd name="connsiteY102" fmla="*/ 963120 h 1188033"/>
                <a:gd name="connsiteX103" fmla="*/ 807305 w 1368168"/>
                <a:gd name="connsiteY103" fmla="*/ 993100 h 1188033"/>
                <a:gd name="connsiteX104" fmla="*/ 838400 w 1368168"/>
                <a:gd name="connsiteY104" fmla="*/ 989668 h 1188033"/>
                <a:gd name="connsiteX105" fmla="*/ 856929 w 1368168"/>
                <a:gd name="connsiteY105" fmla="*/ 978517 h 1188033"/>
                <a:gd name="connsiteX106" fmla="*/ 852468 w 1368168"/>
                <a:gd name="connsiteY106" fmla="*/ 1021364 h 1188033"/>
                <a:gd name="connsiteX107" fmla="*/ 876915 w 1368168"/>
                <a:gd name="connsiteY107" fmla="*/ 1019648 h 1188033"/>
                <a:gd name="connsiteX108" fmla="*/ 905050 w 1368168"/>
                <a:gd name="connsiteY108" fmla="*/ 1072745 h 1188033"/>
                <a:gd name="connsiteX109" fmla="*/ 904750 w 1368168"/>
                <a:gd name="connsiteY109" fmla="*/ 1074632 h 1188033"/>
                <a:gd name="connsiteX110" fmla="*/ 1020894 w 1368168"/>
                <a:gd name="connsiteY110" fmla="*/ 1155136 h 1188033"/>
                <a:gd name="connsiteX111" fmla="*/ 1026555 w 1368168"/>
                <a:gd name="connsiteY111" fmla="*/ 1168646 h 1188033"/>
                <a:gd name="connsiteX112" fmla="*/ 1066528 w 1368168"/>
                <a:gd name="connsiteY112" fmla="*/ 1138752 h 1188033"/>
                <a:gd name="connsiteX113" fmla="*/ 1080596 w 1368168"/>
                <a:gd name="connsiteY113" fmla="*/ 1144756 h 1188033"/>
                <a:gd name="connsiteX114" fmla="*/ 1086514 w 1368168"/>
                <a:gd name="connsiteY114" fmla="*/ 1156766 h 1188033"/>
                <a:gd name="connsiteX115" fmla="*/ 1095392 w 1368168"/>
                <a:gd name="connsiteY115" fmla="*/ 1149088 h 1188033"/>
                <a:gd name="connsiteX116" fmla="*/ 1117609 w 1368168"/>
                <a:gd name="connsiteY116" fmla="*/ 1172206 h 1188033"/>
                <a:gd name="connsiteX117" fmla="*/ 1128718 w 1368168"/>
                <a:gd name="connsiteY117" fmla="*/ 1181641 h 1188033"/>
                <a:gd name="connsiteX118" fmla="*/ 1143514 w 1368168"/>
                <a:gd name="connsiteY118" fmla="*/ 1160196 h 1188033"/>
                <a:gd name="connsiteX119" fmla="*/ 1175339 w 1368168"/>
                <a:gd name="connsiteY119" fmla="*/ 1133648 h 1188033"/>
                <a:gd name="connsiteX120" fmla="*/ 1244948 w 1368168"/>
                <a:gd name="connsiteY120" fmla="*/ 1119109 h 1188033"/>
                <a:gd name="connsiteX121" fmla="*/ 1256056 w 1368168"/>
                <a:gd name="connsiteY121" fmla="*/ 1041179 h 1188033"/>
                <a:gd name="connsiteX122" fmla="*/ 1281232 w 1368168"/>
                <a:gd name="connsiteY122" fmla="*/ 982077 h 1188033"/>
                <a:gd name="connsiteX123" fmla="*/ 1316788 w 1368168"/>
                <a:gd name="connsiteY123" fmla="*/ 899000 h 1188033"/>
                <a:gd name="connsiteX124" fmla="*/ 1336774 w 1368168"/>
                <a:gd name="connsiteY124" fmla="*/ 872409 h 1188033"/>
                <a:gd name="connsiteX125" fmla="*/ 1336817 w 1368168"/>
                <a:gd name="connsiteY125" fmla="*/ 872195 h 1188033"/>
                <a:gd name="connsiteX126" fmla="*/ 1350841 w 1368168"/>
                <a:gd name="connsiteY126" fmla="*/ 752105 h 1188033"/>
                <a:gd name="connsiteX127" fmla="*/ 1364052 w 1368168"/>
                <a:gd name="connsiteY127" fmla="*/ 669586 h 1188033"/>
                <a:gd name="connsiteX128" fmla="*/ 1359720 w 1368168"/>
                <a:gd name="connsiteY128" fmla="*/ 667227 h 1188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1368168" h="1188033">
                  <a:moveTo>
                    <a:pt x="1359720" y="667227"/>
                  </a:moveTo>
                  <a:cubicBezTo>
                    <a:pt x="1356203" y="670143"/>
                    <a:pt x="1355087" y="649042"/>
                    <a:pt x="1355902" y="628584"/>
                  </a:cubicBezTo>
                  <a:cubicBezTo>
                    <a:pt x="1350199" y="617561"/>
                    <a:pt x="1345137" y="606238"/>
                    <a:pt x="1340805" y="594615"/>
                  </a:cubicBezTo>
                  <a:cubicBezTo>
                    <a:pt x="1334586" y="587839"/>
                    <a:pt x="1329354" y="571069"/>
                    <a:pt x="1327852" y="565279"/>
                  </a:cubicBezTo>
                  <a:cubicBezTo>
                    <a:pt x="1325622" y="556744"/>
                    <a:pt x="1314514" y="532726"/>
                    <a:pt x="1301948" y="536157"/>
                  </a:cubicBezTo>
                  <a:cubicBezTo>
                    <a:pt x="1289338" y="539588"/>
                    <a:pt x="1297487" y="515613"/>
                    <a:pt x="1285650" y="518187"/>
                  </a:cubicBezTo>
                  <a:cubicBezTo>
                    <a:pt x="1273812" y="520760"/>
                    <a:pt x="1271582" y="498458"/>
                    <a:pt x="1273812" y="477913"/>
                  </a:cubicBezTo>
                  <a:cubicBezTo>
                    <a:pt x="1276043" y="457369"/>
                    <a:pt x="1265663" y="473625"/>
                    <a:pt x="1260473" y="465090"/>
                  </a:cubicBezTo>
                  <a:cubicBezTo>
                    <a:pt x="1255284" y="456512"/>
                    <a:pt x="1249366" y="463374"/>
                    <a:pt x="1241216" y="466762"/>
                  </a:cubicBezTo>
                  <a:cubicBezTo>
                    <a:pt x="1233068" y="470236"/>
                    <a:pt x="1230837" y="448791"/>
                    <a:pt x="1233068" y="440214"/>
                  </a:cubicBezTo>
                  <a:cubicBezTo>
                    <a:pt x="1235298" y="431636"/>
                    <a:pt x="1231609" y="421342"/>
                    <a:pt x="1220458" y="411950"/>
                  </a:cubicBezTo>
                  <a:cubicBezTo>
                    <a:pt x="1209350" y="402514"/>
                    <a:pt x="1208578" y="394794"/>
                    <a:pt x="1209350" y="383686"/>
                  </a:cubicBezTo>
                  <a:cubicBezTo>
                    <a:pt x="1210121" y="372577"/>
                    <a:pt x="1146388" y="334878"/>
                    <a:pt x="1132321" y="331446"/>
                  </a:cubicBezTo>
                  <a:cubicBezTo>
                    <a:pt x="1118253" y="328016"/>
                    <a:pt x="1130090" y="310902"/>
                    <a:pt x="1124171" y="304898"/>
                  </a:cubicBezTo>
                  <a:cubicBezTo>
                    <a:pt x="1118253" y="298894"/>
                    <a:pt x="1116022" y="276634"/>
                    <a:pt x="1116022" y="257805"/>
                  </a:cubicBezTo>
                  <a:cubicBezTo>
                    <a:pt x="1116022" y="238934"/>
                    <a:pt x="1095307" y="232930"/>
                    <a:pt x="1096036" y="217533"/>
                  </a:cubicBezTo>
                  <a:cubicBezTo>
                    <a:pt x="1096765" y="202092"/>
                    <a:pt x="1090117" y="187553"/>
                    <a:pt x="1091576" y="170397"/>
                  </a:cubicBezTo>
                  <a:cubicBezTo>
                    <a:pt x="1093033" y="153284"/>
                    <a:pt x="1070088" y="148995"/>
                    <a:pt x="1069358" y="139560"/>
                  </a:cubicBezTo>
                  <a:cubicBezTo>
                    <a:pt x="1068630" y="130124"/>
                    <a:pt x="1056020" y="138702"/>
                    <a:pt x="1043454" y="140417"/>
                  </a:cubicBezTo>
                  <a:cubicBezTo>
                    <a:pt x="1030844" y="142090"/>
                    <a:pt x="1031617" y="121546"/>
                    <a:pt x="1033074" y="101860"/>
                  </a:cubicBezTo>
                  <a:cubicBezTo>
                    <a:pt x="1033375" y="97871"/>
                    <a:pt x="1033332" y="93368"/>
                    <a:pt x="1032988" y="88650"/>
                  </a:cubicBezTo>
                  <a:cubicBezTo>
                    <a:pt x="1021194" y="82388"/>
                    <a:pt x="1009100" y="76684"/>
                    <a:pt x="996618" y="71752"/>
                  </a:cubicBezTo>
                  <a:cubicBezTo>
                    <a:pt x="984867" y="67120"/>
                    <a:pt x="977747" y="58413"/>
                    <a:pt x="974402" y="48549"/>
                  </a:cubicBezTo>
                  <a:cubicBezTo>
                    <a:pt x="973544" y="49878"/>
                    <a:pt x="972687" y="51165"/>
                    <a:pt x="971614" y="52237"/>
                  </a:cubicBezTo>
                  <a:cubicBezTo>
                    <a:pt x="964924" y="59099"/>
                    <a:pt x="976074" y="85648"/>
                    <a:pt x="967154" y="95083"/>
                  </a:cubicBezTo>
                  <a:cubicBezTo>
                    <a:pt x="958275" y="104519"/>
                    <a:pt x="966424" y="142176"/>
                    <a:pt x="964195" y="163620"/>
                  </a:cubicBezTo>
                  <a:cubicBezTo>
                    <a:pt x="961964" y="185022"/>
                    <a:pt x="962693" y="208140"/>
                    <a:pt x="953815" y="222722"/>
                  </a:cubicBezTo>
                  <a:cubicBezTo>
                    <a:pt x="944937" y="237262"/>
                    <a:pt x="943436" y="260422"/>
                    <a:pt x="925637" y="268099"/>
                  </a:cubicBezTo>
                  <a:cubicBezTo>
                    <a:pt x="907881" y="275819"/>
                    <a:pt x="884163" y="259564"/>
                    <a:pt x="884892" y="248413"/>
                  </a:cubicBezTo>
                  <a:cubicBezTo>
                    <a:pt x="885621" y="237262"/>
                    <a:pt x="865634" y="230442"/>
                    <a:pt x="855298" y="232158"/>
                  </a:cubicBezTo>
                  <a:cubicBezTo>
                    <a:pt x="844919" y="233873"/>
                    <a:pt x="839000" y="216717"/>
                    <a:pt x="822703" y="202178"/>
                  </a:cubicBezTo>
                  <a:cubicBezTo>
                    <a:pt x="806405" y="187595"/>
                    <a:pt x="793837" y="205609"/>
                    <a:pt x="788648" y="188496"/>
                  </a:cubicBezTo>
                  <a:cubicBezTo>
                    <a:pt x="783459" y="171384"/>
                    <a:pt x="778312" y="168810"/>
                    <a:pt x="766432" y="159374"/>
                  </a:cubicBezTo>
                  <a:cubicBezTo>
                    <a:pt x="754594" y="149939"/>
                    <a:pt x="758283" y="149939"/>
                    <a:pt x="769391" y="140546"/>
                  </a:cubicBezTo>
                  <a:cubicBezTo>
                    <a:pt x="780500" y="131154"/>
                    <a:pt x="778269" y="119144"/>
                    <a:pt x="772350" y="107993"/>
                  </a:cubicBezTo>
                  <a:cubicBezTo>
                    <a:pt x="766432" y="96842"/>
                    <a:pt x="778998" y="99458"/>
                    <a:pt x="793837" y="89980"/>
                  </a:cubicBezTo>
                  <a:cubicBezTo>
                    <a:pt x="808635" y="80587"/>
                    <a:pt x="793837" y="69436"/>
                    <a:pt x="804946" y="64289"/>
                  </a:cubicBezTo>
                  <a:cubicBezTo>
                    <a:pt x="816055" y="59142"/>
                    <a:pt x="809407" y="47991"/>
                    <a:pt x="797526" y="45461"/>
                  </a:cubicBezTo>
                  <a:cubicBezTo>
                    <a:pt x="785689" y="42887"/>
                    <a:pt x="789378" y="59142"/>
                    <a:pt x="784917" y="60858"/>
                  </a:cubicBezTo>
                  <a:cubicBezTo>
                    <a:pt x="780457" y="62574"/>
                    <a:pt x="776039" y="39456"/>
                    <a:pt x="772350" y="40314"/>
                  </a:cubicBezTo>
                  <a:cubicBezTo>
                    <a:pt x="768619" y="41172"/>
                    <a:pt x="754594" y="63431"/>
                    <a:pt x="747174" y="52323"/>
                  </a:cubicBezTo>
                  <a:cubicBezTo>
                    <a:pt x="739755" y="41172"/>
                    <a:pt x="698281" y="31779"/>
                    <a:pt x="681983" y="29206"/>
                  </a:cubicBezTo>
                  <a:cubicBezTo>
                    <a:pt x="665685" y="26632"/>
                    <a:pt x="660495" y="2657"/>
                    <a:pt x="650888" y="6946"/>
                  </a:cubicBezTo>
                  <a:cubicBezTo>
                    <a:pt x="641281" y="11235"/>
                    <a:pt x="652346" y="18955"/>
                    <a:pt x="663497" y="32636"/>
                  </a:cubicBezTo>
                  <a:cubicBezTo>
                    <a:pt x="674606" y="46318"/>
                    <a:pt x="626484" y="55754"/>
                    <a:pt x="612417" y="50650"/>
                  </a:cubicBezTo>
                  <a:cubicBezTo>
                    <a:pt x="598349" y="45503"/>
                    <a:pt x="614647" y="62659"/>
                    <a:pt x="602809" y="61758"/>
                  </a:cubicBezTo>
                  <a:cubicBezTo>
                    <a:pt x="590929" y="60901"/>
                    <a:pt x="588699" y="84876"/>
                    <a:pt x="579091" y="96885"/>
                  </a:cubicBezTo>
                  <a:cubicBezTo>
                    <a:pt x="569441" y="108894"/>
                    <a:pt x="576131" y="117472"/>
                    <a:pt x="565752" y="125149"/>
                  </a:cubicBezTo>
                  <a:cubicBezTo>
                    <a:pt x="555374" y="132869"/>
                    <a:pt x="554645" y="141447"/>
                    <a:pt x="567254" y="157745"/>
                  </a:cubicBezTo>
                  <a:cubicBezTo>
                    <a:pt x="579863" y="174000"/>
                    <a:pt x="561335" y="174857"/>
                    <a:pt x="550227" y="162034"/>
                  </a:cubicBezTo>
                  <a:cubicBezTo>
                    <a:pt x="539118" y="149210"/>
                    <a:pt x="528010" y="149210"/>
                    <a:pt x="528782" y="163749"/>
                  </a:cubicBezTo>
                  <a:cubicBezTo>
                    <a:pt x="529511" y="178289"/>
                    <a:pt x="515443" y="171470"/>
                    <a:pt x="517674" y="155171"/>
                  </a:cubicBezTo>
                  <a:cubicBezTo>
                    <a:pt x="519904" y="138873"/>
                    <a:pt x="502105" y="146594"/>
                    <a:pt x="499145" y="137201"/>
                  </a:cubicBezTo>
                  <a:cubicBezTo>
                    <a:pt x="496143" y="127765"/>
                    <a:pt x="480618" y="112368"/>
                    <a:pt x="470968" y="113226"/>
                  </a:cubicBezTo>
                  <a:cubicBezTo>
                    <a:pt x="461361" y="114084"/>
                    <a:pt x="461361" y="126092"/>
                    <a:pt x="451710" y="126092"/>
                  </a:cubicBezTo>
                  <a:cubicBezTo>
                    <a:pt x="442060" y="126092"/>
                    <a:pt x="439873" y="132097"/>
                    <a:pt x="441331" y="144063"/>
                  </a:cubicBezTo>
                  <a:cubicBezTo>
                    <a:pt x="442832" y="156072"/>
                    <a:pt x="426534" y="143205"/>
                    <a:pt x="415425" y="144921"/>
                  </a:cubicBezTo>
                  <a:cubicBezTo>
                    <a:pt x="404318" y="146636"/>
                    <a:pt x="415425" y="161176"/>
                    <a:pt x="409507" y="162034"/>
                  </a:cubicBezTo>
                  <a:cubicBezTo>
                    <a:pt x="403588" y="162892"/>
                    <a:pt x="403588" y="174900"/>
                    <a:pt x="393938" y="174900"/>
                  </a:cubicBezTo>
                  <a:cubicBezTo>
                    <a:pt x="384288" y="174900"/>
                    <a:pt x="385789" y="199733"/>
                    <a:pt x="387291" y="212600"/>
                  </a:cubicBezTo>
                  <a:cubicBezTo>
                    <a:pt x="388748" y="225424"/>
                    <a:pt x="372450" y="206596"/>
                    <a:pt x="362843" y="210027"/>
                  </a:cubicBezTo>
                  <a:cubicBezTo>
                    <a:pt x="353193" y="213458"/>
                    <a:pt x="365073" y="224566"/>
                    <a:pt x="368033" y="239148"/>
                  </a:cubicBezTo>
                  <a:cubicBezTo>
                    <a:pt x="370992" y="253688"/>
                    <a:pt x="362843" y="252873"/>
                    <a:pt x="357653" y="258835"/>
                  </a:cubicBezTo>
                  <a:cubicBezTo>
                    <a:pt x="352507" y="264839"/>
                    <a:pt x="344315" y="242537"/>
                    <a:pt x="344315" y="229713"/>
                  </a:cubicBezTo>
                  <a:cubicBezTo>
                    <a:pt x="344315" y="216846"/>
                    <a:pt x="331705" y="228855"/>
                    <a:pt x="318367" y="245110"/>
                  </a:cubicBezTo>
                  <a:cubicBezTo>
                    <a:pt x="305071" y="261408"/>
                    <a:pt x="322828" y="286241"/>
                    <a:pt x="316909" y="290530"/>
                  </a:cubicBezTo>
                  <a:cubicBezTo>
                    <a:pt x="310990" y="294819"/>
                    <a:pt x="284313" y="323941"/>
                    <a:pt x="268744" y="345342"/>
                  </a:cubicBezTo>
                  <a:cubicBezTo>
                    <a:pt x="256349" y="362412"/>
                    <a:pt x="232717" y="357738"/>
                    <a:pt x="218349" y="360354"/>
                  </a:cubicBezTo>
                  <a:cubicBezTo>
                    <a:pt x="217019" y="361941"/>
                    <a:pt x="215519" y="363485"/>
                    <a:pt x="213803" y="364986"/>
                  </a:cubicBezTo>
                  <a:cubicBezTo>
                    <a:pt x="178934" y="394966"/>
                    <a:pt x="139433" y="420356"/>
                    <a:pt x="95085" y="431078"/>
                  </a:cubicBezTo>
                  <a:cubicBezTo>
                    <a:pt x="75613" y="454796"/>
                    <a:pt x="53869" y="478213"/>
                    <a:pt x="30323" y="499444"/>
                  </a:cubicBezTo>
                  <a:cubicBezTo>
                    <a:pt x="29765" y="501588"/>
                    <a:pt x="28821" y="503904"/>
                    <a:pt x="27320" y="506435"/>
                  </a:cubicBezTo>
                  <a:cubicBezTo>
                    <a:pt x="16212" y="525306"/>
                    <a:pt x="5832" y="544091"/>
                    <a:pt x="21402" y="568110"/>
                  </a:cubicBezTo>
                  <a:cubicBezTo>
                    <a:pt x="36927" y="592128"/>
                    <a:pt x="45805" y="607525"/>
                    <a:pt x="40659" y="619491"/>
                  </a:cubicBezTo>
                  <a:cubicBezTo>
                    <a:pt x="35470" y="631457"/>
                    <a:pt x="24361" y="595516"/>
                    <a:pt x="20673" y="599805"/>
                  </a:cubicBezTo>
                  <a:cubicBezTo>
                    <a:pt x="16984" y="604094"/>
                    <a:pt x="34740" y="619491"/>
                    <a:pt x="30323" y="627211"/>
                  </a:cubicBezTo>
                  <a:cubicBezTo>
                    <a:pt x="25862" y="634931"/>
                    <a:pt x="9951" y="598089"/>
                    <a:pt x="6605" y="606667"/>
                  </a:cubicBezTo>
                  <a:cubicBezTo>
                    <a:pt x="3645" y="614387"/>
                    <a:pt x="39930" y="672588"/>
                    <a:pt x="40659" y="694033"/>
                  </a:cubicBezTo>
                  <a:cubicBezTo>
                    <a:pt x="41388" y="715477"/>
                    <a:pt x="70295" y="736021"/>
                    <a:pt x="68838" y="766859"/>
                  </a:cubicBezTo>
                  <a:cubicBezTo>
                    <a:pt x="67336" y="797696"/>
                    <a:pt x="94013" y="847362"/>
                    <a:pt x="98474" y="855082"/>
                  </a:cubicBezTo>
                  <a:cubicBezTo>
                    <a:pt x="102891" y="862802"/>
                    <a:pt x="88095" y="883346"/>
                    <a:pt x="91054" y="906464"/>
                  </a:cubicBezTo>
                  <a:cubicBezTo>
                    <a:pt x="94056" y="929580"/>
                    <a:pt x="84406" y="938158"/>
                    <a:pt x="71797" y="938158"/>
                  </a:cubicBezTo>
                  <a:cubicBezTo>
                    <a:pt x="59230" y="938158"/>
                    <a:pt x="66607" y="962177"/>
                    <a:pt x="80675" y="963850"/>
                  </a:cubicBezTo>
                  <a:cubicBezTo>
                    <a:pt x="94742" y="965565"/>
                    <a:pt x="89595" y="976716"/>
                    <a:pt x="105122" y="988725"/>
                  </a:cubicBezTo>
                  <a:cubicBezTo>
                    <a:pt x="108467" y="991298"/>
                    <a:pt x="112885" y="993100"/>
                    <a:pt x="117774" y="994387"/>
                  </a:cubicBezTo>
                  <a:cubicBezTo>
                    <a:pt x="154015" y="979418"/>
                    <a:pt x="191801" y="969768"/>
                    <a:pt x="227571" y="954156"/>
                  </a:cubicBezTo>
                  <a:cubicBezTo>
                    <a:pt x="230101" y="950725"/>
                    <a:pt x="235247" y="948624"/>
                    <a:pt x="242153" y="947423"/>
                  </a:cubicBezTo>
                  <a:cubicBezTo>
                    <a:pt x="253862" y="941590"/>
                    <a:pt x="265313" y="934985"/>
                    <a:pt x="276335" y="927093"/>
                  </a:cubicBezTo>
                  <a:cubicBezTo>
                    <a:pt x="326773" y="890938"/>
                    <a:pt x="372151" y="862888"/>
                    <a:pt x="435712" y="872710"/>
                  </a:cubicBezTo>
                  <a:cubicBezTo>
                    <a:pt x="440215" y="873396"/>
                    <a:pt x="444076" y="875240"/>
                    <a:pt x="447379" y="877685"/>
                  </a:cubicBezTo>
                  <a:cubicBezTo>
                    <a:pt x="453297" y="877470"/>
                    <a:pt x="460459" y="877727"/>
                    <a:pt x="469509" y="878285"/>
                  </a:cubicBezTo>
                  <a:cubicBezTo>
                    <a:pt x="498416" y="880001"/>
                    <a:pt x="525051" y="862030"/>
                    <a:pt x="543579" y="853452"/>
                  </a:cubicBezTo>
                  <a:cubicBezTo>
                    <a:pt x="562107" y="844874"/>
                    <a:pt x="596161" y="848305"/>
                    <a:pt x="613917" y="843159"/>
                  </a:cubicBezTo>
                  <a:cubicBezTo>
                    <a:pt x="631717" y="838012"/>
                    <a:pt x="634633" y="868850"/>
                    <a:pt x="654662" y="866276"/>
                  </a:cubicBezTo>
                  <a:cubicBezTo>
                    <a:pt x="674649" y="863703"/>
                    <a:pt x="683569" y="873139"/>
                    <a:pt x="693906" y="872280"/>
                  </a:cubicBezTo>
                  <a:cubicBezTo>
                    <a:pt x="704285" y="871423"/>
                    <a:pt x="702784" y="880858"/>
                    <a:pt x="713164" y="883432"/>
                  </a:cubicBezTo>
                  <a:cubicBezTo>
                    <a:pt x="723542" y="886005"/>
                    <a:pt x="722041" y="896299"/>
                    <a:pt x="715394" y="907450"/>
                  </a:cubicBezTo>
                  <a:cubicBezTo>
                    <a:pt x="708703" y="918558"/>
                    <a:pt x="730919" y="917744"/>
                    <a:pt x="745030" y="940003"/>
                  </a:cubicBezTo>
                  <a:cubicBezTo>
                    <a:pt x="759098" y="962305"/>
                    <a:pt x="745759" y="965693"/>
                    <a:pt x="753179" y="982849"/>
                  </a:cubicBezTo>
                  <a:cubicBezTo>
                    <a:pt x="760598" y="999962"/>
                    <a:pt x="765746" y="995673"/>
                    <a:pt x="780585" y="971698"/>
                  </a:cubicBezTo>
                  <a:cubicBezTo>
                    <a:pt x="795382" y="947723"/>
                    <a:pt x="811680" y="963120"/>
                    <a:pt x="813910" y="942576"/>
                  </a:cubicBezTo>
                  <a:cubicBezTo>
                    <a:pt x="816141" y="922032"/>
                    <a:pt x="831709" y="898057"/>
                    <a:pt x="842088" y="908308"/>
                  </a:cubicBezTo>
                  <a:cubicBezTo>
                    <a:pt x="852468" y="918558"/>
                    <a:pt x="834668" y="923705"/>
                    <a:pt x="828021" y="963120"/>
                  </a:cubicBezTo>
                  <a:cubicBezTo>
                    <a:pt x="821373" y="1002492"/>
                    <a:pt x="809493" y="981949"/>
                    <a:pt x="807305" y="993100"/>
                  </a:cubicBezTo>
                  <a:cubicBezTo>
                    <a:pt x="805075" y="1004251"/>
                    <a:pt x="838400" y="1010256"/>
                    <a:pt x="838400" y="989668"/>
                  </a:cubicBezTo>
                  <a:cubicBezTo>
                    <a:pt x="838400" y="969125"/>
                    <a:pt x="844318" y="959689"/>
                    <a:pt x="856929" y="978517"/>
                  </a:cubicBezTo>
                  <a:cubicBezTo>
                    <a:pt x="869495" y="997389"/>
                    <a:pt x="849509" y="1012786"/>
                    <a:pt x="852468" y="1021364"/>
                  </a:cubicBezTo>
                  <a:cubicBezTo>
                    <a:pt x="855427" y="1029942"/>
                    <a:pt x="869495" y="1018790"/>
                    <a:pt x="876915" y="1019648"/>
                  </a:cubicBezTo>
                  <a:cubicBezTo>
                    <a:pt x="890082" y="1021150"/>
                    <a:pt x="908009" y="1054775"/>
                    <a:pt x="905050" y="1072745"/>
                  </a:cubicBezTo>
                  <a:cubicBezTo>
                    <a:pt x="904964" y="1073388"/>
                    <a:pt x="904836" y="1073989"/>
                    <a:pt x="904750" y="1074632"/>
                  </a:cubicBezTo>
                  <a:cubicBezTo>
                    <a:pt x="951328" y="1084625"/>
                    <a:pt x="993702" y="1113747"/>
                    <a:pt x="1020894" y="1155136"/>
                  </a:cubicBezTo>
                  <a:cubicBezTo>
                    <a:pt x="1023896" y="1159682"/>
                    <a:pt x="1025697" y="1164228"/>
                    <a:pt x="1026555" y="1168646"/>
                  </a:cubicBezTo>
                  <a:cubicBezTo>
                    <a:pt x="1038093" y="1174908"/>
                    <a:pt x="1061682" y="1157966"/>
                    <a:pt x="1066528" y="1138752"/>
                  </a:cubicBezTo>
                  <a:cubicBezTo>
                    <a:pt x="1071717" y="1118208"/>
                    <a:pt x="1090975" y="1137894"/>
                    <a:pt x="1080596" y="1144756"/>
                  </a:cubicBezTo>
                  <a:cubicBezTo>
                    <a:pt x="1070217" y="1151619"/>
                    <a:pt x="1085785" y="1167874"/>
                    <a:pt x="1086514" y="1156766"/>
                  </a:cubicBezTo>
                  <a:cubicBezTo>
                    <a:pt x="1087244" y="1145614"/>
                    <a:pt x="1091705" y="1136221"/>
                    <a:pt x="1095392" y="1149088"/>
                  </a:cubicBezTo>
                  <a:cubicBezTo>
                    <a:pt x="1099081" y="1161912"/>
                    <a:pt x="1112462" y="1161912"/>
                    <a:pt x="1117609" y="1172206"/>
                  </a:cubicBezTo>
                  <a:cubicBezTo>
                    <a:pt x="1122799" y="1182499"/>
                    <a:pt x="1128718" y="1190219"/>
                    <a:pt x="1128718" y="1181641"/>
                  </a:cubicBezTo>
                  <a:cubicBezTo>
                    <a:pt x="1128718" y="1173106"/>
                    <a:pt x="1131677" y="1165343"/>
                    <a:pt x="1143514" y="1160196"/>
                  </a:cubicBezTo>
                  <a:cubicBezTo>
                    <a:pt x="1155352" y="1155093"/>
                    <a:pt x="1162771" y="1145614"/>
                    <a:pt x="1175339" y="1133648"/>
                  </a:cubicBezTo>
                  <a:cubicBezTo>
                    <a:pt x="1187948" y="1121682"/>
                    <a:pt x="1239759" y="1119109"/>
                    <a:pt x="1244948" y="1119109"/>
                  </a:cubicBezTo>
                  <a:cubicBezTo>
                    <a:pt x="1250137" y="1119109"/>
                    <a:pt x="1253097" y="1067727"/>
                    <a:pt x="1256056" y="1041179"/>
                  </a:cubicBezTo>
                  <a:cubicBezTo>
                    <a:pt x="1259059" y="1014630"/>
                    <a:pt x="1278273" y="1010341"/>
                    <a:pt x="1281232" y="982077"/>
                  </a:cubicBezTo>
                  <a:cubicBezTo>
                    <a:pt x="1284234" y="953813"/>
                    <a:pt x="1310140" y="901574"/>
                    <a:pt x="1316788" y="899000"/>
                  </a:cubicBezTo>
                  <a:cubicBezTo>
                    <a:pt x="1323478" y="896427"/>
                    <a:pt x="1336045" y="888707"/>
                    <a:pt x="1336774" y="872409"/>
                  </a:cubicBezTo>
                  <a:cubicBezTo>
                    <a:pt x="1336774" y="872366"/>
                    <a:pt x="1336817" y="872280"/>
                    <a:pt x="1336817" y="872195"/>
                  </a:cubicBezTo>
                  <a:cubicBezTo>
                    <a:pt x="1336473" y="832093"/>
                    <a:pt x="1342864" y="792549"/>
                    <a:pt x="1350841" y="752105"/>
                  </a:cubicBezTo>
                  <a:cubicBezTo>
                    <a:pt x="1356160" y="725127"/>
                    <a:pt x="1361864" y="697335"/>
                    <a:pt x="1364052" y="669586"/>
                  </a:cubicBezTo>
                  <a:cubicBezTo>
                    <a:pt x="1362550" y="667055"/>
                    <a:pt x="1361006" y="666155"/>
                    <a:pt x="1359720" y="667227"/>
                  </a:cubicBezTo>
                  <a:close/>
                </a:path>
              </a:pathLst>
            </a:custGeom>
            <a:grpFill/>
            <a:ln w="1905" cap="flat">
              <a:solidFill>
                <a:schemeClr val="bg2">
                  <a:lumMod val="75000"/>
                </a:schemeClr>
              </a:solidFill>
              <a:prstDash val="solid"/>
              <a:miter/>
            </a:ln>
          </p:spPr>
          <p:txBody>
            <a:bodyPr rtlCol="0" anchor="ctr"/>
            <a:lstStyle/>
            <a:p>
              <a:endParaRPr lang="en-US" dirty="0">
                <a:sym typeface="+mn-lt"/>
              </a:endParaRPr>
            </a:p>
          </p:txBody>
        </p:sp>
        <p:sp>
          <p:nvSpPr>
            <p:cNvPr id="8" name="Freeform: Shape 290">
              <a:extLst>
                <a:ext uri="{FF2B5EF4-FFF2-40B4-BE49-F238E27FC236}">
                  <a16:creationId xmlns:a16="http://schemas.microsoft.com/office/drawing/2014/main" id="{4D3A5E23-D567-3157-EB58-085CA01E962B}"/>
                </a:ext>
              </a:extLst>
            </p:cNvPr>
            <p:cNvSpPr/>
            <p:nvPr/>
          </p:nvSpPr>
          <p:spPr>
            <a:xfrm>
              <a:off x="10676525" y="5734417"/>
              <a:ext cx="88569" cy="101691"/>
            </a:xfrm>
            <a:custGeom>
              <a:avLst/>
              <a:gdLst>
                <a:gd name="connsiteX0" fmla="*/ 104221 w 115801"/>
                <a:gd name="connsiteY0" fmla="*/ 10885 h 132956"/>
                <a:gd name="connsiteX1" fmla="*/ 47908 w 115801"/>
                <a:gd name="connsiteY1" fmla="*/ 24567 h 132956"/>
                <a:gd name="connsiteX2" fmla="*/ 6433 w 115801"/>
                <a:gd name="connsiteY2" fmla="*/ 11228 h 132956"/>
                <a:gd name="connsiteX3" fmla="*/ 64892 w 115801"/>
                <a:gd name="connsiteY3" fmla="*/ 129217 h 132956"/>
                <a:gd name="connsiteX4" fmla="*/ 69439 w 115801"/>
                <a:gd name="connsiteY4" fmla="*/ 127330 h 132956"/>
                <a:gd name="connsiteX5" fmla="*/ 76858 w 115801"/>
                <a:gd name="connsiteY5" fmla="*/ 107643 h 132956"/>
                <a:gd name="connsiteX6" fmla="*/ 96116 w 115801"/>
                <a:gd name="connsiteY6" fmla="*/ 111932 h 132956"/>
                <a:gd name="connsiteX7" fmla="*/ 105766 w 115801"/>
                <a:gd name="connsiteY7" fmla="*/ 69944 h 132956"/>
                <a:gd name="connsiteX8" fmla="*/ 104221 w 115801"/>
                <a:gd name="connsiteY8" fmla="*/ 10885 h 13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801" h="132956">
                  <a:moveTo>
                    <a:pt x="104221" y="10885"/>
                  </a:moveTo>
                  <a:cubicBezTo>
                    <a:pt x="100533" y="-3697"/>
                    <a:pt x="67937" y="21993"/>
                    <a:pt x="47908" y="24567"/>
                  </a:cubicBezTo>
                  <a:cubicBezTo>
                    <a:pt x="35298" y="26197"/>
                    <a:pt x="18743" y="17405"/>
                    <a:pt x="6433" y="11228"/>
                  </a:cubicBezTo>
                  <a:cubicBezTo>
                    <a:pt x="31524" y="46440"/>
                    <a:pt x="51039" y="87143"/>
                    <a:pt x="64892" y="129217"/>
                  </a:cubicBezTo>
                  <a:cubicBezTo>
                    <a:pt x="65921" y="127930"/>
                    <a:pt x="67294" y="127158"/>
                    <a:pt x="69439" y="127330"/>
                  </a:cubicBezTo>
                  <a:cubicBezTo>
                    <a:pt x="79089" y="128187"/>
                    <a:pt x="75357" y="116221"/>
                    <a:pt x="76858" y="107643"/>
                  </a:cubicBezTo>
                  <a:cubicBezTo>
                    <a:pt x="78359" y="99108"/>
                    <a:pt x="87966" y="117079"/>
                    <a:pt x="96116" y="111932"/>
                  </a:cubicBezTo>
                  <a:cubicBezTo>
                    <a:pt x="104264" y="106786"/>
                    <a:pt x="93885" y="69944"/>
                    <a:pt x="105766" y="69944"/>
                  </a:cubicBezTo>
                  <a:cubicBezTo>
                    <a:pt x="117560" y="69987"/>
                    <a:pt x="107953" y="25468"/>
                    <a:pt x="104221" y="10885"/>
                  </a:cubicBezTo>
                  <a:close/>
                </a:path>
              </a:pathLst>
            </a:custGeom>
            <a:grpFill/>
            <a:ln w="1905" cap="flat">
              <a:solidFill>
                <a:schemeClr val="bg2">
                  <a:lumMod val="75000"/>
                </a:schemeClr>
              </a:solidFill>
              <a:prstDash val="solid"/>
              <a:miter/>
            </a:ln>
          </p:spPr>
          <p:txBody>
            <a:bodyPr rtlCol="0" anchor="ctr"/>
            <a:lstStyle/>
            <a:p>
              <a:endParaRPr lang="en-US" dirty="0">
                <a:sym typeface="+mn-lt"/>
              </a:endParaRPr>
            </a:p>
          </p:txBody>
        </p:sp>
        <p:sp>
          <p:nvSpPr>
            <p:cNvPr id="9" name="Freeform: Shape 291">
              <a:extLst>
                <a:ext uri="{FF2B5EF4-FFF2-40B4-BE49-F238E27FC236}">
                  <a16:creationId xmlns:a16="http://schemas.microsoft.com/office/drawing/2014/main" id="{5BE57BB3-7AC7-B181-E7BF-05FA43BB0D12}"/>
                </a:ext>
              </a:extLst>
            </p:cNvPr>
            <p:cNvSpPr/>
            <p:nvPr/>
          </p:nvSpPr>
          <p:spPr>
            <a:xfrm>
              <a:off x="11394945" y="5529488"/>
              <a:ext cx="147615" cy="242745"/>
            </a:xfrm>
            <a:custGeom>
              <a:avLst/>
              <a:gdLst>
                <a:gd name="connsiteX0" fmla="*/ 81757 w 193001"/>
                <a:gd name="connsiteY0" fmla="*/ 299196 h 317380"/>
                <a:gd name="connsiteX1" fmla="*/ 168823 w 193001"/>
                <a:gd name="connsiteY1" fmla="*/ 147582 h 317380"/>
                <a:gd name="connsiteX2" fmla="*/ 189924 w 193001"/>
                <a:gd name="connsiteY2" fmla="*/ 135358 h 317380"/>
                <a:gd name="connsiteX3" fmla="*/ 160331 w 193001"/>
                <a:gd name="connsiteY3" fmla="*/ 146896 h 317380"/>
                <a:gd name="connsiteX4" fmla="*/ 127734 w 193001"/>
                <a:gd name="connsiteY4" fmla="*/ 143465 h 317380"/>
                <a:gd name="connsiteX5" fmla="*/ 107705 w 193001"/>
                <a:gd name="connsiteY5" fmla="*/ 120347 h 317380"/>
                <a:gd name="connsiteX6" fmla="*/ 92909 w 193001"/>
                <a:gd name="connsiteY6" fmla="*/ 89510 h 317380"/>
                <a:gd name="connsiteX7" fmla="*/ 92179 w 193001"/>
                <a:gd name="connsiteY7" fmla="*/ 110912 h 317380"/>
                <a:gd name="connsiteX8" fmla="*/ 78841 w 193001"/>
                <a:gd name="connsiteY8" fmla="*/ 103191 h 317380"/>
                <a:gd name="connsiteX9" fmla="*/ 66231 w 193001"/>
                <a:gd name="connsiteY9" fmla="*/ 76643 h 317380"/>
                <a:gd name="connsiteX10" fmla="*/ 53622 w 193001"/>
                <a:gd name="connsiteY10" fmla="*/ 41517 h 317380"/>
                <a:gd name="connsiteX11" fmla="*/ 12148 w 193001"/>
                <a:gd name="connsiteY11" fmla="*/ 6433 h 317380"/>
                <a:gd name="connsiteX12" fmla="*/ 22527 w 193001"/>
                <a:gd name="connsiteY12" fmla="*/ 47521 h 317380"/>
                <a:gd name="connsiteX13" fmla="*/ 45473 w 193001"/>
                <a:gd name="connsiteY13" fmla="*/ 74927 h 317380"/>
                <a:gd name="connsiteX14" fmla="*/ 65459 w 193001"/>
                <a:gd name="connsiteY14" fmla="*/ 105765 h 317380"/>
                <a:gd name="connsiteX15" fmla="*/ 60227 w 193001"/>
                <a:gd name="connsiteY15" fmla="*/ 163151 h 317380"/>
                <a:gd name="connsiteX16" fmla="*/ 32864 w 193001"/>
                <a:gd name="connsiteY16" fmla="*/ 198277 h 317380"/>
                <a:gd name="connsiteX17" fmla="*/ 77297 w 193001"/>
                <a:gd name="connsiteY17" fmla="*/ 244512 h 317380"/>
                <a:gd name="connsiteX18" fmla="*/ 67689 w 193001"/>
                <a:gd name="connsiteY18" fmla="*/ 306187 h 317380"/>
                <a:gd name="connsiteX19" fmla="*/ 81457 w 193001"/>
                <a:gd name="connsiteY19" fmla="*/ 313049 h 317380"/>
                <a:gd name="connsiteX20" fmla="*/ 81757 w 193001"/>
                <a:gd name="connsiteY20" fmla="*/ 299196 h 317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001" h="317380">
                  <a:moveTo>
                    <a:pt x="81757" y="299196"/>
                  </a:moveTo>
                  <a:cubicBezTo>
                    <a:pt x="90421" y="240866"/>
                    <a:pt x="132924" y="190900"/>
                    <a:pt x="168823" y="147582"/>
                  </a:cubicBezTo>
                  <a:cubicBezTo>
                    <a:pt x="175256" y="139819"/>
                    <a:pt x="182633" y="136088"/>
                    <a:pt x="189924" y="135358"/>
                  </a:cubicBezTo>
                  <a:cubicBezTo>
                    <a:pt x="182289" y="131799"/>
                    <a:pt x="165048" y="137846"/>
                    <a:pt x="160331" y="146896"/>
                  </a:cubicBezTo>
                  <a:cubicBezTo>
                    <a:pt x="153683" y="159720"/>
                    <a:pt x="140344" y="143465"/>
                    <a:pt x="127734" y="143465"/>
                  </a:cubicBezTo>
                  <a:cubicBezTo>
                    <a:pt x="115125" y="143465"/>
                    <a:pt x="107705" y="133214"/>
                    <a:pt x="107705" y="120347"/>
                  </a:cubicBezTo>
                  <a:cubicBezTo>
                    <a:pt x="107705" y="107523"/>
                    <a:pt x="104746" y="88652"/>
                    <a:pt x="92909" y="89510"/>
                  </a:cubicBezTo>
                  <a:cubicBezTo>
                    <a:pt x="81071" y="90368"/>
                    <a:pt x="96597" y="104050"/>
                    <a:pt x="92179" y="110912"/>
                  </a:cubicBezTo>
                  <a:cubicBezTo>
                    <a:pt x="87718" y="117774"/>
                    <a:pt x="84759" y="103191"/>
                    <a:pt x="78841" y="103191"/>
                  </a:cubicBezTo>
                  <a:cubicBezTo>
                    <a:pt x="72922" y="103191"/>
                    <a:pt x="66231" y="93756"/>
                    <a:pt x="66231" y="76643"/>
                  </a:cubicBezTo>
                  <a:cubicBezTo>
                    <a:pt x="66231" y="59530"/>
                    <a:pt x="53622" y="61246"/>
                    <a:pt x="53622" y="41517"/>
                  </a:cubicBezTo>
                  <a:cubicBezTo>
                    <a:pt x="53622" y="21831"/>
                    <a:pt x="26945" y="6433"/>
                    <a:pt x="12148" y="6433"/>
                  </a:cubicBezTo>
                  <a:cubicBezTo>
                    <a:pt x="-2649" y="6433"/>
                    <a:pt x="15107" y="37228"/>
                    <a:pt x="22527" y="47521"/>
                  </a:cubicBezTo>
                  <a:cubicBezTo>
                    <a:pt x="29947" y="57815"/>
                    <a:pt x="46245" y="67208"/>
                    <a:pt x="45473" y="74927"/>
                  </a:cubicBezTo>
                  <a:cubicBezTo>
                    <a:pt x="44701" y="82648"/>
                    <a:pt x="56581" y="102334"/>
                    <a:pt x="65459" y="105765"/>
                  </a:cubicBezTo>
                  <a:cubicBezTo>
                    <a:pt x="74337" y="109196"/>
                    <a:pt x="60227" y="139176"/>
                    <a:pt x="60227" y="163151"/>
                  </a:cubicBezTo>
                  <a:cubicBezTo>
                    <a:pt x="60227" y="187169"/>
                    <a:pt x="43928" y="182880"/>
                    <a:pt x="32864" y="198277"/>
                  </a:cubicBezTo>
                  <a:cubicBezTo>
                    <a:pt x="21755" y="213674"/>
                    <a:pt x="60998" y="229115"/>
                    <a:pt x="77297" y="244512"/>
                  </a:cubicBezTo>
                  <a:cubicBezTo>
                    <a:pt x="93595" y="259952"/>
                    <a:pt x="63315" y="297823"/>
                    <a:pt x="67689" y="306187"/>
                  </a:cubicBezTo>
                  <a:cubicBezTo>
                    <a:pt x="69062" y="308846"/>
                    <a:pt x="73908" y="312191"/>
                    <a:pt x="81457" y="313049"/>
                  </a:cubicBezTo>
                  <a:cubicBezTo>
                    <a:pt x="80985" y="308588"/>
                    <a:pt x="81028" y="303914"/>
                    <a:pt x="81757" y="299196"/>
                  </a:cubicBezTo>
                  <a:close/>
                </a:path>
              </a:pathLst>
            </a:custGeom>
            <a:grpFill/>
            <a:ln w="1905" cap="flat">
              <a:solidFill>
                <a:schemeClr val="bg2">
                  <a:lumMod val="75000"/>
                </a:schemeClr>
              </a:solidFill>
              <a:prstDash val="solid"/>
              <a:miter/>
            </a:ln>
          </p:spPr>
          <p:txBody>
            <a:bodyPr rtlCol="0" anchor="ctr"/>
            <a:lstStyle/>
            <a:p>
              <a:endParaRPr lang="en-US" dirty="0">
                <a:sym typeface="+mn-lt"/>
              </a:endParaRPr>
            </a:p>
          </p:txBody>
        </p:sp>
        <p:sp>
          <p:nvSpPr>
            <p:cNvPr id="10" name="Freeform: Shape 292">
              <a:extLst>
                <a:ext uri="{FF2B5EF4-FFF2-40B4-BE49-F238E27FC236}">
                  <a16:creationId xmlns:a16="http://schemas.microsoft.com/office/drawing/2014/main" id="{FFF49A7A-04E5-7F5F-5118-E127BA1C0EE4}"/>
                </a:ext>
              </a:extLst>
            </p:cNvPr>
            <p:cNvSpPr/>
            <p:nvPr/>
          </p:nvSpPr>
          <p:spPr>
            <a:xfrm>
              <a:off x="11228970" y="5735627"/>
              <a:ext cx="203381" cy="213222"/>
            </a:xfrm>
            <a:custGeom>
              <a:avLst/>
              <a:gdLst>
                <a:gd name="connsiteX0" fmla="*/ 261063 w 265913"/>
                <a:gd name="connsiteY0" fmla="*/ 47004 h 278780"/>
                <a:gd name="connsiteX1" fmla="*/ 256602 w 265913"/>
                <a:gd name="connsiteY1" fmla="*/ 15309 h 278780"/>
                <a:gd name="connsiteX2" fmla="*/ 229925 w 265913"/>
                <a:gd name="connsiteY2" fmla="*/ 24745 h 278780"/>
                <a:gd name="connsiteX3" fmla="*/ 197330 w 265913"/>
                <a:gd name="connsiteY3" fmla="*/ 9347 h 278780"/>
                <a:gd name="connsiteX4" fmla="*/ 180302 w 265913"/>
                <a:gd name="connsiteY4" fmla="*/ 42758 h 278780"/>
                <a:gd name="connsiteX5" fmla="*/ 152896 w 265913"/>
                <a:gd name="connsiteY5" fmla="*/ 96713 h 278780"/>
                <a:gd name="connsiteX6" fmla="*/ 61071 w 265913"/>
                <a:gd name="connsiteY6" fmla="*/ 166966 h 278780"/>
                <a:gd name="connsiteX7" fmla="*/ 18824 w 265913"/>
                <a:gd name="connsiteY7" fmla="*/ 213200 h 278780"/>
                <a:gd name="connsiteX8" fmla="*/ 9946 w 265913"/>
                <a:gd name="connsiteY8" fmla="*/ 255189 h 278780"/>
                <a:gd name="connsiteX9" fmla="*/ 40312 w 265913"/>
                <a:gd name="connsiteY9" fmla="*/ 270586 h 278780"/>
                <a:gd name="connsiteX10" fmla="*/ 49190 w 265913"/>
                <a:gd name="connsiteY10" fmla="*/ 276205 h 278780"/>
                <a:gd name="connsiteX11" fmla="*/ 90621 w 265913"/>
                <a:gd name="connsiteY11" fmla="*/ 250771 h 278780"/>
                <a:gd name="connsiteX12" fmla="*/ 125018 w 265913"/>
                <a:gd name="connsiteY12" fmla="*/ 222293 h 278780"/>
                <a:gd name="connsiteX13" fmla="*/ 140887 w 265913"/>
                <a:gd name="connsiteY13" fmla="*/ 214616 h 278780"/>
                <a:gd name="connsiteX14" fmla="*/ 158129 w 265913"/>
                <a:gd name="connsiteY14" fmla="*/ 187038 h 278780"/>
                <a:gd name="connsiteX15" fmla="*/ 201233 w 265913"/>
                <a:gd name="connsiteY15" fmla="*/ 118201 h 278780"/>
                <a:gd name="connsiteX16" fmla="*/ 232370 w 265913"/>
                <a:gd name="connsiteY16" fmla="*/ 107478 h 278780"/>
                <a:gd name="connsiteX17" fmla="*/ 235072 w 265913"/>
                <a:gd name="connsiteY17" fmla="*/ 97528 h 278780"/>
                <a:gd name="connsiteX18" fmla="*/ 261063 w 265913"/>
                <a:gd name="connsiteY18" fmla="*/ 47004 h 278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5913" h="278780">
                  <a:moveTo>
                    <a:pt x="261063" y="47004"/>
                  </a:moveTo>
                  <a:cubicBezTo>
                    <a:pt x="254415" y="32465"/>
                    <a:pt x="266982" y="23887"/>
                    <a:pt x="256602" y="15309"/>
                  </a:cubicBezTo>
                  <a:cubicBezTo>
                    <a:pt x="246224" y="6774"/>
                    <a:pt x="241077" y="18740"/>
                    <a:pt x="229925" y="24745"/>
                  </a:cubicBezTo>
                  <a:cubicBezTo>
                    <a:pt x="218818" y="30749"/>
                    <a:pt x="211440" y="-3519"/>
                    <a:pt x="197330" y="9347"/>
                  </a:cubicBezTo>
                  <a:cubicBezTo>
                    <a:pt x="183262" y="22171"/>
                    <a:pt x="195872" y="27318"/>
                    <a:pt x="180302" y="42758"/>
                  </a:cubicBezTo>
                  <a:cubicBezTo>
                    <a:pt x="164734" y="58156"/>
                    <a:pt x="171425" y="63302"/>
                    <a:pt x="152896" y="96713"/>
                  </a:cubicBezTo>
                  <a:cubicBezTo>
                    <a:pt x="134411" y="130123"/>
                    <a:pt x="70678" y="148952"/>
                    <a:pt x="61071" y="166966"/>
                  </a:cubicBezTo>
                  <a:cubicBezTo>
                    <a:pt x="51421" y="184979"/>
                    <a:pt x="19596" y="199519"/>
                    <a:pt x="18824" y="213200"/>
                  </a:cubicBezTo>
                  <a:cubicBezTo>
                    <a:pt x="18096" y="226925"/>
                    <a:pt x="-1333" y="236704"/>
                    <a:pt x="9946" y="255189"/>
                  </a:cubicBezTo>
                  <a:cubicBezTo>
                    <a:pt x="18824" y="269771"/>
                    <a:pt x="30662" y="259435"/>
                    <a:pt x="40312" y="270586"/>
                  </a:cubicBezTo>
                  <a:cubicBezTo>
                    <a:pt x="43314" y="274060"/>
                    <a:pt x="46316" y="275561"/>
                    <a:pt x="49190" y="276205"/>
                  </a:cubicBezTo>
                  <a:cubicBezTo>
                    <a:pt x="61714" y="265611"/>
                    <a:pt x="75352" y="256990"/>
                    <a:pt x="90621" y="250771"/>
                  </a:cubicBezTo>
                  <a:cubicBezTo>
                    <a:pt x="93324" y="234945"/>
                    <a:pt x="104732" y="221349"/>
                    <a:pt x="125018" y="222293"/>
                  </a:cubicBezTo>
                  <a:cubicBezTo>
                    <a:pt x="132739" y="222636"/>
                    <a:pt x="133897" y="222808"/>
                    <a:pt x="140887" y="214616"/>
                  </a:cubicBezTo>
                  <a:cubicBezTo>
                    <a:pt x="147879" y="206424"/>
                    <a:pt x="152982" y="196559"/>
                    <a:pt x="158129" y="187038"/>
                  </a:cubicBezTo>
                  <a:cubicBezTo>
                    <a:pt x="171124" y="163020"/>
                    <a:pt x="182704" y="138444"/>
                    <a:pt x="201233" y="118201"/>
                  </a:cubicBezTo>
                  <a:cubicBezTo>
                    <a:pt x="210840" y="107735"/>
                    <a:pt x="222119" y="105119"/>
                    <a:pt x="232370" y="107478"/>
                  </a:cubicBezTo>
                  <a:cubicBezTo>
                    <a:pt x="234000" y="104690"/>
                    <a:pt x="235072" y="101474"/>
                    <a:pt x="235072" y="97528"/>
                  </a:cubicBezTo>
                  <a:cubicBezTo>
                    <a:pt x="235115" y="78699"/>
                    <a:pt x="267754" y="61543"/>
                    <a:pt x="261063" y="47004"/>
                  </a:cubicBezTo>
                  <a:close/>
                </a:path>
              </a:pathLst>
            </a:custGeom>
            <a:grpFill/>
            <a:ln w="1905" cap="flat">
              <a:solidFill>
                <a:schemeClr val="bg2">
                  <a:lumMod val="75000"/>
                </a:schemeClr>
              </a:solidFill>
              <a:prstDash val="solid"/>
              <a:miter/>
            </a:ln>
          </p:spPr>
          <p:txBody>
            <a:bodyPr rtlCol="0" anchor="ctr"/>
            <a:lstStyle/>
            <a:p>
              <a:endParaRPr lang="en-US" dirty="0">
                <a:sym typeface="+mn-lt"/>
              </a:endParaRPr>
            </a:p>
          </p:txBody>
        </p:sp>
        <p:sp>
          <p:nvSpPr>
            <p:cNvPr id="11" name="Freeform: Shape 293">
              <a:extLst>
                <a:ext uri="{FF2B5EF4-FFF2-40B4-BE49-F238E27FC236}">
                  <a16:creationId xmlns:a16="http://schemas.microsoft.com/office/drawing/2014/main" id="{641BB72C-CB7F-E1F9-1412-D500814724B2}"/>
                </a:ext>
              </a:extLst>
            </p:cNvPr>
            <p:cNvSpPr/>
            <p:nvPr/>
          </p:nvSpPr>
          <p:spPr>
            <a:xfrm>
              <a:off x="11509729" y="4940204"/>
              <a:ext cx="72167" cy="68887"/>
            </a:xfrm>
            <a:custGeom>
              <a:avLst/>
              <a:gdLst>
                <a:gd name="connsiteX0" fmla="*/ 8066 w 94356"/>
                <a:gd name="connsiteY0" fmla="*/ 77120 h 90067"/>
                <a:gd name="connsiteX1" fmla="*/ 46538 w 94356"/>
                <a:gd name="connsiteY1" fmla="*/ 65111 h 90067"/>
                <a:gd name="connsiteX2" fmla="*/ 8066 w 94356"/>
                <a:gd name="connsiteY2" fmla="*/ 77120 h 90067"/>
                <a:gd name="connsiteX3" fmla="*/ 53957 w 94356"/>
                <a:gd name="connsiteY3" fmla="*/ 31700 h 90067"/>
                <a:gd name="connsiteX4" fmla="*/ 88783 w 94356"/>
                <a:gd name="connsiteY4" fmla="*/ 10299 h 90067"/>
                <a:gd name="connsiteX5" fmla="*/ 53957 w 94356"/>
                <a:gd name="connsiteY5" fmla="*/ 31700 h 90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356" h="90067">
                  <a:moveTo>
                    <a:pt x="8066" y="77120"/>
                  </a:moveTo>
                  <a:cubicBezTo>
                    <a:pt x="20632" y="90845"/>
                    <a:pt x="45852" y="89987"/>
                    <a:pt x="46538" y="65111"/>
                  </a:cubicBezTo>
                  <a:cubicBezTo>
                    <a:pt x="47309" y="40278"/>
                    <a:pt x="-3171" y="64897"/>
                    <a:pt x="8066" y="77120"/>
                  </a:cubicBezTo>
                  <a:close/>
                  <a:moveTo>
                    <a:pt x="53957" y="31700"/>
                  </a:moveTo>
                  <a:cubicBezTo>
                    <a:pt x="62106" y="35131"/>
                    <a:pt x="88783" y="24838"/>
                    <a:pt x="88783" y="10299"/>
                  </a:cubicBezTo>
                  <a:cubicBezTo>
                    <a:pt x="88783" y="-4241"/>
                    <a:pt x="41648" y="26553"/>
                    <a:pt x="53957" y="31700"/>
                  </a:cubicBezTo>
                  <a:close/>
                </a:path>
              </a:pathLst>
            </a:custGeom>
            <a:grpFill/>
            <a:ln w="1905" cap="flat">
              <a:solidFill>
                <a:schemeClr val="bg2">
                  <a:lumMod val="75000"/>
                </a:schemeClr>
              </a:solidFill>
              <a:prstDash val="solid"/>
              <a:miter/>
            </a:ln>
          </p:spPr>
          <p:txBody>
            <a:bodyPr rtlCol="0" anchor="ctr"/>
            <a:lstStyle/>
            <a:p>
              <a:endParaRPr lang="en-US" dirty="0">
                <a:sym typeface="+mn-lt"/>
              </a:endParaRPr>
            </a:p>
          </p:txBody>
        </p:sp>
        <p:sp>
          <p:nvSpPr>
            <p:cNvPr id="12" name="Freeform: Shape 352">
              <a:extLst>
                <a:ext uri="{FF2B5EF4-FFF2-40B4-BE49-F238E27FC236}">
                  <a16:creationId xmlns:a16="http://schemas.microsoft.com/office/drawing/2014/main" id="{460B5149-62B8-7F2B-BD8F-1B50B7B0CE56}"/>
                </a:ext>
              </a:extLst>
            </p:cNvPr>
            <p:cNvSpPr/>
            <p:nvPr/>
          </p:nvSpPr>
          <p:spPr>
            <a:xfrm>
              <a:off x="11168587" y="5064024"/>
              <a:ext cx="82008" cy="68887"/>
            </a:xfrm>
            <a:custGeom>
              <a:avLst/>
              <a:gdLst>
                <a:gd name="connsiteX0" fmla="*/ 6462 w 107223"/>
                <a:gd name="connsiteY0" fmla="*/ 8085 h 90067"/>
                <a:gd name="connsiteX1" fmla="*/ 103263 w 107223"/>
                <a:gd name="connsiteY1" fmla="*/ 85715 h 90067"/>
                <a:gd name="connsiteX2" fmla="*/ 6462 w 107223"/>
                <a:gd name="connsiteY2" fmla="*/ 8085 h 90067"/>
              </a:gdLst>
              <a:ahLst/>
              <a:cxnLst>
                <a:cxn ang="0">
                  <a:pos x="connsiteX0" y="connsiteY0"/>
                </a:cxn>
                <a:cxn ang="0">
                  <a:pos x="connsiteX1" y="connsiteY1"/>
                </a:cxn>
                <a:cxn ang="0">
                  <a:pos x="connsiteX2" y="connsiteY2"/>
                </a:cxn>
              </a:cxnLst>
              <a:rect l="l" t="t" r="r" b="b"/>
              <a:pathLst>
                <a:path w="107223" h="90067">
                  <a:moveTo>
                    <a:pt x="6462" y="8085"/>
                  </a:moveTo>
                  <a:cubicBezTo>
                    <a:pt x="4403" y="-6197"/>
                    <a:pt x="115101" y="76579"/>
                    <a:pt x="103263" y="85715"/>
                  </a:cubicBezTo>
                  <a:cubicBezTo>
                    <a:pt x="91383" y="94893"/>
                    <a:pt x="8477" y="21810"/>
                    <a:pt x="6462" y="8085"/>
                  </a:cubicBezTo>
                  <a:close/>
                </a:path>
              </a:pathLst>
            </a:custGeom>
            <a:grpFill/>
            <a:ln w="1905" cap="flat">
              <a:solidFill>
                <a:schemeClr val="bg2">
                  <a:lumMod val="75000"/>
                </a:schemeClr>
              </a:solidFill>
              <a:prstDash val="solid"/>
              <a:miter/>
            </a:ln>
          </p:spPr>
          <p:txBody>
            <a:bodyPr rtlCol="0" anchor="ctr"/>
            <a:lstStyle/>
            <a:p>
              <a:endParaRPr lang="en-US" dirty="0">
                <a:sym typeface="+mn-lt"/>
              </a:endParaRPr>
            </a:p>
          </p:txBody>
        </p:sp>
        <p:sp>
          <p:nvSpPr>
            <p:cNvPr id="13" name="Freeform: Shape 367">
              <a:extLst>
                <a:ext uri="{FF2B5EF4-FFF2-40B4-BE49-F238E27FC236}">
                  <a16:creationId xmlns:a16="http://schemas.microsoft.com/office/drawing/2014/main" id="{B91922E5-7D6C-5E2A-67FD-720871AC389D}"/>
                </a:ext>
              </a:extLst>
            </p:cNvPr>
            <p:cNvSpPr/>
            <p:nvPr/>
          </p:nvSpPr>
          <p:spPr>
            <a:xfrm>
              <a:off x="10312645" y="4455912"/>
              <a:ext cx="268987" cy="265707"/>
            </a:xfrm>
            <a:custGeom>
              <a:avLst/>
              <a:gdLst>
                <a:gd name="connsiteX0" fmla="*/ 293609 w 351692"/>
                <a:gd name="connsiteY0" fmla="*/ 87006 h 347403"/>
                <a:gd name="connsiteX1" fmla="*/ 260413 w 351692"/>
                <a:gd name="connsiteY1" fmla="*/ 62044 h 347403"/>
                <a:gd name="connsiteX2" fmla="*/ 230906 w 351692"/>
                <a:gd name="connsiteY2" fmla="*/ 52480 h 347403"/>
                <a:gd name="connsiteX3" fmla="*/ 201269 w 351692"/>
                <a:gd name="connsiteY3" fmla="*/ 83318 h 347403"/>
                <a:gd name="connsiteX4" fmla="*/ 146971 w 351692"/>
                <a:gd name="connsiteY4" fmla="*/ 123290 h 347403"/>
                <a:gd name="connsiteX5" fmla="*/ 111416 w 351692"/>
                <a:gd name="connsiteY5" fmla="*/ 27347 h 347403"/>
                <a:gd name="connsiteX6" fmla="*/ 35416 w 351692"/>
                <a:gd name="connsiteY6" fmla="*/ 15895 h 347403"/>
                <a:gd name="connsiteX7" fmla="*/ 6766 w 351692"/>
                <a:gd name="connsiteY7" fmla="*/ 41029 h 347403"/>
                <a:gd name="connsiteX8" fmla="*/ 24565 w 351692"/>
                <a:gd name="connsiteY8" fmla="*/ 51279 h 347403"/>
                <a:gd name="connsiteX9" fmla="*/ 43308 w 351692"/>
                <a:gd name="connsiteY9" fmla="*/ 77527 h 347403"/>
                <a:gd name="connsiteX10" fmla="*/ 96662 w 351692"/>
                <a:gd name="connsiteY10" fmla="*/ 80959 h 347403"/>
                <a:gd name="connsiteX11" fmla="*/ 93703 w 351692"/>
                <a:gd name="connsiteY11" fmla="*/ 92367 h 347403"/>
                <a:gd name="connsiteX12" fmla="*/ 65052 w 351692"/>
                <a:gd name="connsiteY12" fmla="*/ 98028 h 347403"/>
                <a:gd name="connsiteX13" fmla="*/ 45281 w 351692"/>
                <a:gd name="connsiteY13" fmla="*/ 103733 h 347403"/>
                <a:gd name="connsiteX14" fmla="*/ 65996 w 351692"/>
                <a:gd name="connsiteY14" fmla="*/ 138002 h 347403"/>
                <a:gd name="connsiteX15" fmla="*/ 88727 w 351692"/>
                <a:gd name="connsiteY15" fmla="*/ 138002 h 347403"/>
                <a:gd name="connsiteX16" fmla="*/ 123296 w 351692"/>
                <a:gd name="connsiteY16" fmla="*/ 149410 h 347403"/>
                <a:gd name="connsiteX17" fmla="*/ 152932 w 351692"/>
                <a:gd name="connsiteY17" fmla="*/ 167724 h 347403"/>
                <a:gd name="connsiteX18" fmla="*/ 246732 w 351692"/>
                <a:gd name="connsiteY18" fmla="*/ 205423 h 347403"/>
                <a:gd name="connsiteX19" fmla="*/ 265517 w 351692"/>
                <a:gd name="connsiteY19" fmla="*/ 249986 h 347403"/>
                <a:gd name="connsiteX20" fmla="*/ 264530 w 351692"/>
                <a:gd name="connsiteY20" fmla="*/ 284254 h 347403"/>
                <a:gd name="connsiteX21" fmla="*/ 232964 w 351692"/>
                <a:gd name="connsiteY21" fmla="*/ 315091 h 347403"/>
                <a:gd name="connsiteX22" fmla="*/ 309993 w 351692"/>
                <a:gd name="connsiteY22" fmla="*/ 310502 h 347403"/>
                <a:gd name="connsiteX23" fmla="*/ 345549 w 351692"/>
                <a:gd name="connsiteY23" fmla="*/ 342583 h 347403"/>
                <a:gd name="connsiteX24" fmla="*/ 345549 w 351692"/>
                <a:gd name="connsiteY24" fmla="*/ 98844 h 347403"/>
                <a:gd name="connsiteX25" fmla="*/ 322731 w 351692"/>
                <a:gd name="connsiteY25" fmla="*/ 89408 h 347403"/>
                <a:gd name="connsiteX26" fmla="*/ 293609 w 351692"/>
                <a:gd name="connsiteY26" fmla="*/ 87006 h 34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1692" h="347403">
                  <a:moveTo>
                    <a:pt x="293609" y="87006"/>
                  </a:moveTo>
                  <a:cubicBezTo>
                    <a:pt x="275682" y="86620"/>
                    <a:pt x="264659" y="75512"/>
                    <a:pt x="260413" y="62044"/>
                  </a:cubicBezTo>
                  <a:cubicBezTo>
                    <a:pt x="246302" y="56083"/>
                    <a:pt x="235365" y="52137"/>
                    <a:pt x="230906" y="52480"/>
                  </a:cubicBezTo>
                  <a:cubicBezTo>
                    <a:pt x="216108" y="53638"/>
                    <a:pt x="214135" y="83318"/>
                    <a:pt x="201269" y="83318"/>
                  </a:cubicBezTo>
                  <a:cubicBezTo>
                    <a:pt x="188445" y="83318"/>
                    <a:pt x="170646" y="114155"/>
                    <a:pt x="146971" y="123290"/>
                  </a:cubicBezTo>
                  <a:cubicBezTo>
                    <a:pt x="123253" y="132426"/>
                    <a:pt x="122267" y="44503"/>
                    <a:pt x="111416" y="27347"/>
                  </a:cubicBezTo>
                  <a:cubicBezTo>
                    <a:pt x="100565" y="10234"/>
                    <a:pt x="41334" y="-3490"/>
                    <a:pt x="35416" y="15895"/>
                  </a:cubicBezTo>
                  <a:cubicBezTo>
                    <a:pt x="29497" y="35324"/>
                    <a:pt x="8911" y="25031"/>
                    <a:pt x="6766" y="41029"/>
                  </a:cubicBezTo>
                  <a:cubicBezTo>
                    <a:pt x="4794" y="55868"/>
                    <a:pt x="11698" y="51279"/>
                    <a:pt x="24565" y="51279"/>
                  </a:cubicBezTo>
                  <a:cubicBezTo>
                    <a:pt x="37432" y="51279"/>
                    <a:pt x="37389" y="62688"/>
                    <a:pt x="43308" y="77527"/>
                  </a:cubicBezTo>
                  <a:cubicBezTo>
                    <a:pt x="49226" y="92410"/>
                    <a:pt x="84825" y="82117"/>
                    <a:pt x="96662" y="80959"/>
                  </a:cubicBezTo>
                  <a:cubicBezTo>
                    <a:pt x="108543" y="79801"/>
                    <a:pt x="110472" y="99230"/>
                    <a:pt x="93703" y="92367"/>
                  </a:cubicBezTo>
                  <a:cubicBezTo>
                    <a:pt x="76933" y="85548"/>
                    <a:pt x="76933" y="101503"/>
                    <a:pt x="65052" y="98028"/>
                  </a:cubicBezTo>
                  <a:cubicBezTo>
                    <a:pt x="53215" y="94598"/>
                    <a:pt x="37389" y="95755"/>
                    <a:pt x="45281" y="103733"/>
                  </a:cubicBezTo>
                  <a:cubicBezTo>
                    <a:pt x="53215" y="111710"/>
                    <a:pt x="65996" y="119731"/>
                    <a:pt x="65996" y="138002"/>
                  </a:cubicBezTo>
                  <a:cubicBezTo>
                    <a:pt x="65996" y="156315"/>
                    <a:pt x="88727" y="152884"/>
                    <a:pt x="88727" y="138002"/>
                  </a:cubicBezTo>
                  <a:cubicBezTo>
                    <a:pt x="88727" y="123162"/>
                    <a:pt x="100565" y="142591"/>
                    <a:pt x="123296" y="149410"/>
                  </a:cubicBezTo>
                  <a:cubicBezTo>
                    <a:pt x="145985" y="156273"/>
                    <a:pt x="130202" y="166566"/>
                    <a:pt x="152932" y="167724"/>
                  </a:cubicBezTo>
                  <a:cubicBezTo>
                    <a:pt x="175621" y="168882"/>
                    <a:pt x="227002" y="188268"/>
                    <a:pt x="246732" y="205423"/>
                  </a:cubicBezTo>
                  <a:cubicBezTo>
                    <a:pt x="266503" y="222536"/>
                    <a:pt x="252650" y="233945"/>
                    <a:pt x="265517" y="249986"/>
                  </a:cubicBezTo>
                  <a:cubicBezTo>
                    <a:pt x="278341" y="265940"/>
                    <a:pt x="282287" y="284254"/>
                    <a:pt x="264530" y="284254"/>
                  </a:cubicBezTo>
                  <a:cubicBezTo>
                    <a:pt x="246775" y="284254"/>
                    <a:pt x="228032" y="304798"/>
                    <a:pt x="232964" y="315091"/>
                  </a:cubicBezTo>
                  <a:cubicBezTo>
                    <a:pt x="237896" y="325385"/>
                    <a:pt x="296183" y="310502"/>
                    <a:pt x="309993" y="310502"/>
                  </a:cubicBezTo>
                  <a:cubicBezTo>
                    <a:pt x="319043" y="310502"/>
                    <a:pt x="328179" y="329116"/>
                    <a:pt x="345549" y="342583"/>
                  </a:cubicBezTo>
                  <a:lnTo>
                    <a:pt x="345549" y="98844"/>
                  </a:lnTo>
                  <a:cubicBezTo>
                    <a:pt x="338343" y="96013"/>
                    <a:pt x="330624" y="92796"/>
                    <a:pt x="322731" y="89408"/>
                  </a:cubicBezTo>
                  <a:cubicBezTo>
                    <a:pt x="313124" y="88121"/>
                    <a:pt x="303474" y="87263"/>
                    <a:pt x="293609" y="87006"/>
                  </a:cubicBezTo>
                  <a:close/>
                </a:path>
              </a:pathLst>
            </a:custGeom>
            <a:grpFill/>
            <a:ln w="1905" cap="flat">
              <a:solidFill>
                <a:schemeClr val="bg2">
                  <a:lumMod val="75000"/>
                </a:schemeClr>
              </a:solidFill>
              <a:prstDash val="solid"/>
              <a:miter/>
            </a:ln>
          </p:spPr>
          <p:txBody>
            <a:bodyPr rtlCol="0" anchor="ctr"/>
            <a:lstStyle/>
            <a:p>
              <a:endParaRPr lang="en-US" dirty="0">
                <a:sym typeface="+mn-lt"/>
              </a:endParaRPr>
            </a:p>
          </p:txBody>
        </p:sp>
      </p:grpSp>
      <p:grpSp>
        <p:nvGrpSpPr>
          <p:cNvPr id="14" name="Group 20">
            <a:extLst>
              <a:ext uri="{FF2B5EF4-FFF2-40B4-BE49-F238E27FC236}">
                <a16:creationId xmlns:a16="http://schemas.microsoft.com/office/drawing/2014/main" id="{E609ED7C-D2BC-8F22-44CB-C11D4ED67AE4}"/>
              </a:ext>
            </a:extLst>
          </p:cNvPr>
          <p:cNvGrpSpPr/>
          <p:nvPr/>
        </p:nvGrpSpPr>
        <p:grpSpPr>
          <a:xfrm>
            <a:off x="4893872" y="4115275"/>
            <a:ext cx="1202128" cy="2218710"/>
            <a:chOff x="4900375" y="4077742"/>
            <a:chExt cx="1202128" cy="2218710"/>
          </a:xfrm>
          <a:solidFill>
            <a:schemeClr val="tx2">
              <a:alpha val="50000"/>
            </a:schemeClr>
          </a:solidFill>
        </p:grpSpPr>
        <p:sp>
          <p:nvSpPr>
            <p:cNvPr id="15" name="Freeform: Shape 182">
              <a:extLst>
                <a:ext uri="{FF2B5EF4-FFF2-40B4-BE49-F238E27FC236}">
                  <a16:creationId xmlns:a16="http://schemas.microsoft.com/office/drawing/2014/main" id="{1C710C52-DD01-2DE2-DB05-2BC56B4C7F05}"/>
                </a:ext>
              </a:extLst>
            </p:cNvPr>
            <p:cNvSpPr/>
            <p:nvPr/>
          </p:nvSpPr>
          <p:spPr>
            <a:xfrm>
              <a:off x="5092159" y="4285578"/>
              <a:ext cx="1010344" cy="1207164"/>
            </a:xfrm>
            <a:custGeom>
              <a:avLst/>
              <a:gdLst>
                <a:gd name="connsiteX0" fmla="*/ 1311749 w 1320990"/>
                <a:gd name="connsiteY0" fmla="*/ 449916 h 1578326"/>
                <a:gd name="connsiteX1" fmla="*/ 1279882 w 1320990"/>
                <a:gd name="connsiteY1" fmla="*/ 408871 h 1578326"/>
                <a:gd name="connsiteX2" fmla="*/ 1204912 w 1320990"/>
                <a:gd name="connsiteY2" fmla="*/ 359120 h 1578326"/>
                <a:gd name="connsiteX3" fmla="*/ 1107167 w 1320990"/>
                <a:gd name="connsiteY3" fmla="*/ 323993 h 1578326"/>
                <a:gd name="connsiteX4" fmla="*/ 1071869 w 1320990"/>
                <a:gd name="connsiteY4" fmla="*/ 319790 h 1578326"/>
                <a:gd name="connsiteX5" fmla="*/ 1021646 w 1320990"/>
                <a:gd name="connsiteY5" fmla="*/ 327081 h 1578326"/>
                <a:gd name="connsiteX6" fmla="*/ 1010152 w 1320990"/>
                <a:gd name="connsiteY6" fmla="*/ 321506 h 1578326"/>
                <a:gd name="connsiteX7" fmla="*/ 997585 w 1320990"/>
                <a:gd name="connsiteY7" fmla="*/ 330855 h 1578326"/>
                <a:gd name="connsiteX8" fmla="*/ 1000158 w 1320990"/>
                <a:gd name="connsiteY8" fmla="*/ 310226 h 1578326"/>
                <a:gd name="connsiteX9" fmla="*/ 999901 w 1320990"/>
                <a:gd name="connsiteY9" fmla="*/ 309840 h 1578326"/>
                <a:gd name="connsiteX10" fmla="*/ 995269 w 1320990"/>
                <a:gd name="connsiteY10" fmla="*/ 295643 h 1578326"/>
                <a:gd name="connsiteX11" fmla="*/ 991580 w 1320990"/>
                <a:gd name="connsiteY11" fmla="*/ 293842 h 1578326"/>
                <a:gd name="connsiteX12" fmla="*/ 968849 w 1320990"/>
                <a:gd name="connsiteY12" fmla="*/ 295172 h 1578326"/>
                <a:gd name="connsiteX13" fmla="*/ 879939 w 1320990"/>
                <a:gd name="connsiteY13" fmla="*/ 251768 h 1578326"/>
                <a:gd name="connsiteX14" fmla="*/ 877581 w 1320990"/>
                <a:gd name="connsiteY14" fmla="*/ 248465 h 1578326"/>
                <a:gd name="connsiteX15" fmla="*/ 876851 w 1320990"/>
                <a:gd name="connsiteY15" fmla="*/ 256314 h 1578326"/>
                <a:gd name="connsiteX16" fmla="*/ 853134 w 1320990"/>
                <a:gd name="connsiteY16" fmla="*/ 275142 h 1578326"/>
                <a:gd name="connsiteX17" fmla="*/ 836107 w 1320990"/>
                <a:gd name="connsiteY17" fmla="*/ 276000 h 1578326"/>
                <a:gd name="connsiteX18" fmla="*/ 863384 w 1320990"/>
                <a:gd name="connsiteY18" fmla="*/ 236456 h 1578326"/>
                <a:gd name="connsiteX19" fmla="*/ 834477 w 1320990"/>
                <a:gd name="connsiteY19" fmla="*/ 220115 h 1578326"/>
                <a:gd name="connsiteX20" fmla="*/ 822725 w 1320990"/>
                <a:gd name="connsiteY20" fmla="*/ 208664 h 1578326"/>
                <a:gd name="connsiteX21" fmla="*/ 797592 w 1320990"/>
                <a:gd name="connsiteY21" fmla="*/ 210937 h 1578326"/>
                <a:gd name="connsiteX22" fmla="*/ 776105 w 1320990"/>
                <a:gd name="connsiteY22" fmla="*/ 240916 h 1578326"/>
                <a:gd name="connsiteX23" fmla="*/ 784983 w 1320990"/>
                <a:gd name="connsiteY23" fmla="*/ 209221 h 1578326"/>
                <a:gd name="connsiteX24" fmla="*/ 815777 w 1320990"/>
                <a:gd name="connsiteY24" fmla="*/ 167490 h 1578326"/>
                <a:gd name="connsiteX25" fmla="*/ 787470 w 1320990"/>
                <a:gd name="connsiteY25" fmla="*/ 131420 h 1578326"/>
                <a:gd name="connsiteX26" fmla="*/ 752687 w 1320990"/>
                <a:gd name="connsiteY26" fmla="*/ 93935 h 1578326"/>
                <a:gd name="connsiteX27" fmla="*/ 756290 w 1320990"/>
                <a:gd name="connsiteY27" fmla="*/ 59195 h 1578326"/>
                <a:gd name="connsiteX28" fmla="*/ 756161 w 1320990"/>
                <a:gd name="connsiteY28" fmla="*/ 58980 h 1578326"/>
                <a:gd name="connsiteX29" fmla="*/ 727468 w 1320990"/>
                <a:gd name="connsiteY29" fmla="*/ 107531 h 1578326"/>
                <a:gd name="connsiteX30" fmla="*/ 692342 w 1320990"/>
                <a:gd name="connsiteY30" fmla="*/ 124944 h 1578326"/>
                <a:gd name="connsiteX31" fmla="*/ 659274 w 1320990"/>
                <a:gd name="connsiteY31" fmla="*/ 113364 h 1578326"/>
                <a:gd name="connsiteX32" fmla="*/ 622175 w 1320990"/>
                <a:gd name="connsiteY32" fmla="*/ 112163 h 1578326"/>
                <a:gd name="connsiteX33" fmla="*/ 608150 w 1320990"/>
                <a:gd name="connsiteY33" fmla="*/ 136524 h 1578326"/>
                <a:gd name="connsiteX34" fmla="*/ 568048 w 1320990"/>
                <a:gd name="connsiteY34" fmla="*/ 135366 h 1578326"/>
                <a:gd name="connsiteX35" fmla="*/ 551022 w 1320990"/>
                <a:gd name="connsiteY35" fmla="*/ 144630 h 1578326"/>
                <a:gd name="connsiteX36" fmla="*/ 528976 w 1320990"/>
                <a:gd name="connsiteY36" fmla="*/ 153894 h 1578326"/>
                <a:gd name="connsiteX37" fmla="*/ 492863 w 1320990"/>
                <a:gd name="connsiteY37" fmla="*/ 139955 h 1578326"/>
                <a:gd name="connsiteX38" fmla="*/ 485830 w 1320990"/>
                <a:gd name="connsiteY38" fmla="*/ 71547 h 1578326"/>
                <a:gd name="connsiteX39" fmla="*/ 482827 w 1320990"/>
                <a:gd name="connsiteY39" fmla="*/ 39079 h 1578326"/>
                <a:gd name="connsiteX40" fmla="*/ 468803 w 1320990"/>
                <a:gd name="connsiteY40" fmla="*/ 6612 h 1578326"/>
                <a:gd name="connsiteX41" fmla="*/ 447744 w 1320990"/>
                <a:gd name="connsiteY41" fmla="*/ 28657 h 1578326"/>
                <a:gd name="connsiteX42" fmla="*/ 406613 w 1320990"/>
                <a:gd name="connsiteY42" fmla="*/ 47228 h 1578326"/>
                <a:gd name="connsiteX43" fmla="*/ 383539 w 1320990"/>
                <a:gd name="connsiteY43" fmla="*/ 62283 h 1578326"/>
                <a:gd name="connsiteX44" fmla="*/ 370500 w 1320990"/>
                <a:gd name="connsiteY44" fmla="*/ 61125 h 1578326"/>
                <a:gd name="connsiteX45" fmla="*/ 341421 w 1320990"/>
                <a:gd name="connsiteY45" fmla="*/ 49544 h 1578326"/>
                <a:gd name="connsiteX46" fmla="*/ 319376 w 1320990"/>
                <a:gd name="connsiteY46" fmla="*/ 54177 h 1578326"/>
                <a:gd name="connsiteX47" fmla="*/ 332415 w 1320990"/>
                <a:gd name="connsiteY47" fmla="*/ 83170 h 1578326"/>
                <a:gd name="connsiteX48" fmla="*/ 341464 w 1320990"/>
                <a:gd name="connsiteY48" fmla="*/ 107531 h 1578326"/>
                <a:gd name="connsiteX49" fmla="*/ 358491 w 1320990"/>
                <a:gd name="connsiteY49" fmla="*/ 112163 h 1578326"/>
                <a:gd name="connsiteX50" fmla="*/ 354460 w 1320990"/>
                <a:gd name="connsiteY50" fmla="*/ 128418 h 1578326"/>
                <a:gd name="connsiteX51" fmla="*/ 335417 w 1320990"/>
                <a:gd name="connsiteY51" fmla="*/ 149305 h 1578326"/>
                <a:gd name="connsiteX52" fmla="*/ 313329 w 1320990"/>
                <a:gd name="connsiteY52" fmla="*/ 162043 h 1578326"/>
                <a:gd name="connsiteX53" fmla="*/ 290254 w 1320990"/>
                <a:gd name="connsiteY53" fmla="*/ 175982 h 1578326"/>
                <a:gd name="connsiteX54" fmla="*/ 272198 w 1320990"/>
                <a:gd name="connsiteY54" fmla="*/ 179456 h 1578326"/>
                <a:gd name="connsiteX55" fmla="*/ 252126 w 1320990"/>
                <a:gd name="connsiteY55" fmla="*/ 170192 h 1578326"/>
                <a:gd name="connsiteX56" fmla="*/ 226607 w 1320990"/>
                <a:gd name="connsiteY56" fmla="*/ 131206 h 1578326"/>
                <a:gd name="connsiteX57" fmla="*/ 193925 w 1320990"/>
                <a:gd name="connsiteY57" fmla="*/ 142271 h 1578326"/>
                <a:gd name="connsiteX58" fmla="*/ 143487 w 1320990"/>
                <a:gd name="connsiteY58" fmla="*/ 146560 h 1578326"/>
                <a:gd name="connsiteX59" fmla="*/ 152194 w 1320990"/>
                <a:gd name="connsiteY59" fmla="*/ 167791 h 1578326"/>
                <a:gd name="connsiteX60" fmla="*/ 158884 w 1320990"/>
                <a:gd name="connsiteY60" fmla="*/ 183659 h 1578326"/>
                <a:gd name="connsiteX61" fmla="*/ 136196 w 1320990"/>
                <a:gd name="connsiteY61" fmla="*/ 204504 h 1578326"/>
                <a:gd name="connsiteX62" fmla="*/ 157598 w 1320990"/>
                <a:gd name="connsiteY62" fmla="*/ 267122 h 1578326"/>
                <a:gd name="connsiteX63" fmla="*/ 150736 w 1320990"/>
                <a:gd name="connsiteY63" fmla="*/ 319833 h 1578326"/>
                <a:gd name="connsiteX64" fmla="*/ 137912 w 1320990"/>
                <a:gd name="connsiteY64" fmla="*/ 372329 h 1578326"/>
                <a:gd name="connsiteX65" fmla="*/ 109262 w 1320990"/>
                <a:gd name="connsiteY65" fmla="*/ 374646 h 1578326"/>
                <a:gd name="connsiteX66" fmla="*/ 68774 w 1320990"/>
                <a:gd name="connsiteY66" fmla="*/ 391758 h 1578326"/>
                <a:gd name="connsiteX67" fmla="*/ 39138 w 1320990"/>
                <a:gd name="connsiteY67" fmla="*/ 414575 h 1578326"/>
                <a:gd name="connsiteX68" fmla="*/ 28287 w 1320990"/>
                <a:gd name="connsiteY68" fmla="*/ 451117 h 1578326"/>
                <a:gd name="connsiteX69" fmla="*/ 13447 w 1320990"/>
                <a:gd name="connsiteY69" fmla="*/ 471661 h 1578326"/>
                <a:gd name="connsiteX70" fmla="*/ 8514 w 1320990"/>
                <a:gd name="connsiteY70" fmla="*/ 496794 h 1578326"/>
                <a:gd name="connsiteX71" fmla="*/ 17393 w 1320990"/>
                <a:gd name="connsiteY71" fmla="*/ 529905 h 1578326"/>
                <a:gd name="connsiteX72" fmla="*/ 31246 w 1320990"/>
                <a:gd name="connsiteY72" fmla="*/ 563058 h 1578326"/>
                <a:gd name="connsiteX73" fmla="*/ 48016 w 1320990"/>
                <a:gd name="connsiteY73" fmla="*/ 577898 h 1578326"/>
                <a:gd name="connsiteX74" fmla="*/ 65772 w 1320990"/>
                <a:gd name="connsiteY74" fmla="*/ 599600 h 1578326"/>
                <a:gd name="connsiteX75" fmla="*/ 101327 w 1320990"/>
                <a:gd name="connsiteY75" fmla="*/ 593896 h 1578326"/>
                <a:gd name="connsiteX76" fmla="*/ 116167 w 1320990"/>
                <a:gd name="connsiteY76" fmla="*/ 590464 h 1578326"/>
                <a:gd name="connsiteX77" fmla="*/ 124058 w 1320990"/>
                <a:gd name="connsiteY77" fmla="*/ 640688 h 1578326"/>
                <a:gd name="connsiteX78" fmla="*/ 167505 w 1320990"/>
                <a:gd name="connsiteY78" fmla="*/ 641846 h 1578326"/>
                <a:gd name="connsiteX79" fmla="*/ 196155 w 1320990"/>
                <a:gd name="connsiteY79" fmla="*/ 633868 h 1578326"/>
                <a:gd name="connsiteX80" fmla="*/ 224763 w 1320990"/>
                <a:gd name="connsiteY80" fmla="*/ 616756 h 1578326"/>
                <a:gd name="connsiteX81" fmla="*/ 264263 w 1320990"/>
                <a:gd name="connsiteY81" fmla="*/ 596211 h 1578326"/>
                <a:gd name="connsiteX82" fmla="*/ 295830 w 1320990"/>
                <a:gd name="connsiteY82" fmla="*/ 598485 h 1578326"/>
                <a:gd name="connsiteX83" fmla="*/ 306724 w 1320990"/>
                <a:gd name="connsiteY83" fmla="*/ 673841 h 1578326"/>
                <a:gd name="connsiteX84" fmla="*/ 346225 w 1320990"/>
                <a:gd name="connsiteY84" fmla="*/ 701290 h 1578326"/>
                <a:gd name="connsiteX85" fmla="*/ 369900 w 1320990"/>
                <a:gd name="connsiteY85" fmla="*/ 707038 h 1578326"/>
                <a:gd name="connsiteX86" fmla="*/ 383753 w 1320990"/>
                <a:gd name="connsiteY86" fmla="*/ 720719 h 1578326"/>
                <a:gd name="connsiteX87" fmla="*/ 411374 w 1320990"/>
                <a:gd name="connsiteY87" fmla="*/ 735559 h 1578326"/>
                <a:gd name="connsiteX88" fmla="*/ 447915 w 1320990"/>
                <a:gd name="connsiteY88" fmla="*/ 744694 h 1578326"/>
                <a:gd name="connsiteX89" fmla="*/ 460739 w 1320990"/>
                <a:gd name="connsiteY89" fmla="*/ 770942 h 1578326"/>
                <a:gd name="connsiteX90" fmla="*/ 465672 w 1320990"/>
                <a:gd name="connsiteY90" fmla="*/ 800665 h 1578326"/>
                <a:gd name="connsiteX91" fmla="*/ 469617 w 1320990"/>
                <a:gd name="connsiteY91" fmla="*/ 832660 h 1578326"/>
                <a:gd name="connsiteX92" fmla="*/ 506159 w 1320990"/>
                <a:gd name="connsiteY92" fmla="*/ 852046 h 1578326"/>
                <a:gd name="connsiteX93" fmla="*/ 533823 w 1320990"/>
                <a:gd name="connsiteY93" fmla="*/ 871475 h 1578326"/>
                <a:gd name="connsiteX94" fmla="*/ 553552 w 1320990"/>
                <a:gd name="connsiteY94" fmla="*/ 909132 h 1578326"/>
                <a:gd name="connsiteX95" fmla="*/ 549606 w 1320990"/>
                <a:gd name="connsiteY95" fmla="*/ 959398 h 1578326"/>
                <a:gd name="connsiteX96" fmla="*/ 539441 w 1320990"/>
                <a:gd name="connsiteY96" fmla="*/ 985689 h 1578326"/>
                <a:gd name="connsiteX97" fmla="*/ 540857 w 1320990"/>
                <a:gd name="connsiteY97" fmla="*/ 1006319 h 1578326"/>
                <a:gd name="connsiteX98" fmla="*/ 546861 w 1320990"/>
                <a:gd name="connsiteY98" fmla="*/ 1053841 h 1578326"/>
                <a:gd name="connsiteX99" fmla="*/ 563931 w 1320990"/>
                <a:gd name="connsiteY99" fmla="*/ 1085149 h 1578326"/>
                <a:gd name="connsiteX100" fmla="*/ 593010 w 1320990"/>
                <a:gd name="connsiteY100" fmla="*/ 1088581 h 1578326"/>
                <a:gd name="connsiteX101" fmla="*/ 616042 w 1320990"/>
                <a:gd name="connsiteY101" fmla="*/ 1121091 h 1578326"/>
                <a:gd name="connsiteX102" fmla="*/ 632082 w 1320990"/>
                <a:gd name="connsiteY102" fmla="*/ 1163937 h 1578326"/>
                <a:gd name="connsiteX103" fmla="*/ 660175 w 1320990"/>
                <a:gd name="connsiteY103" fmla="*/ 1156989 h 1578326"/>
                <a:gd name="connsiteX104" fmla="*/ 657044 w 1320990"/>
                <a:gd name="connsiteY104" fmla="*/ 1226127 h 1578326"/>
                <a:gd name="connsiteX105" fmla="*/ 679003 w 1320990"/>
                <a:gd name="connsiteY105" fmla="*/ 1227799 h 1578326"/>
                <a:gd name="connsiteX106" fmla="*/ 685051 w 1320990"/>
                <a:gd name="connsiteY106" fmla="*/ 1286815 h 1578326"/>
                <a:gd name="connsiteX107" fmla="*/ 644520 w 1320990"/>
                <a:gd name="connsiteY107" fmla="*/ 1312849 h 1578326"/>
                <a:gd name="connsiteX108" fmla="*/ 586748 w 1320990"/>
                <a:gd name="connsiteY108" fmla="*/ 1383145 h 1578326"/>
                <a:gd name="connsiteX109" fmla="*/ 557283 w 1320990"/>
                <a:gd name="connsiteY109" fmla="*/ 1423804 h 1578326"/>
                <a:gd name="connsiteX110" fmla="*/ 567277 w 1320990"/>
                <a:gd name="connsiteY110" fmla="*/ 1423074 h 1578326"/>
                <a:gd name="connsiteX111" fmla="*/ 595798 w 1320990"/>
                <a:gd name="connsiteY111" fmla="*/ 1435212 h 1578326"/>
                <a:gd name="connsiteX112" fmla="*/ 610809 w 1320990"/>
                <a:gd name="connsiteY112" fmla="*/ 1462147 h 1578326"/>
                <a:gd name="connsiteX113" fmla="*/ 629595 w 1320990"/>
                <a:gd name="connsiteY113" fmla="*/ 1456057 h 1578326"/>
                <a:gd name="connsiteX114" fmla="*/ 667123 w 1320990"/>
                <a:gd name="connsiteY114" fmla="*/ 1489081 h 1578326"/>
                <a:gd name="connsiteX115" fmla="*/ 689640 w 1320990"/>
                <a:gd name="connsiteY115" fmla="*/ 1519404 h 1578326"/>
                <a:gd name="connsiteX116" fmla="*/ 692342 w 1320990"/>
                <a:gd name="connsiteY116" fmla="*/ 1575632 h 1578326"/>
                <a:gd name="connsiteX117" fmla="*/ 695473 w 1320990"/>
                <a:gd name="connsiteY117" fmla="*/ 1574688 h 1578326"/>
                <a:gd name="connsiteX118" fmla="*/ 708725 w 1320990"/>
                <a:gd name="connsiteY118" fmla="*/ 1560149 h 1578326"/>
                <a:gd name="connsiteX119" fmla="*/ 733901 w 1320990"/>
                <a:gd name="connsiteY119" fmla="*/ 1512199 h 1578326"/>
                <a:gd name="connsiteX120" fmla="*/ 751701 w 1320990"/>
                <a:gd name="connsiteY120" fmla="*/ 1465063 h 1578326"/>
                <a:gd name="connsiteX121" fmla="*/ 769457 w 1320990"/>
                <a:gd name="connsiteY121" fmla="*/ 1423975 h 1578326"/>
                <a:gd name="connsiteX122" fmla="*/ 783610 w 1320990"/>
                <a:gd name="connsiteY122" fmla="*/ 1430966 h 1578326"/>
                <a:gd name="connsiteX123" fmla="*/ 786269 w 1320990"/>
                <a:gd name="connsiteY123" fmla="*/ 1427921 h 1578326"/>
                <a:gd name="connsiteX124" fmla="*/ 824827 w 1320990"/>
                <a:gd name="connsiteY124" fmla="*/ 1366332 h 1578326"/>
                <a:gd name="connsiteX125" fmla="*/ 847172 w 1320990"/>
                <a:gd name="connsiteY125" fmla="*/ 1331935 h 1578326"/>
                <a:gd name="connsiteX126" fmla="*/ 858967 w 1320990"/>
                <a:gd name="connsiteY126" fmla="*/ 1323572 h 1578326"/>
                <a:gd name="connsiteX127" fmla="*/ 858323 w 1320990"/>
                <a:gd name="connsiteY127" fmla="*/ 1299768 h 1578326"/>
                <a:gd name="connsiteX128" fmla="*/ 859052 w 1320990"/>
                <a:gd name="connsiteY128" fmla="*/ 1242382 h 1578326"/>
                <a:gd name="connsiteX129" fmla="*/ 869432 w 1320990"/>
                <a:gd name="connsiteY129" fmla="*/ 1214118 h 1578326"/>
                <a:gd name="connsiteX130" fmla="*/ 911635 w 1320990"/>
                <a:gd name="connsiteY130" fmla="*/ 1177276 h 1578326"/>
                <a:gd name="connsiteX131" fmla="*/ 953237 w 1320990"/>
                <a:gd name="connsiteY131" fmla="*/ 1155231 h 1578326"/>
                <a:gd name="connsiteX132" fmla="*/ 968849 w 1320990"/>
                <a:gd name="connsiteY132" fmla="*/ 1144122 h 1578326"/>
                <a:gd name="connsiteX133" fmla="*/ 982145 w 1320990"/>
                <a:gd name="connsiteY133" fmla="*/ 1138590 h 1578326"/>
                <a:gd name="connsiteX134" fmla="*/ 999815 w 1320990"/>
                <a:gd name="connsiteY134" fmla="*/ 1119890 h 1578326"/>
                <a:gd name="connsiteX135" fmla="*/ 1027221 w 1320990"/>
                <a:gd name="connsiteY135" fmla="*/ 1117831 h 1578326"/>
                <a:gd name="connsiteX136" fmla="*/ 1075386 w 1320990"/>
                <a:gd name="connsiteY136" fmla="*/ 1101276 h 1578326"/>
                <a:gd name="connsiteX137" fmla="*/ 1087052 w 1320990"/>
                <a:gd name="connsiteY137" fmla="*/ 1099131 h 1578326"/>
                <a:gd name="connsiteX138" fmla="*/ 1103521 w 1320990"/>
                <a:gd name="connsiteY138" fmla="*/ 1086479 h 1578326"/>
                <a:gd name="connsiteX139" fmla="*/ 1118361 w 1320990"/>
                <a:gd name="connsiteY139" fmla="*/ 1065935 h 1578326"/>
                <a:gd name="connsiteX140" fmla="*/ 1131657 w 1320990"/>
                <a:gd name="connsiteY140" fmla="*/ 1030809 h 1578326"/>
                <a:gd name="connsiteX141" fmla="*/ 1132815 w 1320990"/>
                <a:gd name="connsiteY141" fmla="*/ 1029565 h 1578326"/>
                <a:gd name="connsiteX142" fmla="*/ 1160307 w 1320990"/>
                <a:gd name="connsiteY142" fmla="*/ 948848 h 1578326"/>
                <a:gd name="connsiteX143" fmla="*/ 1162794 w 1320990"/>
                <a:gd name="connsiteY143" fmla="*/ 927188 h 1578326"/>
                <a:gd name="connsiteX144" fmla="*/ 1179822 w 1320990"/>
                <a:gd name="connsiteY144" fmla="*/ 906644 h 1578326"/>
                <a:gd name="connsiteX145" fmla="*/ 1183510 w 1320990"/>
                <a:gd name="connsiteY145" fmla="*/ 858694 h 1578326"/>
                <a:gd name="connsiteX146" fmla="*/ 1183510 w 1320990"/>
                <a:gd name="connsiteY146" fmla="*/ 783337 h 1578326"/>
                <a:gd name="connsiteX147" fmla="*/ 1183510 w 1320990"/>
                <a:gd name="connsiteY147" fmla="*/ 778320 h 1578326"/>
                <a:gd name="connsiteX148" fmla="*/ 1176605 w 1320990"/>
                <a:gd name="connsiteY148" fmla="*/ 731785 h 1578326"/>
                <a:gd name="connsiteX149" fmla="*/ 1190029 w 1320990"/>
                <a:gd name="connsiteY149" fmla="*/ 712184 h 1578326"/>
                <a:gd name="connsiteX150" fmla="*/ 1188700 w 1320990"/>
                <a:gd name="connsiteY150" fmla="*/ 711370 h 1578326"/>
                <a:gd name="connsiteX151" fmla="*/ 1194618 w 1320990"/>
                <a:gd name="connsiteY151" fmla="*/ 700261 h 1578326"/>
                <a:gd name="connsiteX152" fmla="*/ 1197278 w 1320990"/>
                <a:gd name="connsiteY152" fmla="*/ 701934 h 1578326"/>
                <a:gd name="connsiteX153" fmla="*/ 1223912 w 1320990"/>
                <a:gd name="connsiteY153" fmla="*/ 662433 h 1578326"/>
                <a:gd name="connsiteX154" fmla="*/ 1242483 w 1320990"/>
                <a:gd name="connsiteY154" fmla="*/ 646735 h 1578326"/>
                <a:gd name="connsiteX155" fmla="*/ 1273835 w 1320990"/>
                <a:gd name="connsiteY155" fmla="*/ 619758 h 1578326"/>
                <a:gd name="connsiteX156" fmla="*/ 1284128 w 1320990"/>
                <a:gd name="connsiteY156" fmla="*/ 610880 h 1578326"/>
                <a:gd name="connsiteX157" fmla="*/ 1283957 w 1320990"/>
                <a:gd name="connsiteY157" fmla="*/ 590765 h 1578326"/>
                <a:gd name="connsiteX158" fmla="*/ 1286959 w 1320990"/>
                <a:gd name="connsiteY158" fmla="*/ 580643 h 1578326"/>
                <a:gd name="connsiteX159" fmla="*/ 1287560 w 1320990"/>
                <a:gd name="connsiteY159" fmla="*/ 575796 h 1578326"/>
                <a:gd name="connsiteX160" fmla="*/ 1302270 w 1320990"/>
                <a:gd name="connsiteY160" fmla="*/ 554824 h 1578326"/>
                <a:gd name="connsiteX161" fmla="*/ 1313593 w 1320990"/>
                <a:gd name="connsiteY161" fmla="*/ 520512 h 1578326"/>
                <a:gd name="connsiteX162" fmla="*/ 1314966 w 1320990"/>
                <a:gd name="connsiteY162" fmla="*/ 510819 h 1578326"/>
                <a:gd name="connsiteX163" fmla="*/ 1314708 w 1320990"/>
                <a:gd name="connsiteY163" fmla="*/ 473205 h 1578326"/>
                <a:gd name="connsiteX164" fmla="*/ 1311749 w 1320990"/>
                <a:gd name="connsiteY164" fmla="*/ 449916 h 1578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1320990" h="1578326">
                  <a:moveTo>
                    <a:pt x="1311749" y="449916"/>
                  </a:moveTo>
                  <a:cubicBezTo>
                    <a:pt x="1297167" y="439622"/>
                    <a:pt x="1285243" y="425598"/>
                    <a:pt x="1279882" y="408871"/>
                  </a:cubicBezTo>
                  <a:cubicBezTo>
                    <a:pt x="1264185" y="408357"/>
                    <a:pt x="1238151" y="400679"/>
                    <a:pt x="1204912" y="359120"/>
                  </a:cubicBezTo>
                  <a:cubicBezTo>
                    <a:pt x="1167898" y="312885"/>
                    <a:pt x="1131571" y="316316"/>
                    <a:pt x="1107167" y="323993"/>
                  </a:cubicBezTo>
                  <a:cubicBezTo>
                    <a:pt x="1095201" y="327767"/>
                    <a:pt x="1083063" y="324551"/>
                    <a:pt x="1071869" y="319790"/>
                  </a:cubicBezTo>
                  <a:cubicBezTo>
                    <a:pt x="1056686" y="329225"/>
                    <a:pt x="1038802" y="330169"/>
                    <a:pt x="1021646" y="327081"/>
                  </a:cubicBezTo>
                  <a:cubicBezTo>
                    <a:pt x="1017443" y="326309"/>
                    <a:pt x="1013583" y="324251"/>
                    <a:pt x="1010152" y="321506"/>
                  </a:cubicBezTo>
                  <a:cubicBezTo>
                    <a:pt x="1005648" y="325537"/>
                    <a:pt x="1001402" y="329182"/>
                    <a:pt x="997585" y="330855"/>
                  </a:cubicBezTo>
                  <a:cubicBezTo>
                    <a:pt x="989307" y="334415"/>
                    <a:pt x="995441" y="323007"/>
                    <a:pt x="1000158" y="310226"/>
                  </a:cubicBezTo>
                  <a:cubicBezTo>
                    <a:pt x="1000072" y="310097"/>
                    <a:pt x="999987" y="309968"/>
                    <a:pt x="999901" y="309840"/>
                  </a:cubicBezTo>
                  <a:cubicBezTo>
                    <a:pt x="997199" y="305551"/>
                    <a:pt x="995741" y="300662"/>
                    <a:pt x="995269" y="295643"/>
                  </a:cubicBezTo>
                  <a:cubicBezTo>
                    <a:pt x="994025" y="295129"/>
                    <a:pt x="992781" y="294528"/>
                    <a:pt x="991580" y="293842"/>
                  </a:cubicBezTo>
                  <a:cubicBezTo>
                    <a:pt x="985104" y="296630"/>
                    <a:pt x="977470" y="297445"/>
                    <a:pt x="968849" y="295172"/>
                  </a:cubicBezTo>
                  <a:cubicBezTo>
                    <a:pt x="938483" y="287280"/>
                    <a:pt x="901170" y="277201"/>
                    <a:pt x="879939" y="251768"/>
                  </a:cubicBezTo>
                  <a:cubicBezTo>
                    <a:pt x="879082" y="250738"/>
                    <a:pt x="878352" y="249580"/>
                    <a:pt x="877581" y="248465"/>
                  </a:cubicBezTo>
                  <a:cubicBezTo>
                    <a:pt x="877152" y="250867"/>
                    <a:pt x="876851" y="253440"/>
                    <a:pt x="876851" y="256314"/>
                  </a:cubicBezTo>
                  <a:cubicBezTo>
                    <a:pt x="876851" y="281147"/>
                    <a:pt x="863513" y="248594"/>
                    <a:pt x="853134" y="275142"/>
                  </a:cubicBezTo>
                  <a:cubicBezTo>
                    <a:pt x="842754" y="301691"/>
                    <a:pt x="823497" y="284578"/>
                    <a:pt x="836107" y="276000"/>
                  </a:cubicBezTo>
                  <a:cubicBezTo>
                    <a:pt x="847429" y="268323"/>
                    <a:pt x="858109" y="251553"/>
                    <a:pt x="863384" y="236456"/>
                  </a:cubicBezTo>
                  <a:cubicBezTo>
                    <a:pt x="853563" y="231352"/>
                    <a:pt x="843870" y="226034"/>
                    <a:pt x="834477" y="220115"/>
                  </a:cubicBezTo>
                  <a:cubicBezTo>
                    <a:pt x="829330" y="216856"/>
                    <a:pt x="825470" y="212953"/>
                    <a:pt x="822725" y="208664"/>
                  </a:cubicBezTo>
                  <a:cubicBezTo>
                    <a:pt x="812818" y="207677"/>
                    <a:pt x="803425" y="208192"/>
                    <a:pt x="797592" y="210937"/>
                  </a:cubicBezTo>
                  <a:cubicBezTo>
                    <a:pt x="779064" y="219515"/>
                    <a:pt x="790901" y="250352"/>
                    <a:pt x="776105" y="240916"/>
                  </a:cubicBezTo>
                  <a:cubicBezTo>
                    <a:pt x="761308" y="231481"/>
                    <a:pt x="773145" y="208364"/>
                    <a:pt x="784983" y="209221"/>
                  </a:cubicBezTo>
                  <a:cubicBezTo>
                    <a:pt x="795662" y="210036"/>
                    <a:pt x="807585" y="187048"/>
                    <a:pt x="815777" y="167490"/>
                  </a:cubicBezTo>
                  <a:cubicBezTo>
                    <a:pt x="801195" y="161228"/>
                    <a:pt x="790901" y="148018"/>
                    <a:pt x="787470" y="131420"/>
                  </a:cubicBezTo>
                  <a:cubicBezTo>
                    <a:pt x="767741" y="130906"/>
                    <a:pt x="753716" y="113321"/>
                    <a:pt x="752687" y="93935"/>
                  </a:cubicBezTo>
                  <a:cubicBezTo>
                    <a:pt x="752044" y="82098"/>
                    <a:pt x="754016" y="70646"/>
                    <a:pt x="756290" y="59195"/>
                  </a:cubicBezTo>
                  <a:cubicBezTo>
                    <a:pt x="756247" y="59109"/>
                    <a:pt x="756204" y="59066"/>
                    <a:pt x="756161" y="58980"/>
                  </a:cubicBezTo>
                  <a:cubicBezTo>
                    <a:pt x="744066" y="74335"/>
                    <a:pt x="731671" y="92948"/>
                    <a:pt x="727468" y="107531"/>
                  </a:cubicBezTo>
                  <a:cubicBezTo>
                    <a:pt x="720434" y="131892"/>
                    <a:pt x="711427" y="117996"/>
                    <a:pt x="692342" y="124944"/>
                  </a:cubicBezTo>
                  <a:cubicBezTo>
                    <a:pt x="673299" y="131892"/>
                    <a:pt x="664249" y="122628"/>
                    <a:pt x="659274" y="113364"/>
                  </a:cubicBezTo>
                  <a:cubicBezTo>
                    <a:pt x="654256" y="104057"/>
                    <a:pt x="635213" y="113364"/>
                    <a:pt x="622175" y="112163"/>
                  </a:cubicBezTo>
                  <a:cubicBezTo>
                    <a:pt x="609137" y="111005"/>
                    <a:pt x="617157" y="130734"/>
                    <a:pt x="608150" y="136524"/>
                  </a:cubicBezTo>
                  <a:cubicBezTo>
                    <a:pt x="599143" y="142314"/>
                    <a:pt x="576069" y="124944"/>
                    <a:pt x="568048" y="135366"/>
                  </a:cubicBezTo>
                  <a:cubicBezTo>
                    <a:pt x="560028" y="145788"/>
                    <a:pt x="555010" y="135366"/>
                    <a:pt x="551022" y="144630"/>
                  </a:cubicBezTo>
                  <a:cubicBezTo>
                    <a:pt x="546990" y="153894"/>
                    <a:pt x="532965" y="148104"/>
                    <a:pt x="528976" y="153894"/>
                  </a:cubicBezTo>
                  <a:cubicBezTo>
                    <a:pt x="524945" y="159684"/>
                    <a:pt x="510920" y="163158"/>
                    <a:pt x="492863" y="139955"/>
                  </a:cubicBezTo>
                  <a:cubicBezTo>
                    <a:pt x="474807" y="116795"/>
                    <a:pt x="477809" y="78495"/>
                    <a:pt x="485830" y="71547"/>
                  </a:cubicBezTo>
                  <a:cubicBezTo>
                    <a:pt x="493850" y="64599"/>
                    <a:pt x="493850" y="44870"/>
                    <a:pt x="482827" y="39079"/>
                  </a:cubicBezTo>
                  <a:cubicBezTo>
                    <a:pt x="471805" y="33332"/>
                    <a:pt x="482827" y="8928"/>
                    <a:pt x="468803" y="6612"/>
                  </a:cubicBezTo>
                  <a:cubicBezTo>
                    <a:pt x="454778" y="4296"/>
                    <a:pt x="456751" y="25183"/>
                    <a:pt x="447744" y="28657"/>
                  </a:cubicBezTo>
                  <a:cubicBezTo>
                    <a:pt x="438694" y="32131"/>
                    <a:pt x="416649" y="49544"/>
                    <a:pt x="406613" y="47228"/>
                  </a:cubicBezTo>
                  <a:cubicBezTo>
                    <a:pt x="396577" y="44912"/>
                    <a:pt x="383539" y="49544"/>
                    <a:pt x="383539" y="62283"/>
                  </a:cubicBezTo>
                  <a:cubicBezTo>
                    <a:pt x="383539" y="75064"/>
                    <a:pt x="372516" y="71590"/>
                    <a:pt x="370500" y="61125"/>
                  </a:cubicBezTo>
                  <a:cubicBezTo>
                    <a:pt x="368484" y="50703"/>
                    <a:pt x="347426" y="56492"/>
                    <a:pt x="341421" y="49544"/>
                  </a:cubicBezTo>
                  <a:cubicBezTo>
                    <a:pt x="335417" y="42596"/>
                    <a:pt x="307324" y="46070"/>
                    <a:pt x="319376" y="54177"/>
                  </a:cubicBezTo>
                  <a:cubicBezTo>
                    <a:pt x="331385" y="62283"/>
                    <a:pt x="332415" y="70431"/>
                    <a:pt x="332415" y="83170"/>
                  </a:cubicBezTo>
                  <a:cubicBezTo>
                    <a:pt x="332415" y="95908"/>
                    <a:pt x="341464" y="92477"/>
                    <a:pt x="341464" y="107531"/>
                  </a:cubicBezTo>
                  <a:cubicBezTo>
                    <a:pt x="341464" y="122585"/>
                    <a:pt x="351500" y="112163"/>
                    <a:pt x="358491" y="112163"/>
                  </a:cubicBezTo>
                  <a:cubicBezTo>
                    <a:pt x="365525" y="112163"/>
                    <a:pt x="365525" y="126102"/>
                    <a:pt x="354460" y="128418"/>
                  </a:cubicBezTo>
                  <a:cubicBezTo>
                    <a:pt x="343437" y="130734"/>
                    <a:pt x="338419" y="137682"/>
                    <a:pt x="335417" y="149305"/>
                  </a:cubicBezTo>
                  <a:cubicBezTo>
                    <a:pt x="332372" y="160885"/>
                    <a:pt x="322378" y="152779"/>
                    <a:pt x="313329" y="162043"/>
                  </a:cubicBezTo>
                  <a:cubicBezTo>
                    <a:pt x="304322" y="171350"/>
                    <a:pt x="296302" y="180571"/>
                    <a:pt x="290254" y="175982"/>
                  </a:cubicBezTo>
                  <a:cubicBezTo>
                    <a:pt x="284250" y="171350"/>
                    <a:pt x="279232" y="174824"/>
                    <a:pt x="272198" y="179456"/>
                  </a:cubicBezTo>
                  <a:cubicBezTo>
                    <a:pt x="265164" y="184088"/>
                    <a:pt x="262162" y="179456"/>
                    <a:pt x="252126" y="170192"/>
                  </a:cubicBezTo>
                  <a:cubicBezTo>
                    <a:pt x="244620" y="163244"/>
                    <a:pt x="239902" y="146517"/>
                    <a:pt x="226607" y="131206"/>
                  </a:cubicBezTo>
                  <a:cubicBezTo>
                    <a:pt x="218672" y="135537"/>
                    <a:pt x="202589" y="142271"/>
                    <a:pt x="193925" y="142271"/>
                  </a:cubicBezTo>
                  <a:cubicBezTo>
                    <a:pt x="182216" y="142271"/>
                    <a:pt x="145503" y="139183"/>
                    <a:pt x="143487" y="146560"/>
                  </a:cubicBezTo>
                  <a:cubicBezTo>
                    <a:pt x="141471" y="153851"/>
                    <a:pt x="146146" y="166246"/>
                    <a:pt x="152194" y="167791"/>
                  </a:cubicBezTo>
                  <a:cubicBezTo>
                    <a:pt x="158198" y="169334"/>
                    <a:pt x="170894" y="173623"/>
                    <a:pt x="158884" y="183659"/>
                  </a:cubicBezTo>
                  <a:cubicBezTo>
                    <a:pt x="146875" y="193695"/>
                    <a:pt x="136196" y="180185"/>
                    <a:pt x="136196" y="204504"/>
                  </a:cubicBezTo>
                  <a:cubicBezTo>
                    <a:pt x="136196" y="228822"/>
                    <a:pt x="163173" y="244648"/>
                    <a:pt x="157598" y="267122"/>
                  </a:cubicBezTo>
                  <a:cubicBezTo>
                    <a:pt x="154681" y="278659"/>
                    <a:pt x="150736" y="308381"/>
                    <a:pt x="150736" y="319833"/>
                  </a:cubicBezTo>
                  <a:cubicBezTo>
                    <a:pt x="150736" y="331242"/>
                    <a:pt x="146790" y="370056"/>
                    <a:pt x="137912" y="372329"/>
                  </a:cubicBezTo>
                  <a:cubicBezTo>
                    <a:pt x="129034" y="374646"/>
                    <a:pt x="121099" y="363237"/>
                    <a:pt x="109262" y="374646"/>
                  </a:cubicBezTo>
                  <a:cubicBezTo>
                    <a:pt x="97424" y="386054"/>
                    <a:pt x="82627" y="379192"/>
                    <a:pt x="68774" y="391758"/>
                  </a:cubicBezTo>
                  <a:cubicBezTo>
                    <a:pt x="54964" y="404325"/>
                    <a:pt x="40124" y="399736"/>
                    <a:pt x="39138" y="414575"/>
                  </a:cubicBezTo>
                  <a:cubicBezTo>
                    <a:pt x="38151" y="429415"/>
                    <a:pt x="25327" y="437436"/>
                    <a:pt x="28287" y="451117"/>
                  </a:cubicBezTo>
                  <a:cubicBezTo>
                    <a:pt x="31246" y="464841"/>
                    <a:pt x="22368" y="461411"/>
                    <a:pt x="13447" y="471661"/>
                  </a:cubicBezTo>
                  <a:cubicBezTo>
                    <a:pt x="4569" y="481955"/>
                    <a:pt x="14433" y="488774"/>
                    <a:pt x="8514" y="496794"/>
                  </a:cubicBezTo>
                  <a:cubicBezTo>
                    <a:pt x="2596" y="504815"/>
                    <a:pt x="10487" y="517338"/>
                    <a:pt x="17393" y="529905"/>
                  </a:cubicBezTo>
                  <a:cubicBezTo>
                    <a:pt x="24298" y="542514"/>
                    <a:pt x="32232" y="551607"/>
                    <a:pt x="31246" y="563058"/>
                  </a:cubicBezTo>
                  <a:cubicBezTo>
                    <a:pt x="30259" y="574467"/>
                    <a:pt x="38151" y="579056"/>
                    <a:pt x="48016" y="577898"/>
                  </a:cubicBezTo>
                  <a:cubicBezTo>
                    <a:pt x="57880" y="576783"/>
                    <a:pt x="49989" y="599600"/>
                    <a:pt x="65772" y="599600"/>
                  </a:cubicBezTo>
                  <a:cubicBezTo>
                    <a:pt x="81555" y="599600"/>
                    <a:pt x="97338" y="604189"/>
                    <a:pt x="101327" y="593896"/>
                  </a:cubicBezTo>
                  <a:cubicBezTo>
                    <a:pt x="105273" y="583602"/>
                    <a:pt x="116167" y="575625"/>
                    <a:pt x="116167" y="590464"/>
                  </a:cubicBezTo>
                  <a:cubicBezTo>
                    <a:pt x="116167" y="605304"/>
                    <a:pt x="113207" y="645277"/>
                    <a:pt x="124058" y="640688"/>
                  </a:cubicBezTo>
                  <a:cubicBezTo>
                    <a:pt x="134952" y="636099"/>
                    <a:pt x="156654" y="637257"/>
                    <a:pt x="167505" y="641846"/>
                  </a:cubicBezTo>
                  <a:cubicBezTo>
                    <a:pt x="178356" y="646392"/>
                    <a:pt x="189207" y="641846"/>
                    <a:pt x="196155" y="633868"/>
                  </a:cubicBezTo>
                  <a:cubicBezTo>
                    <a:pt x="203061" y="625848"/>
                    <a:pt x="210952" y="625891"/>
                    <a:pt x="224763" y="616756"/>
                  </a:cubicBezTo>
                  <a:cubicBezTo>
                    <a:pt x="238616" y="607620"/>
                    <a:pt x="251440" y="596211"/>
                    <a:pt x="264263" y="596211"/>
                  </a:cubicBezTo>
                  <a:cubicBezTo>
                    <a:pt x="277130" y="596211"/>
                    <a:pt x="298832" y="587076"/>
                    <a:pt x="295830" y="598485"/>
                  </a:cubicBezTo>
                  <a:cubicBezTo>
                    <a:pt x="292871" y="609893"/>
                    <a:pt x="290898" y="652182"/>
                    <a:pt x="306724" y="673841"/>
                  </a:cubicBezTo>
                  <a:cubicBezTo>
                    <a:pt x="322507" y="695586"/>
                    <a:pt x="331428" y="703563"/>
                    <a:pt x="346225" y="701290"/>
                  </a:cubicBezTo>
                  <a:cubicBezTo>
                    <a:pt x="361022" y="699017"/>
                    <a:pt x="359092" y="708110"/>
                    <a:pt x="369900" y="707038"/>
                  </a:cubicBezTo>
                  <a:cubicBezTo>
                    <a:pt x="380794" y="705880"/>
                    <a:pt x="373846" y="720719"/>
                    <a:pt x="383753" y="720719"/>
                  </a:cubicBezTo>
                  <a:cubicBezTo>
                    <a:pt x="393618" y="720719"/>
                    <a:pt x="411374" y="722992"/>
                    <a:pt x="411374" y="735559"/>
                  </a:cubicBezTo>
                  <a:cubicBezTo>
                    <a:pt x="411374" y="748125"/>
                    <a:pt x="441010" y="737875"/>
                    <a:pt x="447915" y="744694"/>
                  </a:cubicBezTo>
                  <a:cubicBezTo>
                    <a:pt x="454821" y="751557"/>
                    <a:pt x="462712" y="757261"/>
                    <a:pt x="460739" y="770942"/>
                  </a:cubicBezTo>
                  <a:cubicBezTo>
                    <a:pt x="458767" y="784667"/>
                    <a:pt x="475579" y="794961"/>
                    <a:pt x="465672" y="800665"/>
                  </a:cubicBezTo>
                  <a:cubicBezTo>
                    <a:pt x="455807" y="806369"/>
                    <a:pt x="468631" y="817778"/>
                    <a:pt x="469617" y="832660"/>
                  </a:cubicBezTo>
                  <a:cubicBezTo>
                    <a:pt x="470604" y="847500"/>
                    <a:pt x="484414" y="853204"/>
                    <a:pt x="506159" y="852046"/>
                  </a:cubicBezTo>
                  <a:cubicBezTo>
                    <a:pt x="527904" y="850931"/>
                    <a:pt x="533823" y="853204"/>
                    <a:pt x="533823" y="871475"/>
                  </a:cubicBezTo>
                  <a:cubicBezTo>
                    <a:pt x="533823" y="889703"/>
                    <a:pt x="548619" y="892019"/>
                    <a:pt x="553552" y="909132"/>
                  </a:cubicBezTo>
                  <a:cubicBezTo>
                    <a:pt x="558484" y="926245"/>
                    <a:pt x="547633" y="945674"/>
                    <a:pt x="549606" y="959398"/>
                  </a:cubicBezTo>
                  <a:cubicBezTo>
                    <a:pt x="551107" y="969906"/>
                    <a:pt x="545617" y="981058"/>
                    <a:pt x="539441" y="985689"/>
                  </a:cubicBezTo>
                  <a:cubicBezTo>
                    <a:pt x="547033" y="996883"/>
                    <a:pt x="547676" y="1001945"/>
                    <a:pt x="540857" y="1006319"/>
                  </a:cubicBezTo>
                  <a:cubicBezTo>
                    <a:pt x="531850" y="1012109"/>
                    <a:pt x="551879" y="1028364"/>
                    <a:pt x="546861" y="1053841"/>
                  </a:cubicBezTo>
                  <a:cubicBezTo>
                    <a:pt x="541843" y="1079360"/>
                    <a:pt x="540857" y="1083992"/>
                    <a:pt x="563931" y="1085149"/>
                  </a:cubicBezTo>
                  <a:cubicBezTo>
                    <a:pt x="586963" y="1086308"/>
                    <a:pt x="584990" y="1094414"/>
                    <a:pt x="593010" y="1088581"/>
                  </a:cubicBezTo>
                  <a:cubicBezTo>
                    <a:pt x="601030" y="1082791"/>
                    <a:pt x="613039" y="1108310"/>
                    <a:pt x="616042" y="1121091"/>
                  </a:cubicBezTo>
                  <a:cubicBezTo>
                    <a:pt x="619044" y="1133829"/>
                    <a:pt x="628094" y="1163937"/>
                    <a:pt x="632082" y="1163937"/>
                  </a:cubicBezTo>
                  <a:cubicBezTo>
                    <a:pt x="636114" y="1163937"/>
                    <a:pt x="648123" y="1150041"/>
                    <a:pt x="660175" y="1156989"/>
                  </a:cubicBezTo>
                  <a:cubicBezTo>
                    <a:pt x="671369" y="1163465"/>
                    <a:pt x="657430" y="1207041"/>
                    <a:pt x="657044" y="1226127"/>
                  </a:cubicBezTo>
                  <a:cubicBezTo>
                    <a:pt x="665407" y="1225784"/>
                    <a:pt x="675615" y="1225827"/>
                    <a:pt x="679003" y="1227799"/>
                  </a:cubicBezTo>
                  <a:cubicBezTo>
                    <a:pt x="685008" y="1231274"/>
                    <a:pt x="688010" y="1278108"/>
                    <a:pt x="685051" y="1286815"/>
                  </a:cubicBezTo>
                  <a:cubicBezTo>
                    <a:pt x="682048" y="1295479"/>
                    <a:pt x="657258" y="1303285"/>
                    <a:pt x="644520" y="1312849"/>
                  </a:cubicBezTo>
                  <a:cubicBezTo>
                    <a:pt x="631782" y="1322413"/>
                    <a:pt x="600987" y="1356253"/>
                    <a:pt x="586748" y="1383145"/>
                  </a:cubicBezTo>
                  <a:cubicBezTo>
                    <a:pt x="578299" y="1399100"/>
                    <a:pt x="565990" y="1412266"/>
                    <a:pt x="557283" y="1423804"/>
                  </a:cubicBezTo>
                  <a:cubicBezTo>
                    <a:pt x="561444" y="1424490"/>
                    <a:pt x="564918" y="1424276"/>
                    <a:pt x="567277" y="1423074"/>
                  </a:cubicBezTo>
                  <a:cubicBezTo>
                    <a:pt x="574010" y="1419601"/>
                    <a:pt x="584518" y="1419601"/>
                    <a:pt x="595798" y="1435212"/>
                  </a:cubicBezTo>
                  <a:cubicBezTo>
                    <a:pt x="607035" y="1450824"/>
                    <a:pt x="606306" y="1463005"/>
                    <a:pt x="610809" y="1462147"/>
                  </a:cubicBezTo>
                  <a:cubicBezTo>
                    <a:pt x="615313" y="1461246"/>
                    <a:pt x="620588" y="1441302"/>
                    <a:pt x="629595" y="1456057"/>
                  </a:cubicBezTo>
                  <a:cubicBezTo>
                    <a:pt x="638601" y="1470810"/>
                    <a:pt x="661847" y="1482090"/>
                    <a:pt x="667123" y="1489081"/>
                  </a:cubicBezTo>
                  <a:cubicBezTo>
                    <a:pt x="672398" y="1496029"/>
                    <a:pt x="689640" y="1501219"/>
                    <a:pt x="689640" y="1519404"/>
                  </a:cubicBezTo>
                  <a:cubicBezTo>
                    <a:pt x="689640" y="1531971"/>
                    <a:pt x="684836" y="1555260"/>
                    <a:pt x="692342" y="1575632"/>
                  </a:cubicBezTo>
                  <a:cubicBezTo>
                    <a:pt x="693371" y="1575246"/>
                    <a:pt x="694400" y="1574946"/>
                    <a:pt x="695473" y="1574688"/>
                  </a:cubicBezTo>
                  <a:cubicBezTo>
                    <a:pt x="699161" y="1569542"/>
                    <a:pt x="703321" y="1564609"/>
                    <a:pt x="708725" y="1560149"/>
                  </a:cubicBezTo>
                  <a:cubicBezTo>
                    <a:pt x="729484" y="1542993"/>
                    <a:pt x="724294" y="1532743"/>
                    <a:pt x="733901" y="1512199"/>
                  </a:cubicBezTo>
                  <a:cubicBezTo>
                    <a:pt x="743551" y="1491612"/>
                    <a:pt x="735403" y="1483077"/>
                    <a:pt x="751701" y="1465063"/>
                  </a:cubicBezTo>
                  <a:cubicBezTo>
                    <a:pt x="767998" y="1447092"/>
                    <a:pt x="748741" y="1435084"/>
                    <a:pt x="769457" y="1423975"/>
                  </a:cubicBezTo>
                  <a:cubicBezTo>
                    <a:pt x="781165" y="1417713"/>
                    <a:pt x="785240" y="1421788"/>
                    <a:pt x="783610" y="1430966"/>
                  </a:cubicBezTo>
                  <a:cubicBezTo>
                    <a:pt x="784511" y="1429937"/>
                    <a:pt x="785369" y="1428907"/>
                    <a:pt x="786269" y="1427921"/>
                  </a:cubicBezTo>
                  <a:cubicBezTo>
                    <a:pt x="792789" y="1403260"/>
                    <a:pt x="802696" y="1376583"/>
                    <a:pt x="824827" y="1366332"/>
                  </a:cubicBezTo>
                  <a:cubicBezTo>
                    <a:pt x="830488" y="1354152"/>
                    <a:pt x="837136" y="1342571"/>
                    <a:pt x="847172" y="1331935"/>
                  </a:cubicBezTo>
                  <a:cubicBezTo>
                    <a:pt x="850861" y="1328032"/>
                    <a:pt x="854849" y="1325373"/>
                    <a:pt x="858967" y="1323572"/>
                  </a:cubicBezTo>
                  <a:cubicBezTo>
                    <a:pt x="859138" y="1315551"/>
                    <a:pt x="858838" y="1307145"/>
                    <a:pt x="858323" y="1299768"/>
                  </a:cubicBezTo>
                  <a:cubicBezTo>
                    <a:pt x="856822" y="1277466"/>
                    <a:pt x="850946" y="1256921"/>
                    <a:pt x="859052" y="1242382"/>
                  </a:cubicBezTo>
                  <a:cubicBezTo>
                    <a:pt x="867201" y="1227842"/>
                    <a:pt x="859052" y="1214118"/>
                    <a:pt x="869432" y="1214118"/>
                  </a:cubicBezTo>
                  <a:cubicBezTo>
                    <a:pt x="879811" y="1214118"/>
                    <a:pt x="895337" y="1196104"/>
                    <a:pt x="911635" y="1177276"/>
                  </a:cubicBezTo>
                  <a:cubicBezTo>
                    <a:pt x="927246" y="1159262"/>
                    <a:pt x="937454" y="1156904"/>
                    <a:pt x="953237" y="1155231"/>
                  </a:cubicBezTo>
                  <a:cubicBezTo>
                    <a:pt x="957097" y="1150556"/>
                    <a:pt x="962244" y="1146696"/>
                    <a:pt x="968849" y="1144122"/>
                  </a:cubicBezTo>
                  <a:cubicBezTo>
                    <a:pt x="973309" y="1142364"/>
                    <a:pt x="977727" y="1140520"/>
                    <a:pt x="982145" y="1138590"/>
                  </a:cubicBezTo>
                  <a:cubicBezTo>
                    <a:pt x="988964" y="1133400"/>
                    <a:pt x="994411" y="1125508"/>
                    <a:pt x="999815" y="1119890"/>
                  </a:cubicBezTo>
                  <a:cubicBezTo>
                    <a:pt x="1003933" y="1115601"/>
                    <a:pt x="1015084" y="1116330"/>
                    <a:pt x="1027221" y="1117831"/>
                  </a:cubicBezTo>
                  <a:cubicBezTo>
                    <a:pt x="1042790" y="1110926"/>
                    <a:pt x="1058659" y="1104750"/>
                    <a:pt x="1075386" y="1101276"/>
                  </a:cubicBezTo>
                  <a:cubicBezTo>
                    <a:pt x="1079203" y="1100461"/>
                    <a:pt x="1083149" y="1099818"/>
                    <a:pt x="1087052" y="1099131"/>
                  </a:cubicBezTo>
                  <a:cubicBezTo>
                    <a:pt x="1090097" y="1091626"/>
                    <a:pt x="1096187" y="1086479"/>
                    <a:pt x="1103521" y="1086479"/>
                  </a:cubicBezTo>
                  <a:cubicBezTo>
                    <a:pt x="1113901" y="1086479"/>
                    <a:pt x="1118361" y="1083048"/>
                    <a:pt x="1118361" y="1065935"/>
                  </a:cubicBezTo>
                  <a:cubicBezTo>
                    <a:pt x="1118361" y="1048822"/>
                    <a:pt x="1122779" y="1038529"/>
                    <a:pt x="1131657" y="1030809"/>
                  </a:cubicBezTo>
                  <a:cubicBezTo>
                    <a:pt x="1132086" y="1030423"/>
                    <a:pt x="1132429" y="1029951"/>
                    <a:pt x="1132815" y="1029565"/>
                  </a:cubicBezTo>
                  <a:cubicBezTo>
                    <a:pt x="1136632" y="999328"/>
                    <a:pt x="1135860" y="964502"/>
                    <a:pt x="1160307" y="948848"/>
                  </a:cubicBezTo>
                  <a:cubicBezTo>
                    <a:pt x="1161551" y="940956"/>
                    <a:pt x="1162794" y="933450"/>
                    <a:pt x="1162794" y="927188"/>
                  </a:cubicBezTo>
                  <a:cubicBezTo>
                    <a:pt x="1162794" y="914322"/>
                    <a:pt x="1174632" y="916037"/>
                    <a:pt x="1179822" y="906644"/>
                  </a:cubicBezTo>
                  <a:cubicBezTo>
                    <a:pt x="1185011" y="897209"/>
                    <a:pt x="1175404" y="885242"/>
                    <a:pt x="1183510" y="858694"/>
                  </a:cubicBezTo>
                  <a:cubicBezTo>
                    <a:pt x="1191659" y="832145"/>
                    <a:pt x="1183510" y="807313"/>
                    <a:pt x="1183510" y="783337"/>
                  </a:cubicBezTo>
                  <a:cubicBezTo>
                    <a:pt x="1183510" y="781665"/>
                    <a:pt x="1183510" y="779992"/>
                    <a:pt x="1183510" y="778320"/>
                  </a:cubicBezTo>
                  <a:cubicBezTo>
                    <a:pt x="1171673" y="766739"/>
                    <a:pt x="1167083" y="746281"/>
                    <a:pt x="1176605" y="731785"/>
                  </a:cubicBezTo>
                  <a:cubicBezTo>
                    <a:pt x="1180937" y="725137"/>
                    <a:pt x="1185483" y="718661"/>
                    <a:pt x="1190029" y="712184"/>
                  </a:cubicBezTo>
                  <a:cubicBezTo>
                    <a:pt x="1189600" y="711927"/>
                    <a:pt x="1189171" y="711627"/>
                    <a:pt x="1188700" y="711370"/>
                  </a:cubicBezTo>
                  <a:cubicBezTo>
                    <a:pt x="1182781" y="707938"/>
                    <a:pt x="1189429" y="698503"/>
                    <a:pt x="1194618" y="700261"/>
                  </a:cubicBezTo>
                  <a:cubicBezTo>
                    <a:pt x="1195476" y="700561"/>
                    <a:pt x="1196377" y="701162"/>
                    <a:pt x="1197278" y="701934"/>
                  </a:cubicBezTo>
                  <a:cubicBezTo>
                    <a:pt x="1206456" y="688981"/>
                    <a:pt x="1215634" y="676029"/>
                    <a:pt x="1223912" y="662433"/>
                  </a:cubicBezTo>
                  <a:cubicBezTo>
                    <a:pt x="1228415" y="655056"/>
                    <a:pt x="1235063" y="649738"/>
                    <a:pt x="1242483" y="646735"/>
                  </a:cubicBezTo>
                  <a:cubicBezTo>
                    <a:pt x="1250675" y="624132"/>
                    <a:pt x="1263670" y="624776"/>
                    <a:pt x="1273835" y="619758"/>
                  </a:cubicBezTo>
                  <a:cubicBezTo>
                    <a:pt x="1276580" y="618385"/>
                    <a:pt x="1280140" y="615340"/>
                    <a:pt x="1284128" y="610880"/>
                  </a:cubicBezTo>
                  <a:cubicBezTo>
                    <a:pt x="1282327" y="604232"/>
                    <a:pt x="1281941" y="596769"/>
                    <a:pt x="1283957" y="590765"/>
                  </a:cubicBezTo>
                  <a:cubicBezTo>
                    <a:pt x="1285072" y="587419"/>
                    <a:pt x="1286230" y="584074"/>
                    <a:pt x="1286959" y="580643"/>
                  </a:cubicBezTo>
                  <a:cubicBezTo>
                    <a:pt x="1287131" y="579013"/>
                    <a:pt x="1287345" y="577426"/>
                    <a:pt x="1287560" y="575796"/>
                  </a:cubicBezTo>
                  <a:cubicBezTo>
                    <a:pt x="1288718" y="567261"/>
                    <a:pt x="1295537" y="559798"/>
                    <a:pt x="1302270" y="554824"/>
                  </a:cubicBezTo>
                  <a:cubicBezTo>
                    <a:pt x="1299483" y="542257"/>
                    <a:pt x="1302614" y="528875"/>
                    <a:pt x="1313593" y="520512"/>
                  </a:cubicBezTo>
                  <a:cubicBezTo>
                    <a:pt x="1313593" y="517553"/>
                    <a:pt x="1314665" y="513778"/>
                    <a:pt x="1314966" y="510819"/>
                  </a:cubicBezTo>
                  <a:cubicBezTo>
                    <a:pt x="1316209" y="498510"/>
                    <a:pt x="1315652" y="485514"/>
                    <a:pt x="1314708" y="473205"/>
                  </a:cubicBezTo>
                  <a:cubicBezTo>
                    <a:pt x="1314108" y="465271"/>
                    <a:pt x="1313164" y="457550"/>
                    <a:pt x="1311749" y="44991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6" name="Freeform: Shape 183">
              <a:extLst>
                <a:ext uri="{FF2B5EF4-FFF2-40B4-BE49-F238E27FC236}">
                  <a16:creationId xmlns:a16="http://schemas.microsoft.com/office/drawing/2014/main" id="{DEFA7406-224C-3629-1947-DD601B141F02}"/>
                </a:ext>
              </a:extLst>
            </p:cNvPr>
            <p:cNvSpPr/>
            <p:nvPr/>
          </p:nvSpPr>
          <p:spPr>
            <a:xfrm>
              <a:off x="5490076" y="5367551"/>
              <a:ext cx="134494" cy="164017"/>
            </a:xfrm>
            <a:custGeom>
              <a:avLst/>
              <a:gdLst>
                <a:gd name="connsiteX0" fmla="*/ 82011 w 175846"/>
                <a:gd name="connsiteY0" fmla="*/ 209840 h 214446"/>
                <a:gd name="connsiteX1" fmla="*/ 112248 w 175846"/>
                <a:gd name="connsiteY1" fmla="*/ 193242 h 214446"/>
                <a:gd name="connsiteX2" fmla="*/ 135795 w 175846"/>
                <a:gd name="connsiteY2" fmla="*/ 193242 h 214446"/>
                <a:gd name="connsiteX3" fmla="*/ 139998 w 175846"/>
                <a:gd name="connsiteY3" fmla="*/ 188610 h 214446"/>
                <a:gd name="connsiteX4" fmla="*/ 164916 w 175846"/>
                <a:gd name="connsiteY4" fmla="*/ 164592 h 214446"/>
                <a:gd name="connsiteX5" fmla="*/ 172079 w 175846"/>
                <a:gd name="connsiteY5" fmla="*/ 160861 h 214446"/>
                <a:gd name="connsiteX6" fmla="*/ 169377 w 175846"/>
                <a:gd name="connsiteY6" fmla="*/ 104633 h 214446"/>
                <a:gd name="connsiteX7" fmla="*/ 146860 w 175846"/>
                <a:gd name="connsiteY7" fmla="*/ 74310 h 214446"/>
                <a:gd name="connsiteX8" fmla="*/ 109332 w 175846"/>
                <a:gd name="connsiteY8" fmla="*/ 41285 h 214446"/>
                <a:gd name="connsiteX9" fmla="*/ 90546 w 175846"/>
                <a:gd name="connsiteY9" fmla="*/ 47375 h 214446"/>
                <a:gd name="connsiteX10" fmla="*/ 75535 w 175846"/>
                <a:gd name="connsiteY10" fmla="*/ 20441 h 214446"/>
                <a:gd name="connsiteX11" fmla="*/ 47014 w 175846"/>
                <a:gd name="connsiteY11" fmla="*/ 8303 h 214446"/>
                <a:gd name="connsiteX12" fmla="*/ 37020 w 175846"/>
                <a:gd name="connsiteY12" fmla="*/ 9033 h 214446"/>
                <a:gd name="connsiteX13" fmla="*/ 26727 w 175846"/>
                <a:gd name="connsiteY13" fmla="*/ 30863 h 214446"/>
                <a:gd name="connsiteX14" fmla="*/ 15490 w 175846"/>
                <a:gd name="connsiteY14" fmla="*/ 96827 h 214446"/>
                <a:gd name="connsiteX15" fmla="*/ 6483 w 175846"/>
                <a:gd name="connsiteY15" fmla="*/ 147136 h 214446"/>
                <a:gd name="connsiteX16" fmla="*/ 16219 w 175846"/>
                <a:gd name="connsiteY16" fmla="*/ 170597 h 214446"/>
                <a:gd name="connsiteX17" fmla="*/ 13732 w 175846"/>
                <a:gd name="connsiteY17" fmla="*/ 186809 h 214446"/>
                <a:gd name="connsiteX18" fmla="*/ 26942 w 175846"/>
                <a:gd name="connsiteY18" fmla="*/ 194229 h 214446"/>
                <a:gd name="connsiteX19" fmla="*/ 69916 w 175846"/>
                <a:gd name="connsiteY19" fmla="*/ 207096 h 214446"/>
                <a:gd name="connsiteX20" fmla="*/ 82011 w 175846"/>
                <a:gd name="connsiteY20" fmla="*/ 209840 h 214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5846" h="214446">
                  <a:moveTo>
                    <a:pt x="82011" y="209840"/>
                  </a:moveTo>
                  <a:cubicBezTo>
                    <a:pt x="88831" y="199933"/>
                    <a:pt x="100368" y="193242"/>
                    <a:pt x="112248" y="193242"/>
                  </a:cubicBezTo>
                  <a:lnTo>
                    <a:pt x="135795" y="193242"/>
                  </a:lnTo>
                  <a:cubicBezTo>
                    <a:pt x="137253" y="191741"/>
                    <a:pt x="138668" y="190197"/>
                    <a:pt x="139998" y="188610"/>
                  </a:cubicBezTo>
                  <a:cubicBezTo>
                    <a:pt x="147675" y="179303"/>
                    <a:pt x="155095" y="171712"/>
                    <a:pt x="164916" y="164592"/>
                  </a:cubicBezTo>
                  <a:cubicBezTo>
                    <a:pt x="167190" y="162919"/>
                    <a:pt x="169591" y="161718"/>
                    <a:pt x="172079" y="160861"/>
                  </a:cubicBezTo>
                  <a:cubicBezTo>
                    <a:pt x="164573" y="140488"/>
                    <a:pt x="169377" y="117199"/>
                    <a:pt x="169377" y="104633"/>
                  </a:cubicBezTo>
                  <a:cubicBezTo>
                    <a:pt x="169377" y="86448"/>
                    <a:pt x="152135" y="81215"/>
                    <a:pt x="146860" y="74310"/>
                  </a:cubicBezTo>
                  <a:cubicBezTo>
                    <a:pt x="141627" y="67362"/>
                    <a:pt x="118339" y="56082"/>
                    <a:pt x="109332" y="41285"/>
                  </a:cubicBezTo>
                  <a:cubicBezTo>
                    <a:pt x="100325" y="26531"/>
                    <a:pt x="95050" y="46475"/>
                    <a:pt x="90546" y="47375"/>
                  </a:cubicBezTo>
                  <a:cubicBezTo>
                    <a:pt x="86043" y="48234"/>
                    <a:pt x="86772" y="36096"/>
                    <a:pt x="75535" y="20441"/>
                  </a:cubicBezTo>
                  <a:cubicBezTo>
                    <a:pt x="64255" y="4830"/>
                    <a:pt x="53747" y="4830"/>
                    <a:pt x="47014" y="8303"/>
                  </a:cubicBezTo>
                  <a:cubicBezTo>
                    <a:pt x="44655" y="9504"/>
                    <a:pt x="41181" y="9676"/>
                    <a:pt x="37020" y="9033"/>
                  </a:cubicBezTo>
                  <a:cubicBezTo>
                    <a:pt x="31059" y="16967"/>
                    <a:pt x="26727" y="24173"/>
                    <a:pt x="26727" y="30863"/>
                  </a:cubicBezTo>
                  <a:cubicBezTo>
                    <a:pt x="26727" y="47333"/>
                    <a:pt x="16219" y="65561"/>
                    <a:pt x="15490" y="96827"/>
                  </a:cubicBezTo>
                  <a:cubicBezTo>
                    <a:pt x="14718" y="128050"/>
                    <a:pt x="7212" y="122861"/>
                    <a:pt x="6483" y="147136"/>
                  </a:cubicBezTo>
                  <a:cubicBezTo>
                    <a:pt x="5754" y="171411"/>
                    <a:pt x="13217" y="167080"/>
                    <a:pt x="16219" y="170597"/>
                  </a:cubicBezTo>
                  <a:cubicBezTo>
                    <a:pt x="17892" y="172484"/>
                    <a:pt x="15876" y="180247"/>
                    <a:pt x="13732" y="186809"/>
                  </a:cubicBezTo>
                  <a:cubicBezTo>
                    <a:pt x="16905" y="190025"/>
                    <a:pt x="20036" y="195086"/>
                    <a:pt x="26942" y="194229"/>
                  </a:cubicBezTo>
                  <a:cubicBezTo>
                    <a:pt x="40280" y="192513"/>
                    <a:pt x="53619" y="198518"/>
                    <a:pt x="69916" y="207096"/>
                  </a:cubicBezTo>
                  <a:cubicBezTo>
                    <a:pt x="76865" y="210741"/>
                    <a:pt x="79738" y="210784"/>
                    <a:pt x="82011" y="20984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7" name="Freeform: Shape 184">
              <a:extLst>
                <a:ext uri="{FF2B5EF4-FFF2-40B4-BE49-F238E27FC236}">
                  <a16:creationId xmlns:a16="http://schemas.microsoft.com/office/drawing/2014/main" id="{1F2A5C24-9BBD-E606-4C25-5A00843F734D}"/>
                </a:ext>
              </a:extLst>
            </p:cNvPr>
            <p:cNvSpPr/>
            <p:nvPr/>
          </p:nvSpPr>
          <p:spPr>
            <a:xfrm>
              <a:off x="5098716" y="5104049"/>
              <a:ext cx="521574" cy="1066110"/>
            </a:xfrm>
            <a:custGeom>
              <a:avLst/>
              <a:gdLst>
                <a:gd name="connsiteX0" fmla="*/ 670473 w 681939"/>
                <a:gd name="connsiteY0" fmla="*/ 157592 h 1393902"/>
                <a:gd name="connsiteX1" fmla="*/ 648514 w 681939"/>
                <a:gd name="connsiteY1" fmla="*/ 155919 h 1393902"/>
                <a:gd name="connsiteX2" fmla="*/ 648642 w 681939"/>
                <a:gd name="connsiteY2" fmla="*/ 159865 h 1393902"/>
                <a:gd name="connsiteX3" fmla="*/ 631615 w 681939"/>
                <a:gd name="connsiteY3" fmla="*/ 216650 h 1393902"/>
                <a:gd name="connsiteX4" fmla="*/ 605539 w 681939"/>
                <a:gd name="connsiteY4" fmla="*/ 231747 h 1393902"/>
                <a:gd name="connsiteX5" fmla="*/ 576460 w 681939"/>
                <a:gd name="connsiteY5" fmla="*/ 238695 h 1393902"/>
                <a:gd name="connsiteX6" fmla="*/ 544379 w 681939"/>
                <a:gd name="connsiteY6" fmla="*/ 235222 h 1393902"/>
                <a:gd name="connsiteX7" fmla="*/ 513284 w 681939"/>
                <a:gd name="connsiteY7" fmla="*/ 227158 h 1393902"/>
                <a:gd name="connsiteX8" fmla="*/ 524306 w 681939"/>
                <a:gd name="connsiteY8" fmla="*/ 201639 h 1393902"/>
                <a:gd name="connsiteX9" fmla="*/ 550383 w 681939"/>
                <a:gd name="connsiteY9" fmla="*/ 149486 h 1393902"/>
                <a:gd name="connsiteX10" fmla="*/ 488237 w 681939"/>
                <a:gd name="connsiteY10" fmla="*/ 113502 h 1393902"/>
                <a:gd name="connsiteX11" fmla="*/ 451137 w 681939"/>
                <a:gd name="connsiteY11" fmla="*/ 91457 h 1393902"/>
                <a:gd name="connsiteX12" fmla="*/ 414038 w 681939"/>
                <a:gd name="connsiteY12" fmla="*/ 64780 h 1393902"/>
                <a:gd name="connsiteX13" fmla="*/ 367675 w 681939"/>
                <a:gd name="connsiteY13" fmla="*/ 9924 h 1393902"/>
                <a:gd name="connsiteX14" fmla="*/ 334693 w 681939"/>
                <a:gd name="connsiteY14" fmla="*/ 10267 h 1393902"/>
                <a:gd name="connsiteX15" fmla="*/ 314964 w 681939"/>
                <a:gd name="connsiteY15" fmla="*/ 33084 h 1393902"/>
                <a:gd name="connsiteX16" fmla="*/ 276449 w 681939"/>
                <a:gd name="connsiteY16" fmla="*/ 14771 h 1393902"/>
                <a:gd name="connsiteX17" fmla="*/ 246812 w 681939"/>
                <a:gd name="connsiteY17" fmla="*/ 15929 h 1393902"/>
                <a:gd name="connsiteX18" fmla="*/ 222366 w 681939"/>
                <a:gd name="connsiteY18" fmla="*/ 39303 h 1393902"/>
                <a:gd name="connsiteX19" fmla="*/ 215546 w 681939"/>
                <a:gd name="connsiteY19" fmla="*/ 84466 h 1393902"/>
                <a:gd name="connsiteX20" fmla="*/ 177461 w 681939"/>
                <a:gd name="connsiteY20" fmla="*/ 119249 h 1393902"/>
                <a:gd name="connsiteX21" fmla="*/ 175445 w 681939"/>
                <a:gd name="connsiteY21" fmla="*/ 147084 h 1393902"/>
                <a:gd name="connsiteX22" fmla="*/ 178447 w 681939"/>
                <a:gd name="connsiteY22" fmla="*/ 188815 h 1393902"/>
                <a:gd name="connsiteX23" fmla="*/ 179434 w 681939"/>
                <a:gd name="connsiteY23" fmla="*/ 214335 h 1393902"/>
                <a:gd name="connsiteX24" fmla="*/ 159404 w 681939"/>
                <a:gd name="connsiteY24" fmla="*/ 232863 h 1393902"/>
                <a:gd name="connsiteX25" fmla="*/ 149368 w 681939"/>
                <a:gd name="connsiteY25" fmla="*/ 265330 h 1393902"/>
                <a:gd name="connsiteX26" fmla="*/ 134314 w 681939"/>
                <a:gd name="connsiteY26" fmla="*/ 300113 h 1393902"/>
                <a:gd name="connsiteX27" fmla="*/ 125307 w 681939"/>
                <a:gd name="connsiteY27" fmla="*/ 320957 h 1393902"/>
                <a:gd name="connsiteX28" fmla="*/ 125307 w 681939"/>
                <a:gd name="connsiteY28" fmla="*/ 360372 h 1393902"/>
                <a:gd name="connsiteX29" fmla="*/ 111239 w 681939"/>
                <a:gd name="connsiteY29" fmla="*/ 390567 h 1393902"/>
                <a:gd name="connsiteX30" fmla="*/ 111239 w 681939"/>
                <a:gd name="connsiteY30" fmla="*/ 432298 h 1393902"/>
                <a:gd name="connsiteX31" fmla="*/ 122305 w 681939"/>
                <a:gd name="connsiteY31" fmla="*/ 470598 h 1393902"/>
                <a:gd name="connsiteX32" fmla="*/ 130325 w 681939"/>
                <a:gd name="connsiteY32" fmla="*/ 504223 h 1393902"/>
                <a:gd name="connsiteX33" fmla="*/ 121319 w 681939"/>
                <a:gd name="connsiteY33" fmla="*/ 536690 h 1393902"/>
                <a:gd name="connsiteX34" fmla="*/ 111282 w 681939"/>
                <a:gd name="connsiteY34" fmla="*/ 564525 h 1393902"/>
                <a:gd name="connsiteX35" fmla="*/ 111282 w 681939"/>
                <a:gd name="connsiteY35" fmla="*/ 613205 h 1393902"/>
                <a:gd name="connsiteX36" fmla="*/ 86235 w 681939"/>
                <a:gd name="connsiteY36" fmla="*/ 651462 h 1393902"/>
                <a:gd name="connsiteX37" fmla="*/ 87222 w 681939"/>
                <a:gd name="connsiteY37" fmla="*/ 702500 h 1393902"/>
                <a:gd name="connsiteX38" fmla="*/ 95242 w 681939"/>
                <a:gd name="connsiteY38" fmla="*/ 724503 h 1393902"/>
                <a:gd name="connsiteX39" fmla="*/ 76199 w 681939"/>
                <a:gd name="connsiteY39" fmla="*/ 739557 h 1393902"/>
                <a:gd name="connsiteX40" fmla="*/ 74183 w 681939"/>
                <a:gd name="connsiteY40" fmla="*/ 768550 h 1393902"/>
                <a:gd name="connsiteX41" fmla="*/ 65133 w 681939"/>
                <a:gd name="connsiteY41" fmla="*/ 792911 h 1393902"/>
                <a:gd name="connsiteX42" fmla="*/ 56127 w 681939"/>
                <a:gd name="connsiteY42" fmla="*/ 819546 h 1393902"/>
                <a:gd name="connsiteX43" fmla="*/ 63118 w 681939"/>
                <a:gd name="connsiteY43" fmla="*/ 846223 h 1393902"/>
                <a:gd name="connsiteX44" fmla="*/ 61102 w 681939"/>
                <a:gd name="connsiteY44" fmla="*/ 887954 h 1393902"/>
                <a:gd name="connsiteX45" fmla="*/ 56084 w 681939"/>
                <a:gd name="connsiteY45" fmla="*/ 928527 h 1393902"/>
                <a:gd name="connsiteX46" fmla="*/ 59086 w 681939"/>
                <a:gd name="connsiteY46" fmla="*/ 949372 h 1393902"/>
                <a:gd name="connsiteX47" fmla="*/ 64104 w 681939"/>
                <a:gd name="connsiteY47" fmla="*/ 973732 h 1393902"/>
                <a:gd name="connsiteX48" fmla="*/ 74140 w 681939"/>
                <a:gd name="connsiteY48" fmla="*/ 993461 h 1393902"/>
                <a:gd name="connsiteX49" fmla="*/ 79158 w 681939"/>
                <a:gd name="connsiteY49" fmla="*/ 1010832 h 1393902"/>
                <a:gd name="connsiteX50" fmla="*/ 66120 w 681939"/>
                <a:gd name="connsiteY50" fmla="*/ 1018981 h 1393902"/>
                <a:gd name="connsiteX51" fmla="*/ 71138 w 681939"/>
                <a:gd name="connsiteY51" fmla="*/ 1044457 h 1393902"/>
                <a:gd name="connsiteX52" fmla="*/ 66120 w 681939"/>
                <a:gd name="connsiteY52" fmla="*/ 1074608 h 1393902"/>
                <a:gd name="connsiteX53" fmla="*/ 65133 w 681939"/>
                <a:gd name="connsiteY53" fmla="*/ 1104759 h 1393902"/>
                <a:gd name="connsiteX54" fmla="*/ 55097 w 681939"/>
                <a:gd name="connsiteY54" fmla="*/ 1131436 h 1393902"/>
                <a:gd name="connsiteX55" fmla="*/ 41073 w 681939"/>
                <a:gd name="connsiteY55" fmla="*/ 1156955 h 1393902"/>
                <a:gd name="connsiteX56" fmla="*/ 42059 w 681939"/>
                <a:gd name="connsiteY56" fmla="*/ 1187064 h 1393902"/>
                <a:gd name="connsiteX57" fmla="*/ 28034 w 681939"/>
                <a:gd name="connsiteY57" fmla="*/ 1213741 h 1393902"/>
                <a:gd name="connsiteX58" fmla="*/ 9978 w 681939"/>
                <a:gd name="connsiteY58" fmla="*/ 1239260 h 1393902"/>
                <a:gd name="connsiteX59" fmla="*/ 10964 w 681939"/>
                <a:gd name="connsiteY59" fmla="*/ 1275202 h 1393902"/>
                <a:gd name="connsiteX60" fmla="*/ 16969 w 681939"/>
                <a:gd name="connsiteY60" fmla="*/ 1300720 h 1393902"/>
                <a:gd name="connsiteX61" fmla="*/ 48064 w 681939"/>
                <a:gd name="connsiteY61" fmla="*/ 1312301 h 1393902"/>
                <a:gd name="connsiteX62" fmla="*/ 50079 w 681939"/>
                <a:gd name="connsiteY62" fmla="*/ 1356391 h 1393902"/>
                <a:gd name="connsiteX63" fmla="*/ 66120 w 681939"/>
                <a:gd name="connsiteY63" fmla="*/ 1372603 h 1393902"/>
                <a:gd name="connsiteX64" fmla="*/ 125264 w 681939"/>
                <a:gd name="connsiteY64" fmla="*/ 1371445 h 1393902"/>
                <a:gd name="connsiteX65" fmla="*/ 143278 w 681939"/>
                <a:gd name="connsiteY65" fmla="*/ 1383454 h 1393902"/>
                <a:gd name="connsiteX66" fmla="*/ 174930 w 681939"/>
                <a:gd name="connsiteY66" fmla="*/ 1388344 h 1393902"/>
                <a:gd name="connsiteX67" fmla="*/ 157174 w 681939"/>
                <a:gd name="connsiteY67" fmla="*/ 1352359 h 1393902"/>
                <a:gd name="connsiteX68" fmla="*/ 153486 w 681939"/>
                <a:gd name="connsiteY68" fmla="*/ 1323237 h 1393902"/>
                <a:gd name="connsiteX69" fmla="*/ 160133 w 681939"/>
                <a:gd name="connsiteY69" fmla="*/ 1287253 h 1393902"/>
                <a:gd name="connsiteX70" fmla="*/ 176045 w 681939"/>
                <a:gd name="connsiteY70" fmla="*/ 1271684 h 1393902"/>
                <a:gd name="connsiteX71" fmla="*/ 198047 w 681939"/>
                <a:gd name="connsiteY71" fmla="*/ 1249468 h 1393902"/>
                <a:gd name="connsiteX72" fmla="*/ 198648 w 681939"/>
                <a:gd name="connsiteY72" fmla="*/ 1244407 h 1393902"/>
                <a:gd name="connsiteX73" fmla="*/ 217562 w 681939"/>
                <a:gd name="connsiteY73" fmla="*/ 1206321 h 1393902"/>
                <a:gd name="connsiteX74" fmla="*/ 224167 w 681939"/>
                <a:gd name="connsiteY74" fmla="*/ 1199159 h 1393902"/>
                <a:gd name="connsiteX75" fmla="*/ 236262 w 681939"/>
                <a:gd name="connsiteY75" fmla="*/ 1181403 h 1393902"/>
                <a:gd name="connsiteX76" fmla="*/ 236819 w 681939"/>
                <a:gd name="connsiteY76" fmla="*/ 1180587 h 1393902"/>
                <a:gd name="connsiteX77" fmla="*/ 237377 w 681939"/>
                <a:gd name="connsiteY77" fmla="*/ 1179730 h 1393902"/>
                <a:gd name="connsiteX78" fmla="*/ 242481 w 681939"/>
                <a:gd name="connsiteY78" fmla="*/ 1172053 h 1393902"/>
                <a:gd name="connsiteX79" fmla="*/ 261781 w 681939"/>
                <a:gd name="connsiteY79" fmla="*/ 1151594 h 1393902"/>
                <a:gd name="connsiteX80" fmla="*/ 267528 w 681939"/>
                <a:gd name="connsiteY80" fmla="*/ 1126161 h 1393902"/>
                <a:gd name="connsiteX81" fmla="*/ 234203 w 681939"/>
                <a:gd name="connsiteY81" fmla="*/ 1115868 h 1393902"/>
                <a:gd name="connsiteX82" fmla="*/ 211257 w 681939"/>
                <a:gd name="connsiteY82" fmla="*/ 1056766 h 1393902"/>
                <a:gd name="connsiteX83" fmla="*/ 233946 w 681939"/>
                <a:gd name="connsiteY83" fmla="*/ 1030947 h 1393902"/>
                <a:gd name="connsiteX84" fmla="*/ 241194 w 681939"/>
                <a:gd name="connsiteY84" fmla="*/ 1020053 h 1393902"/>
                <a:gd name="connsiteX85" fmla="*/ 260923 w 681939"/>
                <a:gd name="connsiteY85" fmla="*/ 1009974 h 1393902"/>
                <a:gd name="connsiteX86" fmla="*/ 272503 w 681939"/>
                <a:gd name="connsiteY86" fmla="*/ 1002039 h 1393902"/>
                <a:gd name="connsiteX87" fmla="*/ 274219 w 681939"/>
                <a:gd name="connsiteY87" fmla="*/ 1000195 h 1393902"/>
                <a:gd name="connsiteX88" fmla="*/ 283097 w 681939"/>
                <a:gd name="connsiteY88" fmla="*/ 973647 h 1393902"/>
                <a:gd name="connsiteX89" fmla="*/ 296435 w 681939"/>
                <a:gd name="connsiteY89" fmla="*/ 934232 h 1393902"/>
                <a:gd name="connsiteX90" fmla="*/ 305314 w 681939"/>
                <a:gd name="connsiteY90" fmla="*/ 921365 h 1393902"/>
                <a:gd name="connsiteX91" fmla="*/ 306815 w 681939"/>
                <a:gd name="connsiteY91" fmla="*/ 905925 h 1393902"/>
                <a:gd name="connsiteX92" fmla="*/ 325343 w 681939"/>
                <a:gd name="connsiteY92" fmla="*/ 918791 h 1393902"/>
                <a:gd name="connsiteX93" fmla="*/ 338682 w 681939"/>
                <a:gd name="connsiteY93" fmla="*/ 888812 h 1393902"/>
                <a:gd name="connsiteX94" fmla="*/ 315736 w 681939"/>
                <a:gd name="connsiteY94" fmla="*/ 895674 h 1393902"/>
                <a:gd name="connsiteX95" fmla="*/ 297207 w 681939"/>
                <a:gd name="connsiteY95" fmla="*/ 885381 h 1393902"/>
                <a:gd name="connsiteX96" fmla="*/ 292018 w 681939"/>
                <a:gd name="connsiteY96" fmla="*/ 856259 h 1393902"/>
                <a:gd name="connsiteX97" fmla="*/ 290517 w 681939"/>
                <a:gd name="connsiteY97" fmla="*/ 820274 h 1393902"/>
                <a:gd name="connsiteX98" fmla="*/ 343828 w 681939"/>
                <a:gd name="connsiteY98" fmla="*/ 836572 h 1393902"/>
                <a:gd name="connsiteX99" fmla="*/ 382343 w 681939"/>
                <a:gd name="connsiteY99" fmla="*/ 814270 h 1393902"/>
                <a:gd name="connsiteX100" fmla="*/ 385302 w 681939"/>
                <a:gd name="connsiteY100" fmla="*/ 777471 h 1393902"/>
                <a:gd name="connsiteX101" fmla="*/ 383844 w 681939"/>
                <a:gd name="connsiteY101" fmla="*/ 750065 h 1393902"/>
                <a:gd name="connsiteX102" fmla="*/ 395681 w 681939"/>
                <a:gd name="connsiteY102" fmla="*/ 734625 h 1393902"/>
                <a:gd name="connsiteX103" fmla="*/ 450751 w 681939"/>
                <a:gd name="connsiteY103" fmla="*/ 734582 h 1393902"/>
                <a:gd name="connsiteX104" fmla="*/ 461216 w 681939"/>
                <a:gd name="connsiteY104" fmla="*/ 728320 h 1393902"/>
                <a:gd name="connsiteX105" fmla="*/ 504234 w 681939"/>
                <a:gd name="connsiteY105" fmla="*/ 708805 h 1393902"/>
                <a:gd name="connsiteX106" fmla="*/ 531683 w 681939"/>
                <a:gd name="connsiteY106" fmla="*/ 692850 h 1393902"/>
                <a:gd name="connsiteX107" fmla="*/ 538331 w 681939"/>
                <a:gd name="connsiteY107" fmla="*/ 687918 h 1393902"/>
                <a:gd name="connsiteX108" fmla="*/ 539446 w 681939"/>
                <a:gd name="connsiteY108" fmla="*/ 683672 h 1393902"/>
                <a:gd name="connsiteX109" fmla="*/ 556302 w 681939"/>
                <a:gd name="connsiteY109" fmla="*/ 658925 h 1393902"/>
                <a:gd name="connsiteX110" fmla="*/ 569126 w 681939"/>
                <a:gd name="connsiteY110" fmla="*/ 652491 h 1393902"/>
                <a:gd name="connsiteX111" fmla="*/ 575645 w 681939"/>
                <a:gd name="connsiteY111" fmla="*/ 642113 h 1393902"/>
                <a:gd name="connsiteX112" fmla="*/ 561577 w 681939"/>
                <a:gd name="connsiteY112" fmla="*/ 616422 h 1393902"/>
                <a:gd name="connsiteX113" fmla="*/ 555658 w 681939"/>
                <a:gd name="connsiteY113" fmla="*/ 583054 h 1393902"/>
                <a:gd name="connsiteX114" fmla="*/ 537130 w 681939"/>
                <a:gd name="connsiteY114" fmla="*/ 559936 h 1393902"/>
                <a:gd name="connsiteX115" fmla="*/ 513413 w 681939"/>
                <a:gd name="connsiteY115" fmla="*/ 533388 h 1393902"/>
                <a:gd name="connsiteX116" fmla="*/ 525379 w 681939"/>
                <a:gd name="connsiteY116" fmla="*/ 531115 h 1393902"/>
                <a:gd name="connsiteX117" fmla="*/ 527866 w 681939"/>
                <a:gd name="connsiteY117" fmla="*/ 514903 h 1393902"/>
                <a:gd name="connsiteX118" fmla="*/ 518130 w 681939"/>
                <a:gd name="connsiteY118" fmla="*/ 491442 h 1393902"/>
                <a:gd name="connsiteX119" fmla="*/ 527137 w 681939"/>
                <a:gd name="connsiteY119" fmla="*/ 441133 h 1393902"/>
                <a:gd name="connsiteX120" fmla="*/ 538374 w 681939"/>
                <a:gd name="connsiteY120" fmla="*/ 375170 h 1393902"/>
                <a:gd name="connsiteX121" fmla="*/ 578132 w 681939"/>
                <a:gd name="connsiteY121" fmla="*/ 312679 h 1393902"/>
                <a:gd name="connsiteX122" fmla="*/ 635904 w 681939"/>
                <a:gd name="connsiteY122" fmla="*/ 242384 h 1393902"/>
                <a:gd name="connsiteX123" fmla="*/ 676435 w 681939"/>
                <a:gd name="connsiteY123" fmla="*/ 216350 h 1393902"/>
                <a:gd name="connsiteX124" fmla="*/ 670473 w 681939"/>
                <a:gd name="connsiteY124" fmla="*/ 157592 h 1393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681939" h="1393902">
                  <a:moveTo>
                    <a:pt x="670473" y="157592"/>
                  </a:moveTo>
                  <a:cubicBezTo>
                    <a:pt x="667085" y="155619"/>
                    <a:pt x="656877" y="155619"/>
                    <a:pt x="648514" y="155919"/>
                  </a:cubicBezTo>
                  <a:cubicBezTo>
                    <a:pt x="648471" y="157377"/>
                    <a:pt x="648514" y="158707"/>
                    <a:pt x="648642" y="159865"/>
                  </a:cubicBezTo>
                  <a:cubicBezTo>
                    <a:pt x="650658" y="176077"/>
                    <a:pt x="641651" y="217808"/>
                    <a:pt x="631615" y="216650"/>
                  </a:cubicBezTo>
                  <a:cubicBezTo>
                    <a:pt x="621579" y="215535"/>
                    <a:pt x="613559" y="234064"/>
                    <a:pt x="605539" y="231747"/>
                  </a:cubicBezTo>
                  <a:cubicBezTo>
                    <a:pt x="597518" y="229431"/>
                    <a:pt x="586496" y="245643"/>
                    <a:pt x="576460" y="238695"/>
                  </a:cubicBezTo>
                  <a:cubicBezTo>
                    <a:pt x="566424" y="231747"/>
                    <a:pt x="552399" y="241055"/>
                    <a:pt x="544379" y="235222"/>
                  </a:cubicBezTo>
                  <a:cubicBezTo>
                    <a:pt x="536358" y="229431"/>
                    <a:pt x="513284" y="234064"/>
                    <a:pt x="513284" y="227158"/>
                  </a:cubicBezTo>
                  <a:cubicBezTo>
                    <a:pt x="513284" y="220167"/>
                    <a:pt x="524306" y="222526"/>
                    <a:pt x="524306" y="201639"/>
                  </a:cubicBezTo>
                  <a:cubicBezTo>
                    <a:pt x="524306" y="180795"/>
                    <a:pt x="554372" y="157592"/>
                    <a:pt x="550383" y="149486"/>
                  </a:cubicBezTo>
                  <a:cubicBezTo>
                    <a:pt x="546394" y="141337"/>
                    <a:pt x="495228" y="123967"/>
                    <a:pt x="488237" y="113502"/>
                  </a:cubicBezTo>
                  <a:cubicBezTo>
                    <a:pt x="481203" y="103079"/>
                    <a:pt x="471209" y="93773"/>
                    <a:pt x="451137" y="91457"/>
                  </a:cubicBezTo>
                  <a:cubicBezTo>
                    <a:pt x="431065" y="89140"/>
                    <a:pt x="432094" y="77561"/>
                    <a:pt x="414038" y="64780"/>
                  </a:cubicBezTo>
                  <a:cubicBezTo>
                    <a:pt x="398984" y="54143"/>
                    <a:pt x="375566" y="25750"/>
                    <a:pt x="367675" y="9924"/>
                  </a:cubicBezTo>
                  <a:cubicBezTo>
                    <a:pt x="355451" y="8423"/>
                    <a:pt x="338124" y="5463"/>
                    <a:pt x="334693" y="10267"/>
                  </a:cubicBezTo>
                  <a:cubicBezTo>
                    <a:pt x="329761" y="17129"/>
                    <a:pt x="321869" y="49082"/>
                    <a:pt x="314964" y="33084"/>
                  </a:cubicBezTo>
                  <a:cubicBezTo>
                    <a:pt x="308059" y="17129"/>
                    <a:pt x="291246" y="17129"/>
                    <a:pt x="276449" y="14771"/>
                  </a:cubicBezTo>
                  <a:cubicBezTo>
                    <a:pt x="261652" y="12540"/>
                    <a:pt x="262639" y="-3500"/>
                    <a:pt x="246812" y="15929"/>
                  </a:cubicBezTo>
                  <a:cubicBezTo>
                    <a:pt x="239779" y="24592"/>
                    <a:pt x="230643" y="33084"/>
                    <a:pt x="222366" y="39303"/>
                  </a:cubicBezTo>
                  <a:cubicBezTo>
                    <a:pt x="221379" y="57789"/>
                    <a:pt x="218463" y="78547"/>
                    <a:pt x="215546" y="84466"/>
                  </a:cubicBezTo>
                  <a:cubicBezTo>
                    <a:pt x="211515" y="92572"/>
                    <a:pt x="178447" y="109985"/>
                    <a:pt x="177461" y="119249"/>
                  </a:cubicBezTo>
                  <a:cubicBezTo>
                    <a:pt x="176431" y="128513"/>
                    <a:pt x="181449" y="141294"/>
                    <a:pt x="175445" y="147084"/>
                  </a:cubicBezTo>
                  <a:cubicBezTo>
                    <a:pt x="169440" y="152874"/>
                    <a:pt x="189470" y="181824"/>
                    <a:pt x="178447" y="188815"/>
                  </a:cubicBezTo>
                  <a:cubicBezTo>
                    <a:pt x="167425" y="195763"/>
                    <a:pt x="186467" y="207387"/>
                    <a:pt x="179434" y="214335"/>
                  </a:cubicBezTo>
                  <a:cubicBezTo>
                    <a:pt x="172400" y="221283"/>
                    <a:pt x="159404" y="224756"/>
                    <a:pt x="159404" y="232863"/>
                  </a:cubicBezTo>
                  <a:cubicBezTo>
                    <a:pt x="159404" y="241012"/>
                    <a:pt x="158375" y="260698"/>
                    <a:pt x="149368" y="265330"/>
                  </a:cubicBezTo>
                  <a:cubicBezTo>
                    <a:pt x="140361" y="270005"/>
                    <a:pt x="134314" y="287375"/>
                    <a:pt x="134314" y="300113"/>
                  </a:cubicBezTo>
                  <a:cubicBezTo>
                    <a:pt x="134314" y="312851"/>
                    <a:pt x="120246" y="304745"/>
                    <a:pt x="125307" y="320957"/>
                  </a:cubicBezTo>
                  <a:cubicBezTo>
                    <a:pt x="130282" y="337212"/>
                    <a:pt x="136330" y="356942"/>
                    <a:pt x="125307" y="360372"/>
                  </a:cubicBezTo>
                  <a:cubicBezTo>
                    <a:pt x="114285" y="363890"/>
                    <a:pt x="117287" y="390567"/>
                    <a:pt x="111239" y="390567"/>
                  </a:cubicBezTo>
                  <a:cubicBezTo>
                    <a:pt x="105235" y="390567"/>
                    <a:pt x="102233" y="418402"/>
                    <a:pt x="111239" y="432298"/>
                  </a:cubicBezTo>
                  <a:cubicBezTo>
                    <a:pt x="120289" y="446194"/>
                    <a:pt x="122305" y="457817"/>
                    <a:pt x="122305" y="470598"/>
                  </a:cubicBezTo>
                  <a:cubicBezTo>
                    <a:pt x="122305" y="483336"/>
                    <a:pt x="134314" y="490284"/>
                    <a:pt x="130325" y="504223"/>
                  </a:cubicBezTo>
                  <a:cubicBezTo>
                    <a:pt x="126337" y="518119"/>
                    <a:pt x="128352" y="530900"/>
                    <a:pt x="121319" y="536690"/>
                  </a:cubicBezTo>
                  <a:cubicBezTo>
                    <a:pt x="114285" y="542523"/>
                    <a:pt x="120332" y="559851"/>
                    <a:pt x="111282" y="564525"/>
                  </a:cubicBezTo>
                  <a:cubicBezTo>
                    <a:pt x="102276" y="569158"/>
                    <a:pt x="118316" y="606257"/>
                    <a:pt x="111282" y="613205"/>
                  </a:cubicBezTo>
                  <a:cubicBezTo>
                    <a:pt x="104291" y="620196"/>
                    <a:pt x="86235" y="625986"/>
                    <a:pt x="86235" y="651462"/>
                  </a:cubicBezTo>
                  <a:cubicBezTo>
                    <a:pt x="86235" y="676982"/>
                    <a:pt x="89666" y="691392"/>
                    <a:pt x="87222" y="702500"/>
                  </a:cubicBezTo>
                  <a:cubicBezTo>
                    <a:pt x="85206" y="711765"/>
                    <a:pt x="97257" y="709406"/>
                    <a:pt x="95242" y="724503"/>
                  </a:cubicBezTo>
                  <a:cubicBezTo>
                    <a:pt x="93226" y="739557"/>
                    <a:pt x="77185" y="730293"/>
                    <a:pt x="76199" y="739557"/>
                  </a:cubicBezTo>
                  <a:cubicBezTo>
                    <a:pt x="75213" y="748821"/>
                    <a:pt x="80231" y="767392"/>
                    <a:pt x="74183" y="768550"/>
                  </a:cubicBezTo>
                  <a:cubicBezTo>
                    <a:pt x="68179" y="769708"/>
                    <a:pt x="65133" y="776656"/>
                    <a:pt x="65133" y="792911"/>
                  </a:cubicBezTo>
                  <a:cubicBezTo>
                    <a:pt x="65133" y="809123"/>
                    <a:pt x="57113" y="811439"/>
                    <a:pt x="56127" y="819546"/>
                  </a:cubicBezTo>
                  <a:cubicBezTo>
                    <a:pt x="55097" y="827652"/>
                    <a:pt x="63118" y="836958"/>
                    <a:pt x="63118" y="846223"/>
                  </a:cubicBezTo>
                  <a:cubicBezTo>
                    <a:pt x="63118" y="855530"/>
                    <a:pt x="68136" y="886796"/>
                    <a:pt x="61102" y="887954"/>
                  </a:cubicBezTo>
                  <a:cubicBezTo>
                    <a:pt x="54068" y="889112"/>
                    <a:pt x="50079" y="923895"/>
                    <a:pt x="56084" y="928527"/>
                  </a:cubicBezTo>
                  <a:cubicBezTo>
                    <a:pt x="62088" y="933159"/>
                    <a:pt x="62088" y="942466"/>
                    <a:pt x="59086" y="949372"/>
                  </a:cubicBezTo>
                  <a:cubicBezTo>
                    <a:pt x="56084" y="956320"/>
                    <a:pt x="73111" y="963268"/>
                    <a:pt x="64104" y="973732"/>
                  </a:cubicBezTo>
                  <a:cubicBezTo>
                    <a:pt x="55097" y="984155"/>
                    <a:pt x="62260" y="997579"/>
                    <a:pt x="74140" y="993461"/>
                  </a:cubicBezTo>
                  <a:cubicBezTo>
                    <a:pt x="84176" y="989988"/>
                    <a:pt x="90181" y="1010832"/>
                    <a:pt x="79158" y="1010832"/>
                  </a:cubicBezTo>
                  <a:cubicBezTo>
                    <a:pt x="68136" y="1010832"/>
                    <a:pt x="57113" y="1010832"/>
                    <a:pt x="66120" y="1018981"/>
                  </a:cubicBezTo>
                  <a:cubicBezTo>
                    <a:pt x="75170" y="1027087"/>
                    <a:pt x="84176" y="1038667"/>
                    <a:pt x="71138" y="1044457"/>
                  </a:cubicBezTo>
                  <a:cubicBezTo>
                    <a:pt x="58100" y="1050247"/>
                    <a:pt x="69122" y="1060712"/>
                    <a:pt x="66120" y="1074608"/>
                  </a:cubicBezTo>
                  <a:cubicBezTo>
                    <a:pt x="63118" y="1088547"/>
                    <a:pt x="75170" y="1101285"/>
                    <a:pt x="65133" y="1104759"/>
                  </a:cubicBezTo>
                  <a:cubicBezTo>
                    <a:pt x="55097" y="1108190"/>
                    <a:pt x="69122" y="1129120"/>
                    <a:pt x="55097" y="1131436"/>
                  </a:cubicBezTo>
                  <a:cubicBezTo>
                    <a:pt x="41073" y="1133753"/>
                    <a:pt x="50079" y="1148807"/>
                    <a:pt x="41073" y="1156955"/>
                  </a:cubicBezTo>
                  <a:cubicBezTo>
                    <a:pt x="32023" y="1165062"/>
                    <a:pt x="53082" y="1178958"/>
                    <a:pt x="42059" y="1187064"/>
                  </a:cubicBezTo>
                  <a:cubicBezTo>
                    <a:pt x="31036" y="1195170"/>
                    <a:pt x="39057" y="1213741"/>
                    <a:pt x="28034" y="1213741"/>
                  </a:cubicBezTo>
                  <a:cubicBezTo>
                    <a:pt x="17012" y="1213741"/>
                    <a:pt x="10964" y="1231154"/>
                    <a:pt x="9978" y="1239260"/>
                  </a:cubicBezTo>
                  <a:cubicBezTo>
                    <a:pt x="8991" y="1247366"/>
                    <a:pt x="1958" y="1263621"/>
                    <a:pt x="10964" y="1275202"/>
                  </a:cubicBezTo>
                  <a:cubicBezTo>
                    <a:pt x="19971" y="1286781"/>
                    <a:pt x="8949" y="1296089"/>
                    <a:pt x="16969" y="1300720"/>
                  </a:cubicBezTo>
                  <a:cubicBezTo>
                    <a:pt x="24989" y="1305353"/>
                    <a:pt x="52052" y="1298405"/>
                    <a:pt x="48064" y="1312301"/>
                  </a:cubicBezTo>
                  <a:cubicBezTo>
                    <a:pt x="44075" y="1326197"/>
                    <a:pt x="45061" y="1356391"/>
                    <a:pt x="50079" y="1356391"/>
                  </a:cubicBezTo>
                  <a:cubicBezTo>
                    <a:pt x="55097" y="1356391"/>
                    <a:pt x="58100" y="1373804"/>
                    <a:pt x="66120" y="1372603"/>
                  </a:cubicBezTo>
                  <a:cubicBezTo>
                    <a:pt x="74140" y="1371445"/>
                    <a:pt x="110253" y="1366813"/>
                    <a:pt x="125264" y="1371445"/>
                  </a:cubicBezTo>
                  <a:cubicBezTo>
                    <a:pt x="132684" y="1373761"/>
                    <a:pt x="138903" y="1378865"/>
                    <a:pt x="143278" y="1383454"/>
                  </a:cubicBezTo>
                  <a:cubicBezTo>
                    <a:pt x="151856" y="1379079"/>
                    <a:pt x="170684" y="1393233"/>
                    <a:pt x="174930" y="1388344"/>
                  </a:cubicBezTo>
                  <a:cubicBezTo>
                    <a:pt x="180120" y="1382339"/>
                    <a:pt x="156402" y="1360080"/>
                    <a:pt x="157174" y="1352359"/>
                  </a:cubicBezTo>
                  <a:cubicBezTo>
                    <a:pt x="157903" y="1344639"/>
                    <a:pt x="153486" y="1331772"/>
                    <a:pt x="153486" y="1323237"/>
                  </a:cubicBezTo>
                  <a:cubicBezTo>
                    <a:pt x="153486" y="1314659"/>
                    <a:pt x="149754" y="1295831"/>
                    <a:pt x="160133" y="1287253"/>
                  </a:cubicBezTo>
                  <a:cubicBezTo>
                    <a:pt x="169440" y="1279576"/>
                    <a:pt x="171027" y="1271942"/>
                    <a:pt x="176045" y="1271684"/>
                  </a:cubicBezTo>
                  <a:cubicBezTo>
                    <a:pt x="182307" y="1263235"/>
                    <a:pt x="189684" y="1256073"/>
                    <a:pt x="198047" y="1249468"/>
                  </a:cubicBezTo>
                  <a:cubicBezTo>
                    <a:pt x="198305" y="1247838"/>
                    <a:pt x="198562" y="1246208"/>
                    <a:pt x="198648" y="1244407"/>
                  </a:cubicBezTo>
                  <a:cubicBezTo>
                    <a:pt x="199291" y="1226222"/>
                    <a:pt x="205810" y="1218073"/>
                    <a:pt x="217562" y="1206321"/>
                  </a:cubicBezTo>
                  <a:cubicBezTo>
                    <a:pt x="219664" y="1203791"/>
                    <a:pt x="221851" y="1201389"/>
                    <a:pt x="224167" y="1199159"/>
                  </a:cubicBezTo>
                  <a:cubicBezTo>
                    <a:pt x="226440" y="1192511"/>
                    <a:pt x="230729" y="1186549"/>
                    <a:pt x="236262" y="1181403"/>
                  </a:cubicBezTo>
                  <a:cubicBezTo>
                    <a:pt x="236390" y="1181188"/>
                    <a:pt x="236605" y="1180888"/>
                    <a:pt x="236819" y="1180587"/>
                  </a:cubicBezTo>
                  <a:cubicBezTo>
                    <a:pt x="236562" y="1180716"/>
                    <a:pt x="236819" y="1180373"/>
                    <a:pt x="237377" y="1179730"/>
                  </a:cubicBezTo>
                  <a:cubicBezTo>
                    <a:pt x="238964" y="1177114"/>
                    <a:pt x="240722" y="1174583"/>
                    <a:pt x="242481" y="1172053"/>
                  </a:cubicBezTo>
                  <a:cubicBezTo>
                    <a:pt x="248185" y="1163903"/>
                    <a:pt x="254190" y="1157299"/>
                    <a:pt x="261781" y="1151594"/>
                  </a:cubicBezTo>
                  <a:cubicBezTo>
                    <a:pt x="263668" y="1142545"/>
                    <a:pt x="267528" y="1131608"/>
                    <a:pt x="267528" y="1126161"/>
                  </a:cubicBezTo>
                  <a:cubicBezTo>
                    <a:pt x="267528" y="1117583"/>
                    <a:pt x="242352" y="1119299"/>
                    <a:pt x="234203" y="1115868"/>
                  </a:cubicBezTo>
                  <a:cubicBezTo>
                    <a:pt x="226054" y="1112436"/>
                    <a:pt x="196460" y="1088461"/>
                    <a:pt x="211257" y="1056766"/>
                  </a:cubicBezTo>
                  <a:cubicBezTo>
                    <a:pt x="217090" y="1044286"/>
                    <a:pt x="225454" y="1036265"/>
                    <a:pt x="233946" y="1030947"/>
                  </a:cubicBezTo>
                  <a:cubicBezTo>
                    <a:pt x="235833" y="1026786"/>
                    <a:pt x="238320" y="1022969"/>
                    <a:pt x="241194" y="1020053"/>
                  </a:cubicBezTo>
                  <a:cubicBezTo>
                    <a:pt x="247027" y="1014048"/>
                    <a:pt x="253546" y="1011389"/>
                    <a:pt x="260923" y="1009974"/>
                  </a:cubicBezTo>
                  <a:cubicBezTo>
                    <a:pt x="264268" y="1006672"/>
                    <a:pt x="268214" y="1003970"/>
                    <a:pt x="272503" y="1002039"/>
                  </a:cubicBezTo>
                  <a:cubicBezTo>
                    <a:pt x="272975" y="1001353"/>
                    <a:pt x="273447" y="1000710"/>
                    <a:pt x="274219" y="1000195"/>
                  </a:cubicBezTo>
                  <a:cubicBezTo>
                    <a:pt x="281639" y="995048"/>
                    <a:pt x="283097" y="986513"/>
                    <a:pt x="283097" y="973647"/>
                  </a:cubicBezTo>
                  <a:cubicBezTo>
                    <a:pt x="283097" y="959065"/>
                    <a:pt x="283097" y="935947"/>
                    <a:pt x="296435" y="934232"/>
                  </a:cubicBezTo>
                  <a:cubicBezTo>
                    <a:pt x="309774" y="932516"/>
                    <a:pt x="313463" y="923938"/>
                    <a:pt x="305314" y="921365"/>
                  </a:cubicBezTo>
                  <a:cubicBezTo>
                    <a:pt x="297165" y="918791"/>
                    <a:pt x="293476" y="907683"/>
                    <a:pt x="306815" y="905925"/>
                  </a:cubicBezTo>
                  <a:cubicBezTo>
                    <a:pt x="320153" y="904209"/>
                    <a:pt x="315693" y="918791"/>
                    <a:pt x="325343" y="918791"/>
                  </a:cubicBezTo>
                  <a:cubicBezTo>
                    <a:pt x="334993" y="918791"/>
                    <a:pt x="351248" y="899920"/>
                    <a:pt x="338682" y="888812"/>
                  </a:cubicBezTo>
                  <a:cubicBezTo>
                    <a:pt x="326115" y="877660"/>
                    <a:pt x="322383" y="893958"/>
                    <a:pt x="315736" y="895674"/>
                  </a:cubicBezTo>
                  <a:cubicBezTo>
                    <a:pt x="309045" y="897347"/>
                    <a:pt x="303855" y="885381"/>
                    <a:pt x="297207" y="885381"/>
                  </a:cubicBezTo>
                  <a:cubicBezTo>
                    <a:pt x="290517" y="885381"/>
                    <a:pt x="294977" y="863979"/>
                    <a:pt x="292018" y="856259"/>
                  </a:cubicBezTo>
                  <a:cubicBezTo>
                    <a:pt x="289059" y="848539"/>
                    <a:pt x="284598" y="829710"/>
                    <a:pt x="290517" y="820274"/>
                  </a:cubicBezTo>
                  <a:cubicBezTo>
                    <a:pt x="296435" y="810839"/>
                    <a:pt x="321611" y="834814"/>
                    <a:pt x="343828" y="836572"/>
                  </a:cubicBezTo>
                  <a:cubicBezTo>
                    <a:pt x="366045" y="838288"/>
                    <a:pt x="382343" y="823749"/>
                    <a:pt x="382343" y="814270"/>
                  </a:cubicBezTo>
                  <a:cubicBezTo>
                    <a:pt x="382343" y="804877"/>
                    <a:pt x="371964" y="787721"/>
                    <a:pt x="385302" y="777471"/>
                  </a:cubicBezTo>
                  <a:cubicBezTo>
                    <a:pt x="398641" y="767177"/>
                    <a:pt x="387532" y="763747"/>
                    <a:pt x="383844" y="750065"/>
                  </a:cubicBezTo>
                  <a:cubicBezTo>
                    <a:pt x="380155" y="736340"/>
                    <a:pt x="389763" y="727762"/>
                    <a:pt x="395681" y="734625"/>
                  </a:cubicBezTo>
                  <a:cubicBezTo>
                    <a:pt x="399970" y="739600"/>
                    <a:pt x="424031" y="738699"/>
                    <a:pt x="450751" y="734582"/>
                  </a:cubicBezTo>
                  <a:cubicBezTo>
                    <a:pt x="453711" y="732094"/>
                    <a:pt x="457185" y="729950"/>
                    <a:pt x="461216" y="728320"/>
                  </a:cubicBezTo>
                  <a:cubicBezTo>
                    <a:pt x="475799" y="722315"/>
                    <a:pt x="490209" y="716054"/>
                    <a:pt x="504234" y="708805"/>
                  </a:cubicBezTo>
                  <a:cubicBezTo>
                    <a:pt x="513541" y="704001"/>
                    <a:pt x="523191" y="699027"/>
                    <a:pt x="531683" y="692850"/>
                  </a:cubicBezTo>
                  <a:cubicBezTo>
                    <a:pt x="529968" y="694094"/>
                    <a:pt x="535372" y="690277"/>
                    <a:pt x="538331" y="687918"/>
                  </a:cubicBezTo>
                  <a:cubicBezTo>
                    <a:pt x="538503" y="685859"/>
                    <a:pt x="538932" y="684487"/>
                    <a:pt x="539446" y="683672"/>
                  </a:cubicBezTo>
                  <a:cubicBezTo>
                    <a:pt x="541334" y="673507"/>
                    <a:pt x="546780" y="664286"/>
                    <a:pt x="556302" y="658925"/>
                  </a:cubicBezTo>
                  <a:cubicBezTo>
                    <a:pt x="560505" y="656566"/>
                    <a:pt x="564794" y="654465"/>
                    <a:pt x="569126" y="652491"/>
                  </a:cubicBezTo>
                  <a:cubicBezTo>
                    <a:pt x="571999" y="648288"/>
                    <a:pt x="574358" y="644643"/>
                    <a:pt x="575645" y="642113"/>
                  </a:cubicBezTo>
                  <a:cubicBezTo>
                    <a:pt x="580834" y="631819"/>
                    <a:pt x="576374" y="618995"/>
                    <a:pt x="561577" y="616422"/>
                  </a:cubicBezTo>
                  <a:cubicBezTo>
                    <a:pt x="546780" y="613891"/>
                    <a:pt x="547510" y="594162"/>
                    <a:pt x="555658" y="583054"/>
                  </a:cubicBezTo>
                  <a:cubicBezTo>
                    <a:pt x="563808" y="571903"/>
                    <a:pt x="551198" y="561609"/>
                    <a:pt x="537130" y="559936"/>
                  </a:cubicBezTo>
                  <a:cubicBezTo>
                    <a:pt x="523063" y="558221"/>
                    <a:pt x="500846" y="547070"/>
                    <a:pt x="513413" y="533388"/>
                  </a:cubicBezTo>
                  <a:cubicBezTo>
                    <a:pt x="519460" y="526783"/>
                    <a:pt x="522419" y="528112"/>
                    <a:pt x="525379" y="531115"/>
                  </a:cubicBezTo>
                  <a:cubicBezTo>
                    <a:pt x="527523" y="524553"/>
                    <a:pt x="529539" y="516832"/>
                    <a:pt x="527866" y="514903"/>
                  </a:cubicBezTo>
                  <a:cubicBezTo>
                    <a:pt x="524864" y="511386"/>
                    <a:pt x="517358" y="515760"/>
                    <a:pt x="518130" y="491442"/>
                  </a:cubicBezTo>
                  <a:cubicBezTo>
                    <a:pt x="518860" y="467124"/>
                    <a:pt x="526365" y="472356"/>
                    <a:pt x="527137" y="441133"/>
                  </a:cubicBezTo>
                  <a:cubicBezTo>
                    <a:pt x="527866" y="409867"/>
                    <a:pt x="538374" y="391639"/>
                    <a:pt x="538374" y="375170"/>
                  </a:cubicBezTo>
                  <a:cubicBezTo>
                    <a:pt x="538374" y="358700"/>
                    <a:pt x="563893" y="339614"/>
                    <a:pt x="578132" y="312679"/>
                  </a:cubicBezTo>
                  <a:cubicBezTo>
                    <a:pt x="592415" y="285788"/>
                    <a:pt x="623166" y="251948"/>
                    <a:pt x="635904" y="242384"/>
                  </a:cubicBezTo>
                  <a:cubicBezTo>
                    <a:pt x="648642" y="232820"/>
                    <a:pt x="673433" y="225014"/>
                    <a:pt x="676435" y="216350"/>
                  </a:cubicBezTo>
                  <a:cubicBezTo>
                    <a:pt x="679480" y="207901"/>
                    <a:pt x="676478" y="161066"/>
                    <a:pt x="670473" y="157592"/>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8" name="Freeform: Shape 185">
              <a:extLst>
                <a:ext uri="{FF2B5EF4-FFF2-40B4-BE49-F238E27FC236}">
                  <a16:creationId xmlns:a16="http://schemas.microsoft.com/office/drawing/2014/main" id="{A48763CD-D4B7-CD00-50FD-04E909A6809A}"/>
                </a:ext>
              </a:extLst>
            </p:cNvPr>
            <p:cNvSpPr/>
            <p:nvPr/>
          </p:nvSpPr>
          <p:spPr>
            <a:xfrm>
              <a:off x="5221337" y="6173221"/>
              <a:ext cx="98410" cy="111532"/>
            </a:xfrm>
            <a:custGeom>
              <a:avLst/>
              <a:gdLst>
                <a:gd name="connsiteX0" fmla="*/ 99828 w 128667"/>
                <a:gd name="connsiteY0" fmla="*/ 112156 h 145823"/>
                <a:gd name="connsiteX1" fmla="*/ 93309 w 128667"/>
                <a:gd name="connsiteY1" fmla="*/ 110569 h 145823"/>
                <a:gd name="connsiteX2" fmla="*/ 60584 w 128667"/>
                <a:gd name="connsiteY2" fmla="*/ 104307 h 145823"/>
                <a:gd name="connsiteX3" fmla="*/ 30262 w 128667"/>
                <a:gd name="connsiteY3" fmla="*/ 61546 h 145823"/>
                <a:gd name="connsiteX4" fmla="*/ 29018 w 128667"/>
                <a:gd name="connsiteY4" fmla="*/ 55027 h 145823"/>
                <a:gd name="connsiteX5" fmla="*/ 17652 w 128667"/>
                <a:gd name="connsiteY5" fmla="*/ 43662 h 145823"/>
                <a:gd name="connsiteX6" fmla="*/ 20612 w 128667"/>
                <a:gd name="connsiteY6" fmla="*/ 27363 h 145823"/>
                <a:gd name="connsiteX7" fmla="*/ 8903 w 128667"/>
                <a:gd name="connsiteY7" fmla="*/ 6433 h 145823"/>
                <a:gd name="connsiteX8" fmla="*/ 9117 w 128667"/>
                <a:gd name="connsiteY8" fmla="*/ 133686 h 145823"/>
                <a:gd name="connsiteX9" fmla="*/ 65388 w 128667"/>
                <a:gd name="connsiteY9" fmla="*/ 137117 h 145823"/>
                <a:gd name="connsiteX10" fmla="*/ 80571 w 128667"/>
                <a:gd name="connsiteY10" fmla="*/ 137031 h 145823"/>
                <a:gd name="connsiteX11" fmla="*/ 122088 w 128667"/>
                <a:gd name="connsiteY11" fmla="*/ 124207 h 145823"/>
                <a:gd name="connsiteX12" fmla="*/ 99828 w 128667"/>
                <a:gd name="connsiteY12" fmla="*/ 112156 h 14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667" h="145823">
                  <a:moveTo>
                    <a:pt x="99828" y="112156"/>
                  </a:moveTo>
                  <a:cubicBezTo>
                    <a:pt x="97855" y="112070"/>
                    <a:pt x="95668" y="111469"/>
                    <a:pt x="93309" y="110569"/>
                  </a:cubicBezTo>
                  <a:cubicBezTo>
                    <a:pt x="82201" y="113185"/>
                    <a:pt x="70192" y="110912"/>
                    <a:pt x="60584" y="104307"/>
                  </a:cubicBezTo>
                  <a:cubicBezTo>
                    <a:pt x="46345" y="94571"/>
                    <a:pt x="35323" y="78316"/>
                    <a:pt x="30262" y="61546"/>
                  </a:cubicBezTo>
                  <a:cubicBezTo>
                    <a:pt x="29619" y="59359"/>
                    <a:pt x="29232" y="57171"/>
                    <a:pt x="29018" y="55027"/>
                  </a:cubicBezTo>
                  <a:cubicBezTo>
                    <a:pt x="25415" y="47478"/>
                    <a:pt x="28074" y="41645"/>
                    <a:pt x="17652" y="43662"/>
                  </a:cubicBezTo>
                  <a:cubicBezTo>
                    <a:pt x="4314" y="46192"/>
                    <a:pt x="13192" y="31652"/>
                    <a:pt x="20612" y="27363"/>
                  </a:cubicBezTo>
                  <a:cubicBezTo>
                    <a:pt x="27431" y="23417"/>
                    <a:pt x="17952" y="8793"/>
                    <a:pt x="8903" y="6433"/>
                  </a:cubicBezTo>
                  <a:cubicBezTo>
                    <a:pt x="7917" y="29422"/>
                    <a:pt x="3756" y="132657"/>
                    <a:pt x="9117" y="133686"/>
                  </a:cubicBezTo>
                  <a:cubicBezTo>
                    <a:pt x="14521" y="134715"/>
                    <a:pt x="53808" y="128368"/>
                    <a:pt x="65388" y="137117"/>
                  </a:cubicBezTo>
                  <a:cubicBezTo>
                    <a:pt x="69848" y="138747"/>
                    <a:pt x="75939" y="142907"/>
                    <a:pt x="80571" y="137031"/>
                  </a:cubicBezTo>
                  <a:cubicBezTo>
                    <a:pt x="87991" y="127596"/>
                    <a:pt x="110207" y="132742"/>
                    <a:pt x="122088" y="124207"/>
                  </a:cubicBezTo>
                  <a:cubicBezTo>
                    <a:pt x="133882" y="115544"/>
                    <a:pt x="118356" y="113013"/>
                    <a:pt x="99828" y="11215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9" name="Freeform: Shape 186">
              <a:extLst>
                <a:ext uri="{FF2B5EF4-FFF2-40B4-BE49-F238E27FC236}">
                  <a16:creationId xmlns:a16="http://schemas.microsoft.com/office/drawing/2014/main" id="{287146DF-23E0-A04D-5318-D491FBC28AF5}"/>
                </a:ext>
              </a:extLst>
            </p:cNvPr>
            <p:cNvSpPr/>
            <p:nvPr/>
          </p:nvSpPr>
          <p:spPr>
            <a:xfrm>
              <a:off x="5052091" y="4967915"/>
              <a:ext cx="223063" cy="1328537"/>
            </a:xfrm>
            <a:custGeom>
              <a:avLst/>
              <a:gdLst>
                <a:gd name="connsiteX0" fmla="*/ 230358 w 291647"/>
                <a:gd name="connsiteY0" fmla="*/ 1709540 h 1737016"/>
                <a:gd name="connsiteX1" fmla="*/ 230144 w 291647"/>
                <a:gd name="connsiteY1" fmla="*/ 1582287 h 1737016"/>
                <a:gd name="connsiteX2" fmla="*/ 227785 w 291647"/>
                <a:gd name="connsiteY2" fmla="*/ 1581815 h 1737016"/>
                <a:gd name="connsiteX3" fmla="*/ 200379 w 291647"/>
                <a:gd name="connsiteY3" fmla="*/ 1567276 h 1737016"/>
                <a:gd name="connsiteX4" fmla="*/ 204282 w 291647"/>
                <a:gd name="connsiteY4" fmla="*/ 1561529 h 1737016"/>
                <a:gd name="connsiteX5" fmla="*/ 186268 w 291647"/>
                <a:gd name="connsiteY5" fmla="*/ 1549519 h 1737016"/>
                <a:gd name="connsiteX6" fmla="*/ 127124 w 291647"/>
                <a:gd name="connsiteY6" fmla="*/ 1550677 h 1737016"/>
                <a:gd name="connsiteX7" fmla="*/ 111083 w 291647"/>
                <a:gd name="connsiteY7" fmla="*/ 1534465 h 1737016"/>
                <a:gd name="connsiteX8" fmla="*/ 109067 w 291647"/>
                <a:gd name="connsiteY8" fmla="*/ 1490375 h 1737016"/>
                <a:gd name="connsiteX9" fmla="*/ 77973 w 291647"/>
                <a:gd name="connsiteY9" fmla="*/ 1478795 h 1737016"/>
                <a:gd name="connsiteX10" fmla="*/ 71968 w 291647"/>
                <a:gd name="connsiteY10" fmla="*/ 1453276 h 1737016"/>
                <a:gd name="connsiteX11" fmla="*/ 70982 w 291647"/>
                <a:gd name="connsiteY11" fmla="*/ 1417335 h 1737016"/>
                <a:gd name="connsiteX12" fmla="*/ 89038 w 291647"/>
                <a:gd name="connsiteY12" fmla="*/ 1391815 h 1737016"/>
                <a:gd name="connsiteX13" fmla="*/ 103063 w 291647"/>
                <a:gd name="connsiteY13" fmla="*/ 1365138 h 1737016"/>
                <a:gd name="connsiteX14" fmla="*/ 102076 w 291647"/>
                <a:gd name="connsiteY14" fmla="*/ 1335030 h 1737016"/>
                <a:gd name="connsiteX15" fmla="*/ 116101 w 291647"/>
                <a:gd name="connsiteY15" fmla="*/ 1309511 h 1737016"/>
                <a:gd name="connsiteX16" fmla="*/ 126137 w 291647"/>
                <a:gd name="connsiteY16" fmla="*/ 1282834 h 1737016"/>
                <a:gd name="connsiteX17" fmla="*/ 127124 w 291647"/>
                <a:gd name="connsiteY17" fmla="*/ 1252683 h 1737016"/>
                <a:gd name="connsiteX18" fmla="*/ 132142 w 291647"/>
                <a:gd name="connsiteY18" fmla="*/ 1222531 h 1737016"/>
                <a:gd name="connsiteX19" fmla="*/ 127124 w 291647"/>
                <a:gd name="connsiteY19" fmla="*/ 1197055 h 1737016"/>
                <a:gd name="connsiteX20" fmla="*/ 140162 w 291647"/>
                <a:gd name="connsiteY20" fmla="*/ 1188906 h 1737016"/>
                <a:gd name="connsiteX21" fmla="*/ 135144 w 291647"/>
                <a:gd name="connsiteY21" fmla="*/ 1171536 h 1737016"/>
                <a:gd name="connsiteX22" fmla="*/ 125108 w 291647"/>
                <a:gd name="connsiteY22" fmla="*/ 1151807 h 1737016"/>
                <a:gd name="connsiteX23" fmla="*/ 120090 w 291647"/>
                <a:gd name="connsiteY23" fmla="*/ 1127445 h 1737016"/>
                <a:gd name="connsiteX24" fmla="*/ 117088 w 291647"/>
                <a:gd name="connsiteY24" fmla="*/ 1106601 h 1737016"/>
                <a:gd name="connsiteX25" fmla="*/ 122106 w 291647"/>
                <a:gd name="connsiteY25" fmla="*/ 1066028 h 1737016"/>
                <a:gd name="connsiteX26" fmla="*/ 124122 w 291647"/>
                <a:gd name="connsiteY26" fmla="*/ 1024297 h 1737016"/>
                <a:gd name="connsiteX27" fmla="*/ 117131 w 291647"/>
                <a:gd name="connsiteY27" fmla="*/ 997620 h 1737016"/>
                <a:gd name="connsiteX28" fmla="*/ 126137 w 291647"/>
                <a:gd name="connsiteY28" fmla="*/ 970985 h 1737016"/>
                <a:gd name="connsiteX29" fmla="*/ 135187 w 291647"/>
                <a:gd name="connsiteY29" fmla="*/ 946625 h 1737016"/>
                <a:gd name="connsiteX30" fmla="*/ 137203 w 291647"/>
                <a:gd name="connsiteY30" fmla="*/ 917631 h 1737016"/>
                <a:gd name="connsiteX31" fmla="*/ 156246 w 291647"/>
                <a:gd name="connsiteY31" fmla="*/ 902577 h 1737016"/>
                <a:gd name="connsiteX32" fmla="*/ 148225 w 291647"/>
                <a:gd name="connsiteY32" fmla="*/ 880575 h 1737016"/>
                <a:gd name="connsiteX33" fmla="*/ 147239 w 291647"/>
                <a:gd name="connsiteY33" fmla="*/ 829537 h 1737016"/>
                <a:gd name="connsiteX34" fmla="*/ 172286 w 291647"/>
                <a:gd name="connsiteY34" fmla="*/ 791279 h 1737016"/>
                <a:gd name="connsiteX35" fmla="*/ 172286 w 291647"/>
                <a:gd name="connsiteY35" fmla="*/ 742600 h 1737016"/>
                <a:gd name="connsiteX36" fmla="*/ 182322 w 291647"/>
                <a:gd name="connsiteY36" fmla="*/ 714765 h 1737016"/>
                <a:gd name="connsiteX37" fmla="*/ 191329 w 291647"/>
                <a:gd name="connsiteY37" fmla="*/ 682298 h 1737016"/>
                <a:gd name="connsiteX38" fmla="*/ 183309 w 291647"/>
                <a:gd name="connsiteY38" fmla="*/ 648672 h 1737016"/>
                <a:gd name="connsiteX39" fmla="*/ 172243 w 291647"/>
                <a:gd name="connsiteY39" fmla="*/ 610372 h 1737016"/>
                <a:gd name="connsiteX40" fmla="*/ 172243 w 291647"/>
                <a:gd name="connsiteY40" fmla="*/ 568641 h 1737016"/>
                <a:gd name="connsiteX41" fmla="*/ 186311 w 291647"/>
                <a:gd name="connsiteY41" fmla="*/ 538447 h 1737016"/>
                <a:gd name="connsiteX42" fmla="*/ 186311 w 291647"/>
                <a:gd name="connsiteY42" fmla="*/ 499032 h 1737016"/>
                <a:gd name="connsiteX43" fmla="*/ 195318 w 291647"/>
                <a:gd name="connsiteY43" fmla="*/ 478187 h 1737016"/>
                <a:gd name="connsiteX44" fmla="*/ 210372 w 291647"/>
                <a:gd name="connsiteY44" fmla="*/ 443404 h 1737016"/>
                <a:gd name="connsiteX45" fmla="*/ 220408 w 291647"/>
                <a:gd name="connsiteY45" fmla="*/ 410937 h 1737016"/>
                <a:gd name="connsiteX46" fmla="*/ 240437 w 291647"/>
                <a:gd name="connsiteY46" fmla="*/ 392408 h 1737016"/>
                <a:gd name="connsiteX47" fmla="*/ 239451 w 291647"/>
                <a:gd name="connsiteY47" fmla="*/ 366890 h 1737016"/>
                <a:gd name="connsiteX48" fmla="*/ 236449 w 291647"/>
                <a:gd name="connsiteY48" fmla="*/ 325158 h 1737016"/>
                <a:gd name="connsiteX49" fmla="*/ 238464 w 291647"/>
                <a:gd name="connsiteY49" fmla="*/ 297323 h 1737016"/>
                <a:gd name="connsiteX50" fmla="*/ 276550 w 291647"/>
                <a:gd name="connsiteY50" fmla="*/ 262540 h 1737016"/>
                <a:gd name="connsiteX51" fmla="*/ 283369 w 291647"/>
                <a:gd name="connsiteY51" fmla="*/ 217378 h 1737016"/>
                <a:gd name="connsiteX52" fmla="*/ 262397 w 291647"/>
                <a:gd name="connsiteY52" fmla="*/ 224840 h 1737016"/>
                <a:gd name="connsiteX53" fmla="*/ 254505 w 291647"/>
                <a:gd name="connsiteY53" fmla="*/ 182594 h 1737016"/>
                <a:gd name="connsiteX54" fmla="*/ 242668 w 291647"/>
                <a:gd name="connsiteY54" fmla="*/ 147211 h 1737016"/>
                <a:gd name="connsiteX55" fmla="*/ 230830 w 291647"/>
                <a:gd name="connsiteY55" fmla="*/ 115215 h 1737016"/>
                <a:gd name="connsiteX56" fmla="*/ 237735 w 291647"/>
                <a:gd name="connsiteY56" fmla="*/ 87809 h 1737016"/>
                <a:gd name="connsiteX57" fmla="*/ 223882 w 291647"/>
                <a:gd name="connsiteY57" fmla="*/ 66107 h 1737016"/>
                <a:gd name="connsiteX58" fmla="*/ 215990 w 291647"/>
                <a:gd name="connsiteY58" fmla="*/ 24976 h 1737016"/>
                <a:gd name="connsiteX59" fmla="*/ 201194 w 291647"/>
                <a:gd name="connsiteY59" fmla="*/ 7863 h 1737016"/>
                <a:gd name="connsiteX60" fmla="*/ 187383 w 291647"/>
                <a:gd name="connsiteY60" fmla="*/ 38701 h 1737016"/>
                <a:gd name="connsiteX61" fmla="*/ 180135 w 291647"/>
                <a:gd name="connsiteY61" fmla="*/ 44791 h 1737016"/>
                <a:gd name="connsiteX62" fmla="*/ 180478 w 291647"/>
                <a:gd name="connsiteY62" fmla="*/ 79531 h 1737016"/>
                <a:gd name="connsiteX63" fmla="*/ 182708 w 291647"/>
                <a:gd name="connsiteY63" fmla="*/ 178906 h 1737016"/>
                <a:gd name="connsiteX64" fmla="*/ 169370 w 291647"/>
                <a:gd name="connsiteY64" fmla="*/ 237149 h 1737016"/>
                <a:gd name="connsiteX65" fmla="*/ 173787 w 291647"/>
                <a:gd name="connsiteY65" fmla="*/ 259452 h 1737016"/>
                <a:gd name="connsiteX66" fmla="*/ 170099 w 291647"/>
                <a:gd name="connsiteY66" fmla="*/ 310833 h 1737016"/>
                <a:gd name="connsiteX67" fmla="*/ 155302 w 291647"/>
                <a:gd name="connsiteY67" fmla="*/ 399057 h 1737016"/>
                <a:gd name="connsiteX68" fmla="*/ 146424 w 291647"/>
                <a:gd name="connsiteY68" fmla="*/ 439330 h 1737016"/>
                <a:gd name="connsiteX69" fmla="*/ 142049 w 291647"/>
                <a:gd name="connsiteY69" fmla="*/ 460174 h 1737016"/>
                <a:gd name="connsiteX70" fmla="*/ 148268 w 291647"/>
                <a:gd name="connsiteY70" fmla="*/ 493198 h 1737016"/>
                <a:gd name="connsiteX71" fmla="*/ 142693 w 291647"/>
                <a:gd name="connsiteY71" fmla="*/ 510526 h 1737016"/>
                <a:gd name="connsiteX72" fmla="*/ 144194 w 291647"/>
                <a:gd name="connsiteY72" fmla="*/ 518932 h 1737016"/>
                <a:gd name="connsiteX73" fmla="*/ 131584 w 291647"/>
                <a:gd name="connsiteY73" fmla="*/ 560921 h 1737016"/>
                <a:gd name="connsiteX74" fmla="*/ 131584 w 291647"/>
                <a:gd name="connsiteY74" fmla="*/ 645713 h 1737016"/>
                <a:gd name="connsiteX75" fmla="*/ 124164 w 291647"/>
                <a:gd name="connsiteY75" fmla="*/ 672261 h 1737016"/>
                <a:gd name="connsiteX76" fmla="*/ 116101 w 291647"/>
                <a:gd name="connsiteY76" fmla="*/ 702413 h 1737016"/>
                <a:gd name="connsiteX77" fmla="*/ 71711 w 291647"/>
                <a:gd name="connsiteY77" fmla="*/ 867322 h 1737016"/>
                <a:gd name="connsiteX78" fmla="*/ 68580 w 291647"/>
                <a:gd name="connsiteY78" fmla="*/ 872169 h 1737016"/>
                <a:gd name="connsiteX79" fmla="*/ 70853 w 291647"/>
                <a:gd name="connsiteY79" fmla="*/ 910383 h 1737016"/>
                <a:gd name="connsiteX80" fmla="*/ 72311 w 291647"/>
                <a:gd name="connsiteY80" fmla="*/ 949798 h 1737016"/>
                <a:gd name="connsiteX81" fmla="*/ 61932 w 291647"/>
                <a:gd name="connsiteY81" fmla="*/ 982351 h 1737016"/>
                <a:gd name="connsiteX82" fmla="*/ 57514 w 291647"/>
                <a:gd name="connsiteY82" fmla="*/ 1027728 h 1737016"/>
                <a:gd name="connsiteX83" fmla="*/ 54555 w 291647"/>
                <a:gd name="connsiteY83" fmla="*/ 1050888 h 1737016"/>
                <a:gd name="connsiteX84" fmla="*/ 40488 w 291647"/>
                <a:gd name="connsiteY84" fmla="*/ 1092877 h 1737016"/>
                <a:gd name="connsiteX85" fmla="*/ 56056 w 291647"/>
                <a:gd name="connsiteY85" fmla="*/ 1118568 h 1737016"/>
                <a:gd name="connsiteX86" fmla="*/ 70853 w 291647"/>
                <a:gd name="connsiteY86" fmla="*/ 1049173 h 1737016"/>
                <a:gd name="connsiteX87" fmla="*/ 83462 w 291647"/>
                <a:gd name="connsiteY87" fmla="*/ 1034633 h 1737016"/>
                <a:gd name="connsiteX88" fmla="*/ 92341 w 291647"/>
                <a:gd name="connsiteY88" fmla="*/ 1049173 h 1737016"/>
                <a:gd name="connsiteX89" fmla="*/ 94571 w 291647"/>
                <a:gd name="connsiteY89" fmla="*/ 1066286 h 1737016"/>
                <a:gd name="connsiteX90" fmla="*/ 91611 w 291647"/>
                <a:gd name="connsiteY90" fmla="*/ 1098839 h 1737016"/>
                <a:gd name="connsiteX91" fmla="*/ 83462 w 291647"/>
                <a:gd name="connsiteY91" fmla="*/ 1129676 h 1737016"/>
                <a:gd name="connsiteX92" fmla="*/ 77544 w 291647"/>
                <a:gd name="connsiteY92" fmla="*/ 1154509 h 1737016"/>
                <a:gd name="connsiteX93" fmla="*/ 79045 w 291647"/>
                <a:gd name="connsiteY93" fmla="*/ 1173337 h 1737016"/>
                <a:gd name="connsiteX94" fmla="*/ 78273 w 291647"/>
                <a:gd name="connsiteY94" fmla="*/ 1189635 h 1737016"/>
                <a:gd name="connsiteX95" fmla="*/ 79774 w 291647"/>
                <a:gd name="connsiteY95" fmla="*/ 1212752 h 1737016"/>
                <a:gd name="connsiteX96" fmla="*/ 62747 w 291647"/>
                <a:gd name="connsiteY96" fmla="*/ 1223861 h 1737016"/>
                <a:gd name="connsiteX97" fmla="*/ 65706 w 291647"/>
                <a:gd name="connsiteY97" fmla="*/ 1249552 h 1737016"/>
                <a:gd name="connsiteX98" fmla="*/ 44219 w 291647"/>
                <a:gd name="connsiteY98" fmla="*/ 1239258 h 1737016"/>
                <a:gd name="connsiteX99" fmla="*/ 59015 w 291647"/>
                <a:gd name="connsiteY99" fmla="*/ 1213568 h 1737016"/>
                <a:gd name="connsiteX100" fmla="*/ 41259 w 291647"/>
                <a:gd name="connsiteY100" fmla="*/ 1185304 h 1737016"/>
                <a:gd name="connsiteX101" fmla="*/ 52368 w 291647"/>
                <a:gd name="connsiteY101" fmla="*/ 1216141 h 1737016"/>
                <a:gd name="connsiteX102" fmla="*/ 34569 w 291647"/>
                <a:gd name="connsiteY102" fmla="*/ 1225533 h 1737016"/>
                <a:gd name="connsiteX103" fmla="*/ 15311 w 291647"/>
                <a:gd name="connsiteY103" fmla="*/ 1241831 h 1737016"/>
                <a:gd name="connsiteX104" fmla="*/ 16770 w 291647"/>
                <a:gd name="connsiteY104" fmla="*/ 1260703 h 1737016"/>
                <a:gd name="connsiteX105" fmla="*/ 6733 w 291647"/>
                <a:gd name="connsiteY105" fmla="*/ 1267265 h 1737016"/>
                <a:gd name="connsiteX106" fmla="*/ 7677 w 291647"/>
                <a:gd name="connsiteY106" fmla="*/ 1279188 h 1737016"/>
                <a:gd name="connsiteX107" fmla="*/ 19729 w 291647"/>
                <a:gd name="connsiteY107" fmla="*/ 1285536 h 1737016"/>
                <a:gd name="connsiteX108" fmla="*/ 38986 w 291647"/>
                <a:gd name="connsiteY108" fmla="*/ 1288109 h 1737016"/>
                <a:gd name="connsiteX109" fmla="*/ 41946 w 291647"/>
                <a:gd name="connsiteY109" fmla="*/ 1307795 h 1737016"/>
                <a:gd name="connsiteX110" fmla="*/ 31566 w 291647"/>
                <a:gd name="connsiteY110" fmla="*/ 1331770 h 1737016"/>
                <a:gd name="connsiteX111" fmla="*/ 62661 w 291647"/>
                <a:gd name="connsiteY111" fmla="*/ 1335202 h 1737016"/>
                <a:gd name="connsiteX112" fmla="*/ 63390 w 291647"/>
                <a:gd name="connsiteY112" fmla="*/ 1350599 h 1737016"/>
                <a:gd name="connsiteX113" fmla="*/ 41174 w 291647"/>
                <a:gd name="connsiteY113" fmla="*/ 1344637 h 1737016"/>
                <a:gd name="connsiteX114" fmla="*/ 21187 w 291647"/>
                <a:gd name="connsiteY114" fmla="*/ 1346353 h 1737016"/>
                <a:gd name="connsiteX115" fmla="*/ 7591 w 291647"/>
                <a:gd name="connsiteY115" fmla="*/ 1350856 h 1737016"/>
                <a:gd name="connsiteX116" fmla="*/ 16212 w 291647"/>
                <a:gd name="connsiteY116" fmla="*/ 1383495 h 1737016"/>
                <a:gd name="connsiteX117" fmla="*/ 27878 w 291647"/>
                <a:gd name="connsiteY117" fmla="*/ 1372944 h 1737016"/>
                <a:gd name="connsiteX118" fmla="*/ 41946 w 291647"/>
                <a:gd name="connsiteY118" fmla="*/ 1374617 h 1737016"/>
                <a:gd name="connsiteX119" fmla="*/ 24919 w 291647"/>
                <a:gd name="connsiteY119" fmla="*/ 1390915 h 1737016"/>
                <a:gd name="connsiteX120" fmla="*/ 10722 w 291647"/>
                <a:gd name="connsiteY120" fmla="*/ 1410730 h 1737016"/>
                <a:gd name="connsiteX121" fmla="*/ 7205 w 291647"/>
                <a:gd name="connsiteY121" fmla="*/ 1419179 h 1737016"/>
                <a:gd name="connsiteX122" fmla="*/ 6433 w 291647"/>
                <a:gd name="connsiteY122" fmla="*/ 1428958 h 1737016"/>
                <a:gd name="connsiteX123" fmla="*/ 14539 w 291647"/>
                <a:gd name="connsiteY123" fmla="*/ 1430373 h 1737016"/>
                <a:gd name="connsiteX124" fmla="*/ 22688 w 291647"/>
                <a:gd name="connsiteY124" fmla="*/ 1442339 h 1737016"/>
                <a:gd name="connsiteX125" fmla="*/ 33067 w 291647"/>
                <a:gd name="connsiteY125" fmla="*/ 1426899 h 1737016"/>
                <a:gd name="connsiteX126" fmla="*/ 47135 w 291647"/>
                <a:gd name="connsiteY126" fmla="*/ 1408928 h 1737016"/>
                <a:gd name="connsiteX127" fmla="*/ 42675 w 291647"/>
                <a:gd name="connsiteY127" fmla="*/ 1436334 h 1737016"/>
                <a:gd name="connsiteX128" fmla="*/ 37485 w 291647"/>
                <a:gd name="connsiteY128" fmla="*/ 1465456 h 1737016"/>
                <a:gd name="connsiteX129" fmla="*/ 28607 w 291647"/>
                <a:gd name="connsiteY129" fmla="*/ 1480039 h 1737016"/>
                <a:gd name="connsiteX130" fmla="*/ 19214 w 291647"/>
                <a:gd name="connsiteY130" fmla="*/ 1486515 h 1737016"/>
                <a:gd name="connsiteX131" fmla="*/ 22131 w 291647"/>
                <a:gd name="connsiteY131" fmla="*/ 1498224 h 1737016"/>
                <a:gd name="connsiteX132" fmla="*/ 33968 w 291647"/>
                <a:gd name="connsiteY132" fmla="*/ 1507273 h 1737016"/>
                <a:gd name="connsiteX133" fmla="*/ 34526 w 291647"/>
                <a:gd name="connsiteY133" fmla="*/ 1507445 h 1737016"/>
                <a:gd name="connsiteX134" fmla="*/ 51553 w 291647"/>
                <a:gd name="connsiteY134" fmla="*/ 1508303 h 1737016"/>
                <a:gd name="connsiteX135" fmla="*/ 58243 w 291647"/>
                <a:gd name="connsiteY135" fmla="*/ 1521170 h 1737016"/>
                <a:gd name="connsiteX136" fmla="*/ 49237 w 291647"/>
                <a:gd name="connsiteY136" fmla="*/ 1526788 h 1737016"/>
                <a:gd name="connsiteX137" fmla="*/ 50438 w 291647"/>
                <a:gd name="connsiteY137" fmla="*/ 1528847 h 1737016"/>
                <a:gd name="connsiteX138" fmla="*/ 53612 w 291647"/>
                <a:gd name="connsiteY138" fmla="*/ 1536824 h 1737016"/>
                <a:gd name="connsiteX139" fmla="*/ 62704 w 291647"/>
                <a:gd name="connsiteY139" fmla="*/ 1541714 h 1737016"/>
                <a:gd name="connsiteX140" fmla="*/ 73812 w 291647"/>
                <a:gd name="connsiteY140" fmla="*/ 1537425 h 1737016"/>
                <a:gd name="connsiteX141" fmla="*/ 95300 w 291647"/>
                <a:gd name="connsiteY141" fmla="*/ 1546003 h 1737016"/>
                <a:gd name="connsiteX142" fmla="*/ 65664 w 291647"/>
                <a:gd name="connsiteY142" fmla="*/ 1559727 h 1737016"/>
                <a:gd name="connsiteX143" fmla="*/ 56657 w 291647"/>
                <a:gd name="connsiteY143" fmla="*/ 1562214 h 1737016"/>
                <a:gd name="connsiteX144" fmla="*/ 56700 w 291647"/>
                <a:gd name="connsiteY144" fmla="*/ 1583659 h 1737016"/>
                <a:gd name="connsiteX145" fmla="*/ 80503 w 291647"/>
                <a:gd name="connsiteY145" fmla="*/ 1573409 h 1737016"/>
                <a:gd name="connsiteX146" fmla="*/ 131627 w 291647"/>
                <a:gd name="connsiteY146" fmla="*/ 1576840 h 1737016"/>
                <a:gd name="connsiteX147" fmla="*/ 110912 w 291647"/>
                <a:gd name="connsiteY147" fmla="*/ 1584517 h 1737016"/>
                <a:gd name="connsiteX148" fmla="*/ 90153 w 291647"/>
                <a:gd name="connsiteY148" fmla="*/ 1588806 h 1737016"/>
                <a:gd name="connsiteX149" fmla="*/ 71625 w 291647"/>
                <a:gd name="connsiteY149" fmla="*/ 1602487 h 1737016"/>
                <a:gd name="connsiteX150" fmla="*/ 72354 w 291647"/>
                <a:gd name="connsiteY150" fmla="*/ 1617928 h 1737016"/>
                <a:gd name="connsiteX151" fmla="*/ 102720 w 291647"/>
                <a:gd name="connsiteY151" fmla="*/ 1603389 h 1737016"/>
                <a:gd name="connsiteX152" fmla="*/ 140505 w 291647"/>
                <a:gd name="connsiteY152" fmla="*/ 1594854 h 1737016"/>
                <a:gd name="connsiteX153" fmla="*/ 115329 w 291647"/>
                <a:gd name="connsiteY153" fmla="*/ 1611108 h 1737016"/>
                <a:gd name="connsiteX154" fmla="*/ 98302 w 291647"/>
                <a:gd name="connsiteY154" fmla="*/ 1629980 h 1737016"/>
                <a:gd name="connsiteX155" fmla="*/ 72654 w 291647"/>
                <a:gd name="connsiteY155" fmla="*/ 1627878 h 1737016"/>
                <a:gd name="connsiteX156" fmla="*/ 73212 w 291647"/>
                <a:gd name="connsiteY156" fmla="*/ 1628822 h 1737016"/>
                <a:gd name="connsiteX157" fmla="*/ 98517 w 291647"/>
                <a:gd name="connsiteY157" fmla="*/ 1660903 h 1737016"/>
                <a:gd name="connsiteX158" fmla="*/ 116787 w 291647"/>
                <a:gd name="connsiteY158" fmla="*/ 1668537 h 1737016"/>
                <a:gd name="connsiteX159" fmla="*/ 110869 w 291647"/>
                <a:gd name="connsiteY159" fmla="*/ 1655670 h 1737016"/>
                <a:gd name="connsiteX160" fmla="*/ 124207 w 291647"/>
                <a:gd name="connsiteY160" fmla="*/ 1644519 h 1737016"/>
                <a:gd name="connsiteX161" fmla="*/ 150113 w 291647"/>
                <a:gd name="connsiteY161" fmla="*/ 1617113 h 1737016"/>
                <a:gd name="connsiteX162" fmla="*/ 179749 w 291647"/>
                <a:gd name="connsiteY162" fmla="*/ 1580271 h 1737016"/>
                <a:gd name="connsiteX163" fmla="*/ 175331 w 291647"/>
                <a:gd name="connsiteY163" fmla="*/ 1599100 h 1737016"/>
                <a:gd name="connsiteX164" fmla="*/ 170142 w 291647"/>
                <a:gd name="connsiteY164" fmla="*/ 1621402 h 1737016"/>
                <a:gd name="connsiteX165" fmla="*/ 200508 w 291647"/>
                <a:gd name="connsiteY165" fmla="*/ 1623117 h 1737016"/>
                <a:gd name="connsiteX166" fmla="*/ 181979 w 291647"/>
                <a:gd name="connsiteY166" fmla="*/ 1640273 h 1737016"/>
                <a:gd name="connsiteX167" fmla="*/ 183480 w 291647"/>
                <a:gd name="connsiteY167" fmla="*/ 1667680 h 1737016"/>
                <a:gd name="connsiteX168" fmla="*/ 169413 w 291647"/>
                <a:gd name="connsiteY168" fmla="*/ 1635984 h 1737016"/>
                <a:gd name="connsiteX169" fmla="*/ 162765 w 291647"/>
                <a:gd name="connsiteY169" fmla="*/ 1659959 h 1737016"/>
                <a:gd name="connsiteX170" fmla="*/ 146467 w 291647"/>
                <a:gd name="connsiteY170" fmla="*/ 1653097 h 1737016"/>
                <a:gd name="connsiteX171" fmla="*/ 137589 w 291647"/>
                <a:gd name="connsiteY171" fmla="*/ 1667637 h 1737016"/>
                <a:gd name="connsiteX172" fmla="*/ 120562 w 291647"/>
                <a:gd name="connsiteY172" fmla="*/ 1683077 h 1737016"/>
                <a:gd name="connsiteX173" fmla="*/ 145009 w 291647"/>
                <a:gd name="connsiteY173" fmla="*/ 1689081 h 1737016"/>
                <a:gd name="connsiteX174" fmla="*/ 157404 w 291647"/>
                <a:gd name="connsiteY174" fmla="*/ 1715415 h 1737016"/>
                <a:gd name="connsiteX175" fmla="*/ 166839 w 291647"/>
                <a:gd name="connsiteY175" fmla="*/ 1719061 h 1737016"/>
                <a:gd name="connsiteX176" fmla="*/ 167182 w 291647"/>
                <a:gd name="connsiteY176" fmla="*/ 1719318 h 1737016"/>
                <a:gd name="connsiteX177" fmla="*/ 173916 w 291647"/>
                <a:gd name="connsiteY177" fmla="*/ 1693370 h 1737016"/>
                <a:gd name="connsiteX178" fmla="*/ 197634 w 291647"/>
                <a:gd name="connsiteY178" fmla="*/ 1729354 h 1737016"/>
                <a:gd name="connsiteX179" fmla="*/ 209471 w 291647"/>
                <a:gd name="connsiteY179" fmla="*/ 1715629 h 1737016"/>
                <a:gd name="connsiteX180" fmla="*/ 229586 w 291647"/>
                <a:gd name="connsiteY180" fmla="*/ 1729740 h 1737016"/>
                <a:gd name="connsiteX181" fmla="*/ 235848 w 291647"/>
                <a:gd name="connsiteY181" fmla="*/ 1728968 h 1737016"/>
                <a:gd name="connsiteX182" fmla="*/ 246442 w 291647"/>
                <a:gd name="connsiteY182" fmla="*/ 1729740 h 1737016"/>
                <a:gd name="connsiteX183" fmla="*/ 239837 w 291647"/>
                <a:gd name="connsiteY183" fmla="*/ 1719061 h 1737016"/>
                <a:gd name="connsiteX184" fmla="*/ 259094 w 291647"/>
                <a:gd name="connsiteY184" fmla="*/ 1719061 h 1737016"/>
                <a:gd name="connsiteX185" fmla="*/ 281311 w 291647"/>
                <a:gd name="connsiteY185" fmla="*/ 1715629 h 1737016"/>
                <a:gd name="connsiteX186" fmla="*/ 286843 w 291647"/>
                <a:gd name="connsiteY186" fmla="*/ 1713142 h 1737016"/>
                <a:gd name="connsiteX187" fmla="*/ 230358 w 291647"/>
                <a:gd name="connsiteY187" fmla="*/ 1709540 h 17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291647" h="1737016">
                  <a:moveTo>
                    <a:pt x="230358" y="1709540"/>
                  </a:moveTo>
                  <a:cubicBezTo>
                    <a:pt x="225040" y="1708510"/>
                    <a:pt x="229115" y="1605833"/>
                    <a:pt x="230144" y="1582287"/>
                  </a:cubicBezTo>
                  <a:cubicBezTo>
                    <a:pt x="229329" y="1582072"/>
                    <a:pt x="228557" y="1581815"/>
                    <a:pt x="227785" y="1581815"/>
                  </a:cubicBezTo>
                  <a:cubicBezTo>
                    <a:pt x="218178" y="1581815"/>
                    <a:pt x="196690" y="1584388"/>
                    <a:pt x="200379" y="1567276"/>
                  </a:cubicBezTo>
                  <a:cubicBezTo>
                    <a:pt x="201022" y="1564273"/>
                    <a:pt x="202437" y="1562472"/>
                    <a:pt x="204282" y="1561529"/>
                  </a:cubicBezTo>
                  <a:cubicBezTo>
                    <a:pt x="199907" y="1556939"/>
                    <a:pt x="193731" y="1551835"/>
                    <a:pt x="186268" y="1549519"/>
                  </a:cubicBezTo>
                  <a:cubicBezTo>
                    <a:pt x="171214" y="1544887"/>
                    <a:pt x="135144" y="1549519"/>
                    <a:pt x="127124" y="1550677"/>
                  </a:cubicBezTo>
                  <a:cubicBezTo>
                    <a:pt x="119103" y="1551835"/>
                    <a:pt x="116101" y="1534465"/>
                    <a:pt x="111083" y="1534465"/>
                  </a:cubicBezTo>
                  <a:cubicBezTo>
                    <a:pt x="106065" y="1534465"/>
                    <a:pt x="105079" y="1504314"/>
                    <a:pt x="109067" y="1490375"/>
                  </a:cubicBezTo>
                  <a:cubicBezTo>
                    <a:pt x="113099" y="1476436"/>
                    <a:pt x="85993" y="1483427"/>
                    <a:pt x="77973" y="1478795"/>
                  </a:cubicBezTo>
                  <a:cubicBezTo>
                    <a:pt x="69952" y="1474163"/>
                    <a:pt x="80975" y="1464856"/>
                    <a:pt x="71968" y="1453276"/>
                  </a:cubicBezTo>
                  <a:cubicBezTo>
                    <a:pt x="62961" y="1441696"/>
                    <a:pt x="69952" y="1425441"/>
                    <a:pt x="70982" y="1417335"/>
                  </a:cubicBezTo>
                  <a:cubicBezTo>
                    <a:pt x="71968" y="1409229"/>
                    <a:pt x="78016" y="1391815"/>
                    <a:pt x="89038" y="1391815"/>
                  </a:cubicBezTo>
                  <a:cubicBezTo>
                    <a:pt x="100061" y="1391815"/>
                    <a:pt x="92040" y="1373244"/>
                    <a:pt x="103063" y="1365138"/>
                  </a:cubicBezTo>
                  <a:cubicBezTo>
                    <a:pt x="114085" y="1357032"/>
                    <a:pt x="93027" y="1343136"/>
                    <a:pt x="102076" y="1335030"/>
                  </a:cubicBezTo>
                  <a:cubicBezTo>
                    <a:pt x="111083" y="1326881"/>
                    <a:pt x="102076" y="1311827"/>
                    <a:pt x="116101" y="1309511"/>
                  </a:cubicBezTo>
                  <a:cubicBezTo>
                    <a:pt x="130126" y="1307195"/>
                    <a:pt x="116101" y="1286265"/>
                    <a:pt x="126137" y="1282834"/>
                  </a:cubicBezTo>
                  <a:cubicBezTo>
                    <a:pt x="136174" y="1279360"/>
                    <a:pt x="124122" y="1266622"/>
                    <a:pt x="127124" y="1252683"/>
                  </a:cubicBezTo>
                  <a:cubicBezTo>
                    <a:pt x="130126" y="1238744"/>
                    <a:pt x="119103" y="1228321"/>
                    <a:pt x="132142" y="1222531"/>
                  </a:cubicBezTo>
                  <a:cubicBezTo>
                    <a:pt x="145180" y="1216741"/>
                    <a:pt x="136174" y="1205161"/>
                    <a:pt x="127124" y="1197055"/>
                  </a:cubicBezTo>
                  <a:cubicBezTo>
                    <a:pt x="118074" y="1188906"/>
                    <a:pt x="129140" y="1188906"/>
                    <a:pt x="140162" y="1188906"/>
                  </a:cubicBezTo>
                  <a:cubicBezTo>
                    <a:pt x="151185" y="1188906"/>
                    <a:pt x="145180" y="1168062"/>
                    <a:pt x="135144" y="1171536"/>
                  </a:cubicBezTo>
                  <a:cubicBezTo>
                    <a:pt x="123264" y="1175654"/>
                    <a:pt x="116101" y="1162229"/>
                    <a:pt x="125108" y="1151807"/>
                  </a:cubicBezTo>
                  <a:cubicBezTo>
                    <a:pt x="134115" y="1141342"/>
                    <a:pt x="117088" y="1134394"/>
                    <a:pt x="120090" y="1127445"/>
                  </a:cubicBezTo>
                  <a:cubicBezTo>
                    <a:pt x="123092" y="1120497"/>
                    <a:pt x="123092" y="1111191"/>
                    <a:pt x="117088" y="1106601"/>
                  </a:cubicBezTo>
                  <a:cubicBezTo>
                    <a:pt x="111040" y="1101969"/>
                    <a:pt x="115072" y="1067186"/>
                    <a:pt x="122106" y="1066028"/>
                  </a:cubicBezTo>
                  <a:cubicBezTo>
                    <a:pt x="129097" y="1064870"/>
                    <a:pt x="124122" y="1033561"/>
                    <a:pt x="124122" y="1024297"/>
                  </a:cubicBezTo>
                  <a:cubicBezTo>
                    <a:pt x="124122" y="1015033"/>
                    <a:pt x="116101" y="1005726"/>
                    <a:pt x="117131" y="997620"/>
                  </a:cubicBezTo>
                  <a:cubicBezTo>
                    <a:pt x="118117" y="989514"/>
                    <a:pt x="126137" y="987155"/>
                    <a:pt x="126137" y="970985"/>
                  </a:cubicBezTo>
                  <a:cubicBezTo>
                    <a:pt x="126137" y="954731"/>
                    <a:pt x="129140" y="947783"/>
                    <a:pt x="135187" y="946625"/>
                  </a:cubicBezTo>
                  <a:cubicBezTo>
                    <a:pt x="141192" y="945466"/>
                    <a:pt x="136174" y="926896"/>
                    <a:pt x="137203" y="917631"/>
                  </a:cubicBezTo>
                  <a:cubicBezTo>
                    <a:pt x="138189" y="908367"/>
                    <a:pt x="154273" y="917631"/>
                    <a:pt x="156246" y="902577"/>
                  </a:cubicBezTo>
                  <a:cubicBezTo>
                    <a:pt x="158261" y="887480"/>
                    <a:pt x="146210" y="889839"/>
                    <a:pt x="148225" y="880575"/>
                  </a:cubicBezTo>
                  <a:cubicBezTo>
                    <a:pt x="150627" y="869467"/>
                    <a:pt x="147239" y="855056"/>
                    <a:pt x="147239" y="829537"/>
                  </a:cubicBezTo>
                  <a:cubicBezTo>
                    <a:pt x="147239" y="804061"/>
                    <a:pt x="165295" y="798270"/>
                    <a:pt x="172286" y="791279"/>
                  </a:cubicBezTo>
                  <a:cubicBezTo>
                    <a:pt x="179320" y="784331"/>
                    <a:pt x="163279" y="747232"/>
                    <a:pt x="172286" y="742600"/>
                  </a:cubicBezTo>
                  <a:cubicBezTo>
                    <a:pt x="181336" y="737925"/>
                    <a:pt x="175289" y="720598"/>
                    <a:pt x="182322" y="714765"/>
                  </a:cubicBezTo>
                  <a:cubicBezTo>
                    <a:pt x="189356" y="708975"/>
                    <a:pt x="187340" y="696194"/>
                    <a:pt x="191329" y="682298"/>
                  </a:cubicBezTo>
                  <a:cubicBezTo>
                    <a:pt x="195361" y="668359"/>
                    <a:pt x="183309" y="661411"/>
                    <a:pt x="183309" y="648672"/>
                  </a:cubicBezTo>
                  <a:cubicBezTo>
                    <a:pt x="183309" y="635891"/>
                    <a:pt x="181293" y="624311"/>
                    <a:pt x="172243" y="610372"/>
                  </a:cubicBezTo>
                  <a:cubicBezTo>
                    <a:pt x="163237" y="596476"/>
                    <a:pt x="166239" y="568641"/>
                    <a:pt x="172243" y="568641"/>
                  </a:cubicBezTo>
                  <a:cubicBezTo>
                    <a:pt x="178291" y="568641"/>
                    <a:pt x="175246" y="541964"/>
                    <a:pt x="186311" y="538447"/>
                  </a:cubicBezTo>
                  <a:cubicBezTo>
                    <a:pt x="197333" y="535015"/>
                    <a:pt x="191286" y="515286"/>
                    <a:pt x="186311" y="499032"/>
                  </a:cubicBezTo>
                  <a:cubicBezTo>
                    <a:pt x="181293" y="482819"/>
                    <a:pt x="195318" y="490926"/>
                    <a:pt x="195318" y="478187"/>
                  </a:cubicBezTo>
                  <a:cubicBezTo>
                    <a:pt x="195318" y="465449"/>
                    <a:pt x="201322" y="448079"/>
                    <a:pt x="210372" y="443404"/>
                  </a:cubicBezTo>
                  <a:cubicBezTo>
                    <a:pt x="219379" y="438772"/>
                    <a:pt x="220408" y="419086"/>
                    <a:pt x="220408" y="410937"/>
                  </a:cubicBezTo>
                  <a:cubicBezTo>
                    <a:pt x="220408" y="402831"/>
                    <a:pt x="233446" y="399357"/>
                    <a:pt x="240437" y="392408"/>
                  </a:cubicBezTo>
                  <a:cubicBezTo>
                    <a:pt x="247471" y="385460"/>
                    <a:pt x="228428" y="373838"/>
                    <a:pt x="239451" y="366890"/>
                  </a:cubicBezTo>
                  <a:cubicBezTo>
                    <a:pt x="250473" y="359899"/>
                    <a:pt x="230444" y="330948"/>
                    <a:pt x="236449" y="325158"/>
                  </a:cubicBezTo>
                  <a:cubicBezTo>
                    <a:pt x="242453" y="319368"/>
                    <a:pt x="237435" y="306587"/>
                    <a:pt x="238464" y="297323"/>
                  </a:cubicBezTo>
                  <a:cubicBezTo>
                    <a:pt x="239451" y="288059"/>
                    <a:pt x="272561" y="270646"/>
                    <a:pt x="276550" y="262540"/>
                  </a:cubicBezTo>
                  <a:cubicBezTo>
                    <a:pt x="279467" y="256621"/>
                    <a:pt x="282383" y="235820"/>
                    <a:pt x="283369" y="217378"/>
                  </a:cubicBezTo>
                  <a:cubicBezTo>
                    <a:pt x="273033" y="225140"/>
                    <a:pt x="264027" y="229301"/>
                    <a:pt x="262397" y="224840"/>
                  </a:cubicBezTo>
                  <a:cubicBezTo>
                    <a:pt x="259437" y="216820"/>
                    <a:pt x="263383" y="192845"/>
                    <a:pt x="254505" y="182594"/>
                  </a:cubicBezTo>
                  <a:cubicBezTo>
                    <a:pt x="245627" y="172301"/>
                    <a:pt x="251546" y="151757"/>
                    <a:pt x="242668" y="147211"/>
                  </a:cubicBezTo>
                  <a:cubicBezTo>
                    <a:pt x="233789" y="142621"/>
                    <a:pt x="222939" y="122078"/>
                    <a:pt x="230830" y="115215"/>
                  </a:cubicBezTo>
                  <a:cubicBezTo>
                    <a:pt x="238722" y="108353"/>
                    <a:pt x="230830" y="94671"/>
                    <a:pt x="237735" y="87809"/>
                  </a:cubicBezTo>
                  <a:cubicBezTo>
                    <a:pt x="244641" y="80989"/>
                    <a:pt x="233789" y="79789"/>
                    <a:pt x="223882" y="66107"/>
                  </a:cubicBezTo>
                  <a:cubicBezTo>
                    <a:pt x="214017" y="52382"/>
                    <a:pt x="227828" y="35270"/>
                    <a:pt x="215990" y="24976"/>
                  </a:cubicBezTo>
                  <a:cubicBezTo>
                    <a:pt x="204153" y="14683"/>
                    <a:pt x="204153" y="2159"/>
                    <a:pt x="201194" y="7863"/>
                  </a:cubicBezTo>
                  <a:cubicBezTo>
                    <a:pt x="198234" y="13610"/>
                    <a:pt x="197248" y="32996"/>
                    <a:pt x="187383" y="38701"/>
                  </a:cubicBezTo>
                  <a:cubicBezTo>
                    <a:pt x="185754" y="39644"/>
                    <a:pt x="183180" y="41874"/>
                    <a:pt x="180135" y="44791"/>
                  </a:cubicBezTo>
                  <a:cubicBezTo>
                    <a:pt x="180221" y="54269"/>
                    <a:pt x="177261" y="70224"/>
                    <a:pt x="180478" y="79531"/>
                  </a:cubicBezTo>
                  <a:cubicBezTo>
                    <a:pt x="184939" y="92398"/>
                    <a:pt x="187126" y="154930"/>
                    <a:pt x="182708" y="178906"/>
                  </a:cubicBezTo>
                  <a:cubicBezTo>
                    <a:pt x="178248" y="202881"/>
                    <a:pt x="173787" y="222567"/>
                    <a:pt x="169370" y="237149"/>
                  </a:cubicBezTo>
                  <a:cubicBezTo>
                    <a:pt x="164909" y="251732"/>
                    <a:pt x="179749" y="252589"/>
                    <a:pt x="173787" y="259452"/>
                  </a:cubicBezTo>
                  <a:cubicBezTo>
                    <a:pt x="167869" y="266314"/>
                    <a:pt x="170099" y="283427"/>
                    <a:pt x="170099" y="310833"/>
                  </a:cubicBezTo>
                  <a:cubicBezTo>
                    <a:pt x="170099" y="338240"/>
                    <a:pt x="156031" y="384517"/>
                    <a:pt x="155302" y="399057"/>
                  </a:cubicBezTo>
                  <a:cubicBezTo>
                    <a:pt x="154573" y="413596"/>
                    <a:pt x="144923" y="423032"/>
                    <a:pt x="146424" y="439330"/>
                  </a:cubicBezTo>
                  <a:cubicBezTo>
                    <a:pt x="147196" y="447950"/>
                    <a:pt x="145266" y="454641"/>
                    <a:pt x="142049" y="460174"/>
                  </a:cubicBezTo>
                  <a:cubicBezTo>
                    <a:pt x="149040" y="468194"/>
                    <a:pt x="152343" y="479560"/>
                    <a:pt x="148268" y="493198"/>
                  </a:cubicBezTo>
                  <a:cubicBezTo>
                    <a:pt x="146510" y="499117"/>
                    <a:pt x="144623" y="504865"/>
                    <a:pt x="142693" y="510526"/>
                  </a:cubicBezTo>
                  <a:cubicBezTo>
                    <a:pt x="143722" y="513614"/>
                    <a:pt x="144322" y="516445"/>
                    <a:pt x="144194" y="518932"/>
                  </a:cubicBezTo>
                  <a:cubicBezTo>
                    <a:pt x="143465" y="532657"/>
                    <a:pt x="127896" y="538619"/>
                    <a:pt x="131584" y="560921"/>
                  </a:cubicBezTo>
                  <a:cubicBezTo>
                    <a:pt x="136216" y="588756"/>
                    <a:pt x="131584" y="636278"/>
                    <a:pt x="131584" y="645713"/>
                  </a:cubicBezTo>
                  <a:cubicBezTo>
                    <a:pt x="131584" y="655148"/>
                    <a:pt x="121977" y="654248"/>
                    <a:pt x="124164" y="672261"/>
                  </a:cubicBezTo>
                  <a:cubicBezTo>
                    <a:pt x="125751" y="685000"/>
                    <a:pt x="120262" y="690919"/>
                    <a:pt x="116101" y="702413"/>
                  </a:cubicBezTo>
                  <a:cubicBezTo>
                    <a:pt x="108167" y="759327"/>
                    <a:pt x="99589" y="816584"/>
                    <a:pt x="71711" y="867322"/>
                  </a:cubicBezTo>
                  <a:cubicBezTo>
                    <a:pt x="70724" y="869080"/>
                    <a:pt x="69652" y="870667"/>
                    <a:pt x="68580" y="872169"/>
                  </a:cubicBezTo>
                  <a:cubicBezTo>
                    <a:pt x="69223" y="884993"/>
                    <a:pt x="63862" y="896873"/>
                    <a:pt x="70853" y="910383"/>
                  </a:cubicBezTo>
                  <a:cubicBezTo>
                    <a:pt x="79731" y="927496"/>
                    <a:pt x="76772" y="933500"/>
                    <a:pt x="72311" y="949798"/>
                  </a:cubicBezTo>
                  <a:cubicBezTo>
                    <a:pt x="67851" y="966053"/>
                    <a:pt x="61932" y="966911"/>
                    <a:pt x="61932" y="982351"/>
                  </a:cubicBezTo>
                  <a:cubicBezTo>
                    <a:pt x="61932" y="997791"/>
                    <a:pt x="51553" y="1010615"/>
                    <a:pt x="57514" y="1027728"/>
                  </a:cubicBezTo>
                  <a:cubicBezTo>
                    <a:pt x="63433" y="1044884"/>
                    <a:pt x="61932" y="1050888"/>
                    <a:pt x="54555" y="1050888"/>
                  </a:cubicBezTo>
                  <a:cubicBezTo>
                    <a:pt x="47135" y="1050888"/>
                    <a:pt x="43447" y="1064570"/>
                    <a:pt x="40488" y="1092877"/>
                  </a:cubicBezTo>
                  <a:cubicBezTo>
                    <a:pt x="37528" y="1121141"/>
                    <a:pt x="38257" y="1120283"/>
                    <a:pt x="56056" y="1118568"/>
                  </a:cubicBezTo>
                  <a:cubicBezTo>
                    <a:pt x="73855" y="1116895"/>
                    <a:pt x="59745" y="1049173"/>
                    <a:pt x="70853" y="1049173"/>
                  </a:cubicBezTo>
                  <a:cubicBezTo>
                    <a:pt x="81961" y="1049173"/>
                    <a:pt x="72311" y="1038021"/>
                    <a:pt x="83462" y="1034633"/>
                  </a:cubicBezTo>
                  <a:cubicBezTo>
                    <a:pt x="94571" y="1031202"/>
                    <a:pt x="84921" y="1046599"/>
                    <a:pt x="92341" y="1049173"/>
                  </a:cubicBezTo>
                  <a:cubicBezTo>
                    <a:pt x="99760" y="1051746"/>
                    <a:pt x="104907" y="1058608"/>
                    <a:pt x="94571" y="1066286"/>
                  </a:cubicBezTo>
                  <a:cubicBezTo>
                    <a:pt x="84191" y="1074006"/>
                    <a:pt x="96801" y="1089403"/>
                    <a:pt x="91611" y="1098839"/>
                  </a:cubicBezTo>
                  <a:cubicBezTo>
                    <a:pt x="86422" y="1108274"/>
                    <a:pt x="79045" y="1118525"/>
                    <a:pt x="83462" y="1129676"/>
                  </a:cubicBezTo>
                  <a:cubicBezTo>
                    <a:pt x="87880" y="1140827"/>
                    <a:pt x="78273" y="1139926"/>
                    <a:pt x="77544" y="1154509"/>
                  </a:cubicBezTo>
                  <a:cubicBezTo>
                    <a:pt x="76815" y="1169091"/>
                    <a:pt x="84191" y="1169949"/>
                    <a:pt x="79045" y="1173337"/>
                  </a:cubicBezTo>
                  <a:cubicBezTo>
                    <a:pt x="73855" y="1176768"/>
                    <a:pt x="85693" y="1187877"/>
                    <a:pt x="78273" y="1189635"/>
                  </a:cubicBezTo>
                  <a:cubicBezTo>
                    <a:pt x="70896" y="1191351"/>
                    <a:pt x="75314" y="1202459"/>
                    <a:pt x="79774" y="1212752"/>
                  </a:cubicBezTo>
                  <a:cubicBezTo>
                    <a:pt x="84234" y="1223003"/>
                    <a:pt x="70124" y="1216998"/>
                    <a:pt x="62747" y="1223861"/>
                  </a:cubicBezTo>
                  <a:cubicBezTo>
                    <a:pt x="55327" y="1230723"/>
                    <a:pt x="70167" y="1240116"/>
                    <a:pt x="65706" y="1249552"/>
                  </a:cubicBezTo>
                  <a:cubicBezTo>
                    <a:pt x="61289" y="1258987"/>
                    <a:pt x="49408" y="1244405"/>
                    <a:pt x="44219" y="1239258"/>
                  </a:cubicBezTo>
                  <a:cubicBezTo>
                    <a:pt x="39029" y="1234111"/>
                    <a:pt x="52368" y="1223818"/>
                    <a:pt x="59015" y="1213568"/>
                  </a:cubicBezTo>
                  <a:cubicBezTo>
                    <a:pt x="65664" y="1203317"/>
                    <a:pt x="52368" y="1180157"/>
                    <a:pt x="41259" y="1185304"/>
                  </a:cubicBezTo>
                  <a:cubicBezTo>
                    <a:pt x="30151" y="1190450"/>
                    <a:pt x="52368" y="1204990"/>
                    <a:pt x="52368" y="1216141"/>
                  </a:cubicBezTo>
                  <a:cubicBezTo>
                    <a:pt x="52368" y="1227292"/>
                    <a:pt x="33839" y="1213568"/>
                    <a:pt x="34569" y="1225533"/>
                  </a:cubicBezTo>
                  <a:cubicBezTo>
                    <a:pt x="35298" y="1237543"/>
                    <a:pt x="22002" y="1233254"/>
                    <a:pt x="15311" y="1241831"/>
                  </a:cubicBezTo>
                  <a:cubicBezTo>
                    <a:pt x="8663" y="1250366"/>
                    <a:pt x="24189" y="1258130"/>
                    <a:pt x="16770" y="1260703"/>
                  </a:cubicBezTo>
                  <a:cubicBezTo>
                    <a:pt x="13896" y="1261689"/>
                    <a:pt x="10207" y="1264134"/>
                    <a:pt x="6733" y="1267265"/>
                  </a:cubicBezTo>
                  <a:cubicBezTo>
                    <a:pt x="7077" y="1271253"/>
                    <a:pt x="7420" y="1275242"/>
                    <a:pt x="7677" y="1279188"/>
                  </a:cubicBezTo>
                  <a:cubicBezTo>
                    <a:pt x="11494" y="1276915"/>
                    <a:pt x="17327" y="1278287"/>
                    <a:pt x="19729" y="1285536"/>
                  </a:cubicBezTo>
                  <a:cubicBezTo>
                    <a:pt x="23417" y="1296687"/>
                    <a:pt x="28650" y="1285536"/>
                    <a:pt x="38986" y="1288109"/>
                  </a:cubicBezTo>
                  <a:cubicBezTo>
                    <a:pt x="49365" y="1290682"/>
                    <a:pt x="47864" y="1308653"/>
                    <a:pt x="41946" y="1307795"/>
                  </a:cubicBezTo>
                  <a:cubicBezTo>
                    <a:pt x="36027" y="1306938"/>
                    <a:pt x="30108" y="1318946"/>
                    <a:pt x="31566" y="1331770"/>
                  </a:cubicBezTo>
                  <a:cubicBezTo>
                    <a:pt x="33025" y="1344637"/>
                    <a:pt x="53783" y="1331770"/>
                    <a:pt x="62661" y="1335202"/>
                  </a:cubicBezTo>
                  <a:cubicBezTo>
                    <a:pt x="71539" y="1338633"/>
                    <a:pt x="68580" y="1356603"/>
                    <a:pt x="63390" y="1350599"/>
                  </a:cubicBezTo>
                  <a:cubicBezTo>
                    <a:pt x="58201" y="1344637"/>
                    <a:pt x="46363" y="1334301"/>
                    <a:pt x="41174" y="1344637"/>
                  </a:cubicBezTo>
                  <a:cubicBezTo>
                    <a:pt x="35984" y="1354888"/>
                    <a:pt x="27835" y="1349784"/>
                    <a:pt x="21187" y="1346353"/>
                  </a:cubicBezTo>
                  <a:cubicBezTo>
                    <a:pt x="18442" y="1344938"/>
                    <a:pt x="12738" y="1347211"/>
                    <a:pt x="7591" y="1350856"/>
                  </a:cubicBezTo>
                  <a:cubicBezTo>
                    <a:pt x="13467" y="1360163"/>
                    <a:pt x="16426" y="1371229"/>
                    <a:pt x="16212" y="1383495"/>
                  </a:cubicBezTo>
                  <a:cubicBezTo>
                    <a:pt x="20758" y="1381565"/>
                    <a:pt x="25691" y="1377919"/>
                    <a:pt x="27878" y="1372944"/>
                  </a:cubicBezTo>
                  <a:cubicBezTo>
                    <a:pt x="30837" y="1366082"/>
                    <a:pt x="41217" y="1359262"/>
                    <a:pt x="41946" y="1374617"/>
                  </a:cubicBezTo>
                  <a:cubicBezTo>
                    <a:pt x="42675" y="1390057"/>
                    <a:pt x="27878" y="1382337"/>
                    <a:pt x="24919" y="1390915"/>
                  </a:cubicBezTo>
                  <a:cubicBezTo>
                    <a:pt x="22388" y="1398249"/>
                    <a:pt x="17585" y="1404296"/>
                    <a:pt x="10722" y="1410730"/>
                  </a:cubicBezTo>
                  <a:cubicBezTo>
                    <a:pt x="9607" y="1413560"/>
                    <a:pt x="8449" y="1416391"/>
                    <a:pt x="7205" y="1419179"/>
                  </a:cubicBezTo>
                  <a:cubicBezTo>
                    <a:pt x="7034" y="1422181"/>
                    <a:pt x="6733" y="1425484"/>
                    <a:pt x="6433" y="1428958"/>
                  </a:cubicBezTo>
                  <a:cubicBezTo>
                    <a:pt x="8621" y="1431102"/>
                    <a:pt x="11666" y="1432002"/>
                    <a:pt x="14539" y="1430373"/>
                  </a:cubicBezTo>
                  <a:cubicBezTo>
                    <a:pt x="21959" y="1426084"/>
                    <a:pt x="12309" y="1440623"/>
                    <a:pt x="22688" y="1442339"/>
                  </a:cubicBezTo>
                  <a:cubicBezTo>
                    <a:pt x="32253" y="1443926"/>
                    <a:pt x="35298" y="1435477"/>
                    <a:pt x="33067" y="1426899"/>
                  </a:cubicBezTo>
                  <a:cubicBezTo>
                    <a:pt x="30837" y="1418321"/>
                    <a:pt x="38257" y="1399493"/>
                    <a:pt x="47135" y="1408928"/>
                  </a:cubicBezTo>
                  <a:cubicBezTo>
                    <a:pt x="56013" y="1418364"/>
                    <a:pt x="42675" y="1427799"/>
                    <a:pt x="42675" y="1436334"/>
                  </a:cubicBezTo>
                  <a:cubicBezTo>
                    <a:pt x="42675" y="1444912"/>
                    <a:pt x="37485" y="1456063"/>
                    <a:pt x="37485" y="1465456"/>
                  </a:cubicBezTo>
                  <a:cubicBezTo>
                    <a:pt x="37485" y="1474892"/>
                    <a:pt x="27878" y="1469745"/>
                    <a:pt x="28607" y="1480039"/>
                  </a:cubicBezTo>
                  <a:cubicBezTo>
                    <a:pt x="28993" y="1485400"/>
                    <a:pt x="23332" y="1486086"/>
                    <a:pt x="19214" y="1486515"/>
                  </a:cubicBezTo>
                  <a:cubicBezTo>
                    <a:pt x="20458" y="1490204"/>
                    <a:pt x="21445" y="1494064"/>
                    <a:pt x="22131" y="1498224"/>
                  </a:cubicBezTo>
                  <a:cubicBezTo>
                    <a:pt x="26420" y="1500840"/>
                    <a:pt x="30280" y="1503928"/>
                    <a:pt x="33968" y="1507273"/>
                  </a:cubicBezTo>
                  <a:cubicBezTo>
                    <a:pt x="34140" y="1507316"/>
                    <a:pt x="34311" y="1507359"/>
                    <a:pt x="34526" y="1507445"/>
                  </a:cubicBezTo>
                  <a:cubicBezTo>
                    <a:pt x="42675" y="1510876"/>
                    <a:pt x="41217" y="1513449"/>
                    <a:pt x="51553" y="1508303"/>
                  </a:cubicBezTo>
                  <a:cubicBezTo>
                    <a:pt x="61932" y="1503156"/>
                    <a:pt x="67851" y="1517738"/>
                    <a:pt x="58243" y="1521170"/>
                  </a:cubicBezTo>
                  <a:cubicBezTo>
                    <a:pt x="55113" y="1522285"/>
                    <a:pt x="51982" y="1524429"/>
                    <a:pt x="49237" y="1526788"/>
                  </a:cubicBezTo>
                  <a:cubicBezTo>
                    <a:pt x="49623" y="1527517"/>
                    <a:pt x="50095" y="1528118"/>
                    <a:pt x="50438" y="1528847"/>
                  </a:cubicBezTo>
                  <a:cubicBezTo>
                    <a:pt x="51767" y="1531549"/>
                    <a:pt x="52754" y="1534208"/>
                    <a:pt x="53612" y="1536824"/>
                  </a:cubicBezTo>
                  <a:cubicBezTo>
                    <a:pt x="57557" y="1535966"/>
                    <a:pt x="61289" y="1536310"/>
                    <a:pt x="62704" y="1541714"/>
                  </a:cubicBezTo>
                  <a:cubicBezTo>
                    <a:pt x="65664" y="1552865"/>
                    <a:pt x="73083" y="1549433"/>
                    <a:pt x="73812" y="1537425"/>
                  </a:cubicBezTo>
                  <a:cubicBezTo>
                    <a:pt x="74541" y="1525458"/>
                    <a:pt x="92341" y="1535709"/>
                    <a:pt x="95300" y="1546003"/>
                  </a:cubicBezTo>
                  <a:cubicBezTo>
                    <a:pt x="98259" y="1556253"/>
                    <a:pt x="76772" y="1562257"/>
                    <a:pt x="65664" y="1559727"/>
                  </a:cubicBezTo>
                  <a:cubicBezTo>
                    <a:pt x="61932" y="1558869"/>
                    <a:pt x="58887" y="1560027"/>
                    <a:pt x="56657" y="1562214"/>
                  </a:cubicBezTo>
                  <a:cubicBezTo>
                    <a:pt x="56571" y="1569163"/>
                    <a:pt x="56313" y="1576196"/>
                    <a:pt x="56700" y="1583659"/>
                  </a:cubicBezTo>
                  <a:cubicBezTo>
                    <a:pt x="63991" y="1593267"/>
                    <a:pt x="72569" y="1582544"/>
                    <a:pt x="80503" y="1573409"/>
                  </a:cubicBezTo>
                  <a:cubicBezTo>
                    <a:pt x="88652" y="1564016"/>
                    <a:pt x="128668" y="1566546"/>
                    <a:pt x="131627" y="1576840"/>
                  </a:cubicBezTo>
                  <a:cubicBezTo>
                    <a:pt x="134586" y="1587090"/>
                    <a:pt x="113099" y="1578555"/>
                    <a:pt x="110912" y="1584517"/>
                  </a:cubicBezTo>
                  <a:cubicBezTo>
                    <a:pt x="108681" y="1590522"/>
                    <a:pt x="92383" y="1595668"/>
                    <a:pt x="90153" y="1588806"/>
                  </a:cubicBezTo>
                  <a:cubicBezTo>
                    <a:pt x="87923" y="1581944"/>
                    <a:pt x="72354" y="1591379"/>
                    <a:pt x="71625" y="1602487"/>
                  </a:cubicBezTo>
                  <a:cubicBezTo>
                    <a:pt x="70896" y="1613596"/>
                    <a:pt x="59015" y="1613596"/>
                    <a:pt x="72354" y="1617928"/>
                  </a:cubicBezTo>
                  <a:cubicBezTo>
                    <a:pt x="85693" y="1622217"/>
                    <a:pt x="82004" y="1601630"/>
                    <a:pt x="102720" y="1603389"/>
                  </a:cubicBezTo>
                  <a:cubicBezTo>
                    <a:pt x="123478" y="1605104"/>
                    <a:pt x="134544" y="1581129"/>
                    <a:pt x="140505" y="1594854"/>
                  </a:cubicBezTo>
                  <a:cubicBezTo>
                    <a:pt x="146424" y="1608535"/>
                    <a:pt x="123478" y="1619686"/>
                    <a:pt x="115329" y="1611108"/>
                  </a:cubicBezTo>
                  <a:cubicBezTo>
                    <a:pt x="107180" y="1602573"/>
                    <a:pt x="97573" y="1617113"/>
                    <a:pt x="98302" y="1629980"/>
                  </a:cubicBezTo>
                  <a:cubicBezTo>
                    <a:pt x="98860" y="1639801"/>
                    <a:pt x="84663" y="1632596"/>
                    <a:pt x="72654" y="1627878"/>
                  </a:cubicBezTo>
                  <a:cubicBezTo>
                    <a:pt x="72869" y="1628178"/>
                    <a:pt x="73040" y="1628522"/>
                    <a:pt x="73212" y="1628822"/>
                  </a:cubicBezTo>
                  <a:cubicBezTo>
                    <a:pt x="87022" y="1631952"/>
                    <a:pt x="98388" y="1642675"/>
                    <a:pt x="98517" y="1660903"/>
                  </a:cubicBezTo>
                  <a:cubicBezTo>
                    <a:pt x="107952" y="1669438"/>
                    <a:pt x="108724" y="1677072"/>
                    <a:pt x="116787" y="1668537"/>
                  </a:cubicBezTo>
                  <a:cubicBezTo>
                    <a:pt x="125666" y="1659102"/>
                    <a:pt x="116787" y="1659959"/>
                    <a:pt x="110869" y="1655670"/>
                  </a:cubicBezTo>
                  <a:cubicBezTo>
                    <a:pt x="104950" y="1651381"/>
                    <a:pt x="110140" y="1636799"/>
                    <a:pt x="124207" y="1644519"/>
                  </a:cubicBezTo>
                  <a:cubicBezTo>
                    <a:pt x="138275" y="1652239"/>
                    <a:pt x="154573" y="1637700"/>
                    <a:pt x="150113" y="1617113"/>
                  </a:cubicBezTo>
                  <a:cubicBezTo>
                    <a:pt x="145652" y="1596526"/>
                    <a:pt x="162722" y="1587133"/>
                    <a:pt x="179749" y="1580271"/>
                  </a:cubicBezTo>
                  <a:cubicBezTo>
                    <a:pt x="196776" y="1573409"/>
                    <a:pt x="187898" y="1593138"/>
                    <a:pt x="175331" y="1599100"/>
                  </a:cubicBezTo>
                  <a:cubicBezTo>
                    <a:pt x="162722" y="1605104"/>
                    <a:pt x="160535" y="1609393"/>
                    <a:pt x="170142" y="1621402"/>
                  </a:cubicBezTo>
                  <a:cubicBezTo>
                    <a:pt x="179749" y="1633368"/>
                    <a:pt x="192358" y="1613682"/>
                    <a:pt x="200508" y="1623117"/>
                  </a:cubicBezTo>
                  <a:cubicBezTo>
                    <a:pt x="208656" y="1632510"/>
                    <a:pt x="185711" y="1630837"/>
                    <a:pt x="181979" y="1640273"/>
                  </a:cubicBezTo>
                  <a:cubicBezTo>
                    <a:pt x="178291" y="1649666"/>
                    <a:pt x="196047" y="1660817"/>
                    <a:pt x="183480" y="1667680"/>
                  </a:cubicBezTo>
                  <a:cubicBezTo>
                    <a:pt x="170871" y="1674542"/>
                    <a:pt x="176833" y="1639415"/>
                    <a:pt x="169413" y="1635984"/>
                  </a:cubicBezTo>
                  <a:cubicBezTo>
                    <a:pt x="161993" y="1632553"/>
                    <a:pt x="155345" y="1640273"/>
                    <a:pt x="162765" y="1659959"/>
                  </a:cubicBezTo>
                  <a:cubicBezTo>
                    <a:pt x="170185" y="1679645"/>
                    <a:pt x="153887" y="1662533"/>
                    <a:pt x="146467" y="1653097"/>
                  </a:cubicBezTo>
                  <a:cubicBezTo>
                    <a:pt x="139047" y="1643662"/>
                    <a:pt x="128711" y="1657386"/>
                    <a:pt x="137589" y="1667637"/>
                  </a:cubicBezTo>
                  <a:cubicBezTo>
                    <a:pt x="146467" y="1677930"/>
                    <a:pt x="120562" y="1666779"/>
                    <a:pt x="120562" y="1683077"/>
                  </a:cubicBezTo>
                  <a:cubicBezTo>
                    <a:pt x="120562" y="1699332"/>
                    <a:pt x="131670" y="1685650"/>
                    <a:pt x="145009" y="1689081"/>
                  </a:cubicBezTo>
                  <a:cubicBezTo>
                    <a:pt x="155216" y="1691697"/>
                    <a:pt x="154144" y="1705294"/>
                    <a:pt x="157404" y="1715415"/>
                  </a:cubicBezTo>
                  <a:cubicBezTo>
                    <a:pt x="160663" y="1716273"/>
                    <a:pt x="163880" y="1717388"/>
                    <a:pt x="166839" y="1719061"/>
                  </a:cubicBezTo>
                  <a:cubicBezTo>
                    <a:pt x="166968" y="1719147"/>
                    <a:pt x="167054" y="1719233"/>
                    <a:pt x="167182" y="1719318"/>
                  </a:cubicBezTo>
                  <a:cubicBezTo>
                    <a:pt x="168255" y="1710826"/>
                    <a:pt x="167182" y="1695043"/>
                    <a:pt x="173916" y="1693370"/>
                  </a:cubicBezTo>
                  <a:cubicBezTo>
                    <a:pt x="184295" y="1690797"/>
                    <a:pt x="174645" y="1720777"/>
                    <a:pt x="197634" y="1729354"/>
                  </a:cubicBezTo>
                  <a:cubicBezTo>
                    <a:pt x="220580" y="1737889"/>
                    <a:pt x="199135" y="1724207"/>
                    <a:pt x="209471" y="1715629"/>
                  </a:cubicBezTo>
                  <a:cubicBezTo>
                    <a:pt x="215519" y="1710655"/>
                    <a:pt x="222552" y="1720219"/>
                    <a:pt x="229586" y="1729740"/>
                  </a:cubicBezTo>
                  <a:cubicBezTo>
                    <a:pt x="231645" y="1729311"/>
                    <a:pt x="233747" y="1729011"/>
                    <a:pt x="235848" y="1728968"/>
                  </a:cubicBezTo>
                  <a:cubicBezTo>
                    <a:pt x="239451" y="1728883"/>
                    <a:pt x="242968" y="1729183"/>
                    <a:pt x="246442" y="1729740"/>
                  </a:cubicBezTo>
                  <a:cubicBezTo>
                    <a:pt x="244598" y="1725966"/>
                    <a:pt x="242282" y="1722149"/>
                    <a:pt x="239837" y="1719061"/>
                  </a:cubicBezTo>
                  <a:cubicBezTo>
                    <a:pt x="231688" y="1708810"/>
                    <a:pt x="247986" y="1714815"/>
                    <a:pt x="259094" y="1719061"/>
                  </a:cubicBezTo>
                  <a:cubicBezTo>
                    <a:pt x="270203" y="1723350"/>
                    <a:pt x="279080" y="1725065"/>
                    <a:pt x="281311" y="1715629"/>
                  </a:cubicBezTo>
                  <a:cubicBezTo>
                    <a:pt x="282169" y="1712113"/>
                    <a:pt x="284184" y="1712199"/>
                    <a:pt x="286843" y="1713142"/>
                  </a:cubicBezTo>
                  <a:cubicBezTo>
                    <a:pt x="275092" y="1704221"/>
                    <a:pt x="235762" y="1710569"/>
                    <a:pt x="230358" y="170954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0" name="Freeform: Shape 187">
              <a:extLst>
                <a:ext uri="{FF2B5EF4-FFF2-40B4-BE49-F238E27FC236}">
                  <a16:creationId xmlns:a16="http://schemas.microsoft.com/office/drawing/2014/main" id="{819CCD01-D5F4-D02F-8C64-4627DA11D131}"/>
                </a:ext>
              </a:extLst>
            </p:cNvPr>
            <p:cNvSpPr/>
            <p:nvPr/>
          </p:nvSpPr>
          <p:spPr>
            <a:xfrm>
              <a:off x="5375007" y="5023948"/>
              <a:ext cx="229624" cy="268988"/>
            </a:xfrm>
            <a:custGeom>
              <a:avLst/>
              <a:gdLst>
                <a:gd name="connsiteX0" fmla="*/ 290446 w 300225"/>
                <a:gd name="connsiteY0" fmla="*/ 191553 h 351692"/>
                <a:gd name="connsiteX1" fmla="*/ 262354 w 300225"/>
                <a:gd name="connsiteY1" fmla="*/ 198502 h 351692"/>
                <a:gd name="connsiteX2" fmla="*/ 246313 w 300225"/>
                <a:gd name="connsiteY2" fmla="*/ 155655 h 351692"/>
                <a:gd name="connsiteX3" fmla="*/ 223282 w 300225"/>
                <a:gd name="connsiteY3" fmla="*/ 123145 h 351692"/>
                <a:gd name="connsiteX4" fmla="*/ 194203 w 300225"/>
                <a:gd name="connsiteY4" fmla="*/ 119713 h 351692"/>
                <a:gd name="connsiteX5" fmla="*/ 177133 w 300225"/>
                <a:gd name="connsiteY5" fmla="*/ 88404 h 351692"/>
                <a:gd name="connsiteX6" fmla="*/ 171128 w 300225"/>
                <a:gd name="connsiteY6" fmla="*/ 40883 h 351692"/>
                <a:gd name="connsiteX7" fmla="*/ 169713 w 300225"/>
                <a:gd name="connsiteY7" fmla="*/ 20253 h 351692"/>
                <a:gd name="connsiteX8" fmla="*/ 164094 w 300225"/>
                <a:gd name="connsiteY8" fmla="*/ 22527 h 351692"/>
                <a:gd name="connsiteX9" fmla="*/ 132485 w 300225"/>
                <a:gd name="connsiteY9" fmla="*/ 6529 h 351692"/>
                <a:gd name="connsiteX10" fmla="*/ 93970 w 300225"/>
                <a:gd name="connsiteY10" fmla="*/ 11118 h 351692"/>
                <a:gd name="connsiteX11" fmla="*/ 53440 w 300225"/>
                <a:gd name="connsiteY11" fmla="*/ 19138 h 351692"/>
                <a:gd name="connsiteX12" fmla="*/ 27792 w 300225"/>
                <a:gd name="connsiteY12" fmla="*/ 55680 h 351692"/>
                <a:gd name="connsiteX13" fmla="*/ 17885 w 300225"/>
                <a:gd name="connsiteY13" fmla="*/ 115082 h 351692"/>
                <a:gd name="connsiteX14" fmla="*/ 6433 w 300225"/>
                <a:gd name="connsiteY14" fmla="*/ 114739 h 351692"/>
                <a:gd name="connsiteX15" fmla="*/ 52797 w 300225"/>
                <a:gd name="connsiteY15" fmla="*/ 169594 h 351692"/>
                <a:gd name="connsiteX16" fmla="*/ 89896 w 300225"/>
                <a:gd name="connsiteY16" fmla="*/ 196271 h 351692"/>
                <a:gd name="connsiteX17" fmla="*/ 126995 w 300225"/>
                <a:gd name="connsiteY17" fmla="*/ 218316 h 351692"/>
                <a:gd name="connsiteX18" fmla="*/ 189142 w 300225"/>
                <a:gd name="connsiteY18" fmla="*/ 254300 h 351692"/>
                <a:gd name="connsiteX19" fmla="*/ 163065 w 300225"/>
                <a:gd name="connsiteY19" fmla="*/ 306454 h 351692"/>
                <a:gd name="connsiteX20" fmla="*/ 152042 w 300225"/>
                <a:gd name="connsiteY20" fmla="*/ 331973 h 351692"/>
                <a:gd name="connsiteX21" fmla="*/ 183137 w 300225"/>
                <a:gd name="connsiteY21" fmla="*/ 340036 h 351692"/>
                <a:gd name="connsiteX22" fmla="*/ 215219 w 300225"/>
                <a:gd name="connsiteY22" fmla="*/ 343510 h 351692"/>
                <a:gd name="connsiteX23" fmla="*/ 244297 w 300225"/>
                <a:gd name="connsiteY23" fmla="*/ 336562 h 351692"/>
                <a:gd name="connsiteX24" fmla="*/ 270374 w 300225"/>
                <a:gd name="connsiteY24" fmla="*/ 321465 h 351692"/>
                <a:gd name="connsiteX25" fmla="*/ 287401 w 300225"/>
                <a:gd name="connsiteY25" fmla="*/ 264679 h 351692"/>
                <a:gd name="connsiteX26" fmla="*/ 290446 w 300225"/>
                <a:gd name="connsiteY26" fmla="*/ 191553 h 351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0225" h="351692">
                  <a:moveTo>
                    <a:pt x="290446" y="191553"/>
                  </a:moveTo>
                  <a:cubicBezTo>
                    <a:pt x="278437" y="184605"/>
                    <a:pt x="266385" y="198502"/>
                    <a:pt x="262354" y="198502"/>
                  </a:cubicBezTo>
                  <a:cubicBezTo>
                    <a:pt x="258365" y="198502"/>
                    <a:pt x="249315" y="168350"/>
                    <a:pt x="246313" y="155655"/>
                  </a:cubicBezTo>
                  <a:cubicBezTo>
                    <a:pt x="243311" y="142874"/>
                    <a:pt x="231302" y="117355"/>
                    <a:pt x="223282" y="123145"/>
                  </a:cubicBezTo>
                  <a:cubicBezTo>
                    <a:pt x="215261" y="128978"/>
                    <a:pt x="217277" y="120871"/>
                    <a:pt x="194203" y="119713"/>
                  </a:cubicBezTo>
                  <a:cubicBezTo>
                    <a:pt x="171128" y="118513"/>
                    <a:pt x="172157" y="113923"/>
                    <a:pt x="177133" y="88404"/>
                  </a:cubicBezTo>
                  <a:cubicBezTo>
                    <a:pt x="182151" y="62928"/>
                    <a:pt x="162122" y="46673"/>
                    <a:pt x="171128" y="40883"/>
                  </a:cubicBezTo>
                  <a:cubicBezTo>
                    <a:pt x="177948" y="36509"/>
                    <a:pt x="177304" y="31447"/>
                    <a:pt x="169713" y="20253"/>
                  </a:cubicBezTo>
                  <a:cubicBezTo>
                    <a:pt x="167826" y="21626"/>
                    <a:pt x="165896" y="22527"/>
                    <a:pt x="164094" y="22527"/>
                  </a:cubicBezTo>
                  <a:cubicBezTo>
                    <a:pt x="156203" y="22527"/>
                    <a:pt x="146295" y="6529"/>
                    <a:pt x="132485" y="6529"/>
                  </a:cubicBezTo>
                  <a:cubicBezTo>
                    <a:pt x="118632" y="6529"/>
                    <a:pt x="103835" y="5371"/>
                    <a:pt x="93970" y="11118"/>
                  </a:cubicBezTo>
                  <a:cubicBezTo>
                    <a:pt x="84106" y="16865"/>
                    <a:pt x="65320" y="9960"/>
                    <a:pt x="53440" y="19138"/>
                  </a:cubicBezTo>
                  <a:cubicBezTo>
                    <a:pt x="41602" y="28274"/>
                    <a:pt x="26763" y="47660"/>
                    <a:pt x="27792" y="55680"/>
                  </a:cubicBezTo>
                  <a:cubicBezTo>
                    <a:pt x="28779" y="63700"/>
                    <a:pt x="23846" y="112765"/>
                    <a:pt x="17885" y="115082"/>
                  </a:cubicBezTo>
                  <a:cubicBezTo>
                    <a:pt x="16083" y="115768"/>
                    <a:pt x="11709" y="115382"/>
                    <a:pt x="6433" y="114739"/>
                  </a:cubicBezTo>
                  <a:cubicBezTo>
                    <a:pt x="14325" y="130564"/>
                    <a:pt x="37743" y="158957"/>
                    <a:pt x="52797" y="169594"/>
                  </a:cubicBezTo>
                  <a:cubicBezTo>
                    <a:pt x="70853" y="182375"/>
                    <a:pt x="69824" y="193955"/>
                    <a:pt x="89896" y="196271"/>
                  </a:cubicBezTo>
                  <a:cubicBezTo>
                    <a:pt x="109925" y="198587"/>
                    <a:pt x="119961" y="207851"/>
                    <a:pt x="126995" y="218316"/>
                  </a:cubicBezTo>
                  <a:cubicBezTo>
                    <a:pt x="134029" y="228738"/>
                    <a:pt x="185153" y="246151"/>
                    <a:pt x="189142" y="254300"/>
                  </a:cubicBezTo>
                  <a:cubicBezTo>
                    <a:pt x="193130" y="262406"/>
                    <a:pt x="163065" y="285609"/>
                    <a:pt x="163065" y="306454"/>
                  </a:cubicBezTo>
                  <a:cubicBezTo>
                    <a:pt x="163065" y="327341"/>
                    <a:pt x="152042" y="325025"/>
                    <a:pt x="152042" y="331973"/>
                  </a:cubicBezTo>
                  <a:cubicBezTo>
                    <a:pt x="152042" y="338921"/>
                    <a:pt x="175117" y="334289"/>
                    <a:pt x="183137" y="340036"/>
                  </a:cubicBezTo>
                  <a:cubicBezTo>
                    <a:pt x="191157" y="345869"/>
                    <a:pt x="205182" y="336562"/>
                    <a:pt x="215219" y="343510"/>
                  </a:cubicBezTo>
                  <a:cubicBezTo>
                    <a:pt x="225254" y="350501"/>
                    <a:pt x="236277" y="334246"/>
                    <a:pt x="244297" y="336562"/>
                  </a:cubicBezTo>
                  <a:cubicBezTo>
                    <a:pt x="252318" y="338878"/>
                    <a:pt x="260338" y="320350"/>
                    <a:pt x="270374" y="321465"/>
                  </a:cubicBezTo>
                  <a:cubicBezTo>
                    <a:pt x="280410" y="322623"/>
                    <a:pt x="289417" y="280892"/>
                    <a:pt x="287401" y="264679"/>
                  </a:cubicBezTo>
                  <a:cubicBezTo>
                    <a:pt x="285428" y="248339"/>
                    <a:pt x="302455" y="198502"/>
                    <a:pt x="290446" y="19155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1" name="Freeform: Shape 190">
              <a:extLst>
                <a:ext uri="{FF2B5EF4-FFF2-40B4-BE49-F238E27FC236}">
                  <a16:creationId xmlns:a16="http://schemas.microsoft.com/office/drawing/2014/main" id="{EA40D978-8E6F-D572-57B1-67CB95A09B98}"/>
                </a:ext>
              </a:extLst>
            </p:cNvPr>
            <p:cNvSpPr/>
            <p:nvPr/>
          </p:nvSpPr>
          <p:spPr>
            <a:xfrm>
              <a:off x="4960274" y="4089584"/>
              <a:ext cx="311632" cy="485490"/>
            </a:xfrm>
            <a:custGeom>
              <a:avLst/>
              <a:gdLst>
                <a:gd name="connsiteX0" fmla="*/ 397756 w 407448"/>
                <a:gd name="connsiteY0" fmla="*/ 364559 h 634761"/>
                <a:gd name="connsiteX1" fmla="*/ 399085 w 407448"/>
                <a:gd name="connsiteY1" fmla="*/ 335609 h 634761"/>
                <a:gd name="connsiteX2" fmla="*/ 386047 w 407448"/>
                <a:gd name="connsiteY2" fmla="*/ 305887 h 634761"/>
                <a:gd name="connsiteX3" fmla="*/ 394067 w 407448"/>
                <a:gd name="connsiteY3" fmla="*/ 235205 h 634761"/>
                <a:gd name="connsiteX4" fmla="*/ 354995 w 407448"/>
                <a:gd name="connsiteY4" fmla="*/ 223239 h 634761"/>
                <a:gd name="connsiteX5" fmla="*/ 308245 w 407448"/>
                <a:gd name="connsiteY5" fmla="*/ 199693 h 634761"/>
                <a:gd name="connsiteX6" fmla="*/ 251117 w 407448"/>
                <a:gd name="connsiteY6" fmla="*/ 193903 h 634761"/>
                <a:gd name="connsiteX7" fmla="*/ 229415 w 407448"/>
                <a:gd name="connsiteY7" fmla="*/ 142907 h 634761"/>
                <a:gd name="connsiteX8" fmla="*/ 214747 w 407448"/>
                <a:gd name="connsiteY8" fmla="*/ 117431 h 634761"/>
                <a:gd name="connsiteX9" fmla="*/ 199049 w 407448"/>
                <a:gd name="connsiteY9" fmla="*/ 108896 h 634761"/>
                <a:gd name="connsiteX10" fmla="*/ 204067 w 407448"/>
                <a:gd name="connsiteY10" fmla="*/ 91140 h 634761"/>
                <a:gd name="connsiteX11" fmla="*/ 209085 w 407448"/>
                <a:gd name="connsiteY11" fmla="*/ 62576 h 634761"/>
                <a:gd name="connsiteX12" fmla="*/ 238465 w 407448"/>
                <a:gd name="connsiteY12" fmla="*/ 18914 h 634761"/>
                <a:gd name="connsiteX13" fmla="*/ 248629 w 407448"/>
                <a:gd name="connsiteY13" fmla="*/ 11451 h 634761"/>
                <a:gd name="connsiteX14" fmla="*/ 251803 w 407448"/>
                <a:gd name="connsiteY14" fmla="*/ 6433 h 634761"/>
                <a:gd name="connsiteX15" fmla="*/ 244941 w 407448"/>
                <a:gd name="connsiteY15" fmla="*/ 6734 h 634761"/>
                <a:gd name="connsiteX16" fmla="*/ 228257 w 407448"/>
                <a:gd name="connsiteY16" fmla="*/ 16941 h 634761"/>
                <a:gd name="connsiteX17" fmla="*/ 204110 w 407448"/>
                <a:gd name="connsiteY17" fmla="*/ 21101 h 634761"/>
                <a:gd name="connsiteX18" fmla="*/ 180907 w 407448"/>
                <a:gd name="connsiteY18" fmla="*/ 43190 h 634761"/>
                <a:gd name="connsiteX19" fmla="*/ 162122 w 407448"/>
                <a:gd name="connsiteY19" fmla="*/ 49108 h 634761"/>
                <a:gd name="connsiteX20" fmla="*/ 154102 w 407448"/>
                <a:gd name="connsiteY20" fmla="*/ 56957 h 634761"/>
                <a:gd name="connsiteX21" fmla="*/ 146939 w 407448"/>
                <a:gd name="connsiteY21" fmla="*/ 66865 h 634761"/>
                <a:gd name="connsiteX22" fmla="*/ 124636 w 407448"/>
                <a:gd name="connsiteY22" fmla="*/ 83677 h 634761"/>
                <a:gd name="connsiteX23" fmla="*/ 94871 w 407448"/>
                <a:gd name="connsiteY23" fmla="*/ 114000 h 634761"/>
                <a:gd name="connsiteX24" fmla="*/ 76043 w 407448"/>
                <a:gd name="connsiteY24" fmla="*/ 143508 h 634761"/>
                <a:gd name="connsiteX25" fmla="*/ 68752 w 407448"/>
                <a:gd name="connsiteY25" fmla="*/ 145480 h 634761"/>
                <a:gd name="connsiteX26" fmla="*/ 64162 w 407448"/>
                <a:gd name="connsiteY26" fmla="*/ 157575 h 634761"/>
                <a:gd name="connsiteX27" fmla="*/ 41646 w 407448"/>
                <a:gd name="connsiteY27" fmla="*/ 182837 h 634761"/>
                <a:gd name="connsiteX28" fmla="*/ 52368 w 407448"/>
                <a:gd name="connsiteY28" fmla="*/ 194889 h 634761"/>
                <a:gd name="connsiteX29" fmla="*/ 59016 w 407448"/>
                <a:gd name="connsiteY29" fmla="*/ 224869 h 634761"/>
                <a:gd name="connsiteX30" fmla="*/ 59016 w 407448"/>
                <a:gd name="connsiteY30" fmla="*/ 246270 h 634761"/>
                <a:gd name="connsiteX31" fmla="*/ 64934 w 407448"/>
                <a:gd name="connsiteY31" fmla="*/ 306230 h 634761"/>
                <a:gd name="connsiteX32" fmla="*/ 57515 w 407448"/>
                <a:gd name="connsiteY32" fmla="*/ 339640 h 634761"/>
                <a:gd name="connsiteX33" fmla="*/ 30108 w 407448"/>
                <a:gd name="connsiteY33" fmla="*/ 365331 h 634761"/>
                <a:gd name="connsiteX34" fmla="*/ 13081 w 407448"/>
                <a:gd name="connsiteY34" fmla="*/ 390164 h 634761"/>
                <a:gd name="connsiteX35" fmla="*/ 6433 w 407448"/>
                <a:gd name="connsiteY35" fmla="*/ 406290 h 634761"/>
                <a:gd name="connsiteX36" fmla="*/ 47650 w 407448"/>
                <a:gd name="connsiteY36" fmla="*/ 433011 h 634761"/>
                <a:gd name="connsiteX37" fmla="*/ 68494 w 407448"/>
                <a:gd name="connsiteY37" fmla="*/ 450853 h 634761"/>
                <a:gd name="connsiteX38" fmla="*/ 93971 w 407448"/>
                <a:gd name="connsiteY38" fmla="*/ 450853 h 634761"/>
                <a:gd name="connsiteX39" fmla="*/ 117903 w 407448"/>
                <a:gd name="connsiteY39" fmla="*/ 472297 h 634761"/>
                <a:gd name="connsiteX40" fmla="*/ 119404 w 407448"/>
                <a:gd name="connsiteY40" fmla="*/ 474270 h 634761"/>
                <a:gd name="connsiteX41" fmla="*/ 148140 w 407448"/>
                <a:gd name="connsiteY41" fmla="*/ 473198 h 634761"/>
                <a:gd name="connsiteX42" fmla="*/ 167869 w 407448"/>
                <a:gd name="connsiteY42" fmla="*/ 505451 h 634761"/>
                <a:gd name="connsiteX43" fmla="*/ 188799 w 407448"/>
                <a:gd name="connsiteY43" fmla="*/ 529640 h 634761"/>
                <a:gd name="connsiteX44" fmla="*/ 201580 w 407448"/>
                <a:gd name="connsiteY44" fmla="*/ 553829 h 634761"/>
                <a:gd name="connsiteX45" fmla="*/ 239923 w 407448"/>
                <a:gd name="connsiteY45" fmla="*/ 559233 h 634761"/>
                <a:gd name="connsiteX46" fmla="*/ 259695 w 407448"/>
                <a:gd name="connsiteY46" fmla="*/ 556531 h 634761"/>
                <a:gd name="connsiteX47" fmla="*/ 281783 w 407448"/>
                <a:gd name="connsiteY47" fmla="*/ 555159 h 634761"/>
                <a:gd name="connsiteX48" fmla="*/ 306187 w 407448"/>
                <a:gd name="connsiteY48" fmla="*/ 578019 h 634761"/>
                <a:gd name="connsiteX49" fmla="*/ 288774 w 407448"/>
                <a:gd name="connsiteY49" fmla="*/ 610315 h 634761"/>
                <a:gd name="connsiteX50" fmla="*/ 308632 w 407448"/>
                <a:gd name="connsiteY50" fmla="*/ 628629 h 634761"/>
                <a:gd name="connsiteX51" fmla="*/ 310261 w 407448"/>
                <a:gd name="connsiteY51" fmla="*/ 628500 h 634761"/>
                <a:gd name="connsiteX52" fmla="*/ 323085 w 407448"/>
                <a:gd name="connsiteY52" fmla="*/ 576003 h 634761"/>
                <a:gd name="connsiteX53" fmla="*/ 329948 w 407448"/>
                <a:gd name="connsiteY53" fmla="*/ 523292 h 634761"/>
                <a:gd name="connsiteX54" fmla="*/ 308546 w 407448"/>
                <a:gd name="connsiteY54" fmla="*/ 460674 h 634761"/>
                <a:gd name="connsiteX55" fmla="*/ 331234 w 407448"/>
                <a:gd name="connsiteY55" fmla="*/ 439830 h 634761"/>
                <a:gd name="connsiteX56" fmla="*/ 324544 w 407448"/>
                <a:gd name="connsiteY56" fmla="*/ 423961 h 634761"/>
                <a:gd name="connsiteX57" fmla="*/ 315837 w 407448"/>
                <a:gd name="connsiteY57" fmla="*/ 402731 h 634761"/>
                <a:gd name="connsiteX58" fmla="*/ 366275 w 407448"/>
                <a:gd name="connsiteY58" fmla="*/ 398442 h 634761"/>
                <a:gd name="connsiteX59" fmla="*/ 403674 w 407448"/>
                <a:gd name="connsiteY59" fmla="*/ 384160 h 634761"/>
                <a:gd name="connsiteX60" fmla="*/ 397756 w 407448"/>
                <a:gd name="connsiteY60" fmla="*/ 364559 h 634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07448" h="634761">
                  <a:moveTo>
                    <a:pt x="397756" y="364559"/>
                  </a:moveTo>
                  <a:cubicBezTo>
                    <a:pt x="388749" y="356453"/>
                    <a:pt x="392094" y="344873"/>
                    <a:pt x="399085" y="335609"/>
                  </a:cubicBezTo>
                  <a:cubicBezTo>
                    <a:pt x="406119" y="326345"/>
                    <a:pt x="394753" y="317081"/>
                    <a:pt x="386047" y="305887"/>
                  </a:cubicBezTo>
                  <a:cubicBezTo>
                    <a:pt x="377383" y="294693"/>
                    <a:pt x="384031" y="254119"/>
                    <a:pt x="394067" y="235205"/>
                  </a:cubicBezTo>
                  <a:cubicBezTo>
                    <a:pt x="404060" y="216291"/>
                    <a:pt x="373695" y="220537"/>
                    <a:pt x="354995" y="223239"/>
                  </a:cubicBezTo>
                  <a:cubicBezTo>
                    <a:pt x="336295" y="225941"/>
                    <a:pt x="320255" y="217406"/>
                    <a:pt x="308245" y="199693"/>
                  </a:cubicBezTo>
                  <a:cubicBezTo>
                    <a:pt x="296236" y="181936"/>
                    <a:pt x="279853" y="193130"/>
                    <a:pt x="251117" y="193903"/>
                  </a:cubicBezTo>
                  <a:cubicBezTo>
                    <a:pt x="222381" y="194675"/>
                    <a:pt x="228086" y="157189"/>
                    <a:pt x="229415" y="142907"/>
                  </a:cubicBezTo>
                  <a:cubicBezTo>
                    <a:pt x="230745" y="128625"/>
                    <a:pt x="214747" y="126695"/>
                    <a:pt x="214747" y="117431"/>
                  </a:cubicBezTo>
                  <a:cubicBezTo>
                    <a:pt x="214747" y="108167"/>
                    <a:pt x="206383" y="108167"/>
                    <a:pt x="199049" y="108896"/>
                  </a:cubicBezTo>
                  <a:cubicBezTo>
                    <a:pt x="191715" y="109668"/>
                    <a:pt x="199049" y="98474"/>
                    <a:pt x="204067" y="91140"/>
                  </a:cubicBezTo>
                  <a:cubicBezTo>
                    <a:pt x="209085" y="83806"/>
                    <a:pt x="208742" y="77973"/>
                    <a:pt x="209085" y="62576"/>
                  </a:cubicBezTo>
                  <a:cubicBezTo>
                    <a:pt x="209429" y="47092"/>
                    <a:pt x="228772" y="34011"/>
                    <a:pt x="238465" y="18914"/>
                  </a:cubicBezTo>
                  <a:cubicBezTo>
                    <a:pt x="240824" y="15269"/>
                    <a:pt x="244469" y="12910"/>
                    <a:pt x="248629" y="11451"/>
                  </a:cubicBezTo>
                  <a:cubicBezTo>
                    <a:pt x="249273" y="9479"/>
                    <a:pt x="250302" y="7806"/>
                    <a:pt x="251803" y="6433"/>
                  </a:cubicBezTo>
                  <a:cubicBezTo>
                    <a:pt x="249530" y="6433"/>
                    <a:pt x="247214" y="6648"/>
                    <a:pt x="244941" y="6734"/>
                  </a:cubicBezTo>
                  <a:cubicBezTo>
                    <a:pt x="240781" y="11494"/>
                    <a:pt x="235248" y="15140"/>
                    <a:pt x="228257" y="16941"/>
                  </a:cubicBezTo>
                  <a:cubicBezTo>
                    <a:pt x="220280" y="18957"/>
                    <a:pt x="212045" y="19386"/>
                    <a:pt x="204110" y="21101"/>
                  </a:cubicBezTo>
                  <a:cubicBezTo>
                    <a:pt x="200250" y="31652"/>
                    <a:pt x="192487" y="40445"/>
                    <a:pt x="180907" y="43190"/>
                  </a:cubicBezTo>
                  <a:cubicBezTo>
                    <a:pt x="174560" y="44691"/>
                    <a:pt x="168212" y="46621"/>
                    <a:pt x="162122" y="49108"/>
                  </a:cubicBezTo>
                  <a:cubicBezTo>
                    <a:pt x="159548" y="52025"/>
                    <a:pt x="156846" y="54598"/>
                    <a:pt x="154102" y="56957"/>
                  </a:cubicBezTo>
                  <a:cubicBezTo>
                    <a:pt x="152386" y="60688"/>
                    <a:pt x="149984" y="64034"/>
                    <a:pt x="146939" y="66865"/>
                  </a:cubicBezTo>
                  <a:cubicBezTo>
                    <a:pt x="142521" y="75099"/>
                    <a:pt x="135101" y="81490"/>
                    <a:pt x="124636" y="83677"/>
                  </a:cubicBezTo>
                  <a:cubicBezTo>
                    <a:pt x="122149" y="98688"/>
                    <a:pt x="109368" y="111341"/>
                    <a:pt x="94871" y="114000"/>
                  </a:cubicBezTo>
                  <a:cubicBezTo>
                    <a:pt x="86808" y="124808"/>
                    <a:pt x="80932" y="136731"/>
                    <a:pt x="76043" y="143508"/>
                  </a:cubicBezTo>
                  <a:cubicBezTo>
                    <a:pt x="73770" y="146639"/>
                    <a:pt x="71325" y="146896"/>
                    <a:pt x="68752" y="145480"/>
                  </a:cubicBezTo>
                  <a:cubicBezTo>
                    <a:pt x="67765" y="151099"/>
                    <a:pt x="66393" y="155645"/>
                    <a:pt x="64162" y="157575"/>
                  </a:cubicBezTo>
                  <a:cubicBezTo>
                    <a:pt x="60045" y="161049"/>
                    <a:pt x="50223" y="172629"/>
                    <a:pt x="41646" y="182837"/>
                  </a:cubicBezTo>
                  <a:cubicBezTo>
                    <a:pt x="45806" y="187426"/>
                    <a:pt x="49709" y="191586"/>
                    <a:pt x="52368" y="194889"/>
                  </a:cubicBezTo>
                  <a:cubicBezTo>
                    <a:pt x="62704" y="207713"/>
                    <a:pt x="56056" y="218006"/>
                    <a:pt x="59016" y="224869"/>
                  </a:cubicBezTo>
                  <a:cubicBezTo>
                    <a:pt x="61975" y="231688"/>
                    <a:pt x="64934" y="241981"/>
                    <a:pt x="59016" y="246270"/>
                  </a:cubicBezTo>
                  <a:cubicBezTo>
                    <a:pt x="53097" y="250516"/>
                    <a:pt x="58287" y="297652"/>
                    <a:pt x="64934" y="306230"/>
                  </a:cubicBezTo>
                  <a:cubicBezTo>
                    <a:pt x="71582" y="314765"/>
                    <a:pt x="64934" y="322485"/>
                    <a:pt x="57515" y="339640"/>
                  </a:cubicBezTo>
                  <a:cubicBezTo>
                    <a:pt x="50095" y="356753"/>
                    <a:pt x="43447" y="364473"/>
                    <a:pt x="30108" y="365331"/>
                  </a:cubicBezTo>
                  <a:cubicBezTo>
                    <a:pt x="16770" y="366232"/>
                    <a:pt x="17542" y="390164"/>
                    <a:pt x="13081" y="390164"/>
                  </a:cubicBezTo>
                  <a:cubicBezTo>
                    <a:pt x="9522" y="390164"/>
                    <a:pt x="6991" y="398828"/>
                    <a:pt x="6433" y="406290"/>
                  </a:cubicBezTo>
                  <a:cubicBezTo>
                    <a:pt x="18871" y="418385"/>
                    <a:pt x="41217" y="433011"/>
                    <a:pt x="47650" y="433011"/>
                  </a:cubicBezTo>
                  <a:cubicBezTo>
                    <a:pt x="54598" y="433011"/>
                    <a:pt x="59230" y="444633"/>
                    <a:pt x="68494" y="450853"/>
                  </a:cubicBezTo>
                  <a:cubicBezTo>
                    <a:pt x="77758" y="457157"/>
                    <a:pt x="90882" y="455356"/>
                    <a:pt x="93971" y="450853"/>
                  </a:cubicBezTo>
                  <a:cubicBezTo>
                    <a:pt x="97059" y="446392"/>
                    <a:pt x="105508" y="456214"/>
                    <a:pt x="117903" y="472297"/>
                  </a:cubicBezTo>
                  <a:cubicBezTo>
                    <a:pt x="118460" y="473026"/>
                    <a:pt x="118889" y="473584"/>
                    <a:pt x="119404" y="474270"/>
                  </a:cubicBezTo>
                  <a:cubicBezTo>
                    <a:pt x="129783" y="471611"/>
                    <a:pt x="142864" y="469381"/>
                    <a:pt x="148140" y="473198"/>
                  </a:cubicBezTo>
                  <a:cubicBezTo>
                    <a:pt x="157447" y="479931"/>
                    <a:pt x="155088" y="504121"/>
                    <a:pt x="167869" y="505451"/>
                  </a:cubicBezTo>
                  <a:cubicBezTo>
                    <a:pt x="180650" y="506780"/>
                    <a:pt x="189957" y="521577"/>
                    <a:pt x="188799" y="529640"/>
                  </a:cubicBezTo>
                  <a:cubicBezTo>
                    <a:pt x="187598" y="537703"/>
                    <a:pt x="202738" y="541735"/>
                    <a:pt x="201580" y="553829"/>
                  </a:cubicBezTo>
                  <a:cubicBezTo>
                    <a:pt x="200422" y="565924"/>
                    <a:pt x="235291" y="563222"/>
                    <a:pt x="239923" y="559233"/>
                  </a:cubicBezTo>
                  <a:cubicBezTo>
                    <a:pt x="244555" y="555159"/>
                    <a:pt x="253862" y="552500"/>
                    <a:pt x="259695" y="556531"/>
                  </a:cubicBezTo>
                  <a:cubicBezTo>
                    <a:pt x="265528" y="560563"/>
                    <a:pt x="275950" y="552500"/>
                    <a:pt x="281783" y="555159"/>
                  </a:cubicBezTo>
                  <a:cubicBezTo>
                    <a:pt x="287616" y="557861"/>
                    <a:pt x="310862" y="568627"/>
                    <a:pt x="306187" y="578019"/>
                  </a:cubicBezTo>
                  <a:cubicBezTo>
                    <a:pt x="301555" y="587455"/>
                    <a:pt x="285257" y="602209"/>
                    <a:pt x="288774" y="610315"/>
                  </a:cubicBezTo>
                  <a:cubicBezTo>
                    <a:pt x="291562" y="616662"/>
                    <a:pt x="303699" y="620651"/>
                    <a:pt x="308632" y="628629"/>
                  </a:cubicBezTo>
                  <a:cubicBezTo>
                    <a:pt x="309189" y="628586"/>
                    <a:pt x="309704" y="628629"/>
                    <a:pt x="310261" y="628500"/>
                  </a:cubicBezTo>
                  <a:cubicBezTo>
                    <a:pt x="319139" y="626227"/>
                    <a:pt x="323085" y="587412"/>
                    <a:pt x="323085" y="576003"/>
                  </a:cubicBezTo>
                  <a:cubicBezTo>
                    <a:pt x="323085" y="564595"/>
                    <a:pt x="327031" y="534873"/>
                    <a:pt x="329948" y="523292"/>
                  </a:cubicBezTo>
                  <a:cubicBezTo>
                    <a:pt x="335566" y="500818"/>
                    <a:pt x="308546" y="485035"/>
                    <a:pt x="308546" y="460674"/>
                  </a:cubicBezTo>
                  <a:cubicBezTo>
                    <a:pt x="308546" y="436356"/>
                    <a:pt x="319225" y="449866"/>
                    <a:pt x="331234" y="439830"/>
                  </a:cubicBezTo>
                  <a:cubicBezTo>
                    <a:pt x="343243" y="429794"/>
                    <a:pt x="330548" y="425548"/>
                    <a:pt x="324544" y="423961"/>
                  </a:cubicBezTo>
                  <a:cubicBezTo>
                    <a:pt x="318539" y="422459"/>
                    <a:pt x="313864" y="410065"/>
                    <a:pt x="315837" y="402731"/>
                  </a:cubicBezTo>
                  <a:cubicBezTo>
                    <a:pt x="317853" y="395397"/>
                    <a:pt x="354566" y="398442"/>
                    <a:pt x="366275" y="398442"/>
                  </a:cubicBezTo>
                  <a:cubicBezTo>
                    <a:pt x="377941" y="398442"/>
                    <a:pt x="403331" y="386090"/>
                    <a:pt x="403674" y="384160"/>
                  </a:cubicBezTo>
                  <a:cubicBezTo>
                    <a:pt x="404146" y="382358"/>
                    <a:pt x="406805" y="372665"/>
                    <a:pt x="397756" y="364559"/>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2" name="Freeform: Shape 191">
              <a:extLst>
                <a:ext uri="{FF2B5EF4-FFF2-40B4-BE49-F238E27FC236}">
                  <a16:creationId xmlns:a16="http://schemas.microsoft.com/office/drawing/2014/main" id="{DB902596-4D20-144B-7CBB-C5BEA4C760BB}"/>
                </a:ext>
              </a:extLst>
            </p:cNvPr>
            <p:cNvSpPr/>
            <p:nvPr/>
          </p:nvSpPr>
          <p:spPr>
            <a:xfrm>
              <a:off x="5201520" y="4733949"/>
              <a:ext cx="318193" cy="410042"/>
            </a:xfrm>
            <a:custGeom>
              <a:avLst/>
              <a:gdLst>
                <a:gd name="connsiteX0" fmla="*/ 410652 w 416026"/>
                <a:gd name="connsiteY0" fmla="*/ 322816 h 536116"/>
                <a:gd name="connsiteX1" fmla="*/ 390922 w 416026"/>
                <a:gd name="connsiteY1" fmla="*/ 285159 h 536116"/>
                <a:gd name="connsiteX2" fmla="*/ 363259 w 416026"/>
                <a:gd name="connsiteY2" fmla="*/ 265730 h 536116"/>
                <a:gd name="connsiteX3" fmla="*/ 326717 w 416026"/>
                <a:gd name="connsiteY3" fmla="*/ 246344 h 536116"/>
                <a:gd name="connsiteX4" fmla="*/ 322772 w 416026"/>
                <a:gd name="connsiteY4" fmla="*/ 214349 h 536116"/>
                <a:gd name="connsiteX5" fmla="*/ 317839 w 416026"/>
                <a:gd name="connsiteY5" fmla="*/ 184627 h 536116"/>
                <a:gd name="connsiteX6" fmla="*/ 305015 w 416026"/>
                <a:gd name="connsiteY6" fmla="*/ 158378 h 536116"/>
                <a:gd name="connsiteX7" fmla="*/ 268474 w 416026"/>
                <a:gd name="connsiteY7" fmla="*/ 149243 h 536116"/>
                <a:gd name="connsiteX8" fmla="*/ 240853 w 416026"/>
                <a:gd name="connsiteY8" fmla="*/ 134403 h 536116"/>
                <a:gd name="connsiteX9" fmla="*/ 227000 w 416026"/>
                <a:gd name="connsiteY9" fmla="*/ 120721 h 536116"/>
                <a:gd name="connsiteX10" fmla="*/ 203325 w 416026"/>
                <a:gd name="connsiteY10" fmla="*/ 114974 h 536116"/>
                <a:gd name="connsiteX11" fmla="*/ 163824 w 416026"/>
                <a:gd name="connsiteY11" fmla="*/ 87525 h 536116"/>
                <a:gd name="connsiteX12" fmla="*/ 152930 w 416026"/>
                <a:gd name="connsiteY12" fmla="*/ 12168 h 536116"/>
                <a:gd name="connsiteX13" fmla="*/ 121363 w 416026"/>
                <a:gd name="connsiteY13" fmla="*/ 9896 h 536116"/>
                <a:gd name="connsiteX14" fmla="*/ 81862 w 416026"/>
                <a:gd name="connsiteY14" fmla="*/ 30439 h 536116"/>
                <a:gd name="connsiteX15" fmla="*/ 53255 w 416026"/>
                <a:gd name="connsiteY15" fmla="*/ 47552 h 536116"/>
                <a:gd name="connsiteX16" fmla="*/ 24605 w 416026"/>
                <a:gd name="connsiteY16" fmla="*/ 55529 h 536116"/>
                <a:gd name="connsiteX17" fmla="*/ 13411 w 416026"/>
                <a:gd name="connsiteY17" fmla="*/ 52613 h 536116"/>
                <a:gd name="connsiteX18" fmla="*/ 36442 w 416026"/>
                <a:gd name="connsiteY18" fmla="*/ 106954 h 536116"/>
                <a:gd name="connsiteX19" fmla="*/ 27564 w 416026"/>
                <a:gd name="connsiteY19" fmla="*/ 127541 h 536116"/>
                <a:gd name="connsiteX20" fmla="*/ 30524 w 416026"/>
                <a:gd name="connsiteY20" fmla="*/ 182353 h 536116"/>
                <a:gd name="connsiteX21" fmla="*/ 22589 w 416026"/>
                <a:gd name="connsiteY21" fmla="*/ 214306 h 536116"/>
                <a:gd name="connsiteX22" fmla="*/ 14698 w 416026"/>
                <a:gd name="connsiteY22" fmla="*/ 247459 h 536116"/>
                <a:gd name="connsiteX23" fmla="*/ 27521 w 416026"/>
                <a:gd name="connsiteY23" fmla="*/ 265687 h 536116"/>
                <a:gd name="connsiteX24" fmla="*/ 9722 w 416026"/>
                <a:gd name="connsiteY24" fmla="*/ 296525 h 536116"/>
                <a:gd name="connsiteX25" fmla="*/ 6892 w 416026"/>
                <a:gd name="connsiteY25" fmla="*/ 312393 h 536116"/>
                <a:gd name="connsiteX26" fmla="*/ 20573 w 416026"/>
                <a:gd name="connsiteY26" fmla="*/ 330793 h 536116"/>
                <a:gd name="connsiteX27" fmla="*/ 28465 w 416026"/>
                <a:gd name="connsiteY27" fmla="*/ 371924 h 536116"/>
                <a:gd name="connsiteX28" fmla="*/ 42318 w 416026"/>
                <a:gd name="connsiteY28" fmla="*/ 393626 h 536116"/>
                <a:gd name="connsiteX29" fmla="*/ 35413 w 416026"/>
                <a:gd name="connsiteY29" fmla="*/ 421032 h 536116"/>
                <a:gd name="connsiteX30" fmla="*/ 47250 w 416026"/>
                <a:gd name="connsiteY30" fmla="*/ 453028 h 536116"/>
                <a:gd name="connsiteX31" fmla="*/ 59088 w 416026"/>
                <a:gd name="connsiteY31" fmla="*/ 488411 h 536116"/>
                <a:gd name="connsiteX32" fmla="*/ 66980 w 416026"/>
                <a:gd name="connsiteY32" fmla="*/ 530657 h 536116"/>
                <a:gd name="connsiteX33" fmla="*/ 112399 w 416026"/>
                <a:gd name="connsiteY33" fmla="*/ 499820 h 536116"/>
                <a:gd name="connsiteX34" fmla="*/ 142036 w 416026"/>
                <a:gd name="connsiteY34" fmla="*/ 498662 h 536116"/>
                <a:gd name="connsiteX35" fmla="*/ 180550 w 416026"/>
                <a:gd name="connsiteY35" fmla="*/ 516976 h 536116"/>
                <a:gd name="connsiteX36" fmla="*/ 200280 w 416026"/>
                <a:gd name="connsiteY36" fmla="*/ 494158 h 536116"/>
                <a:gd name="connsiteX37" fmla="*/ 244713 w 416026"/>
                <a:gd name="connsiteY37" fmla="*/ 494158 h 536116"/>
                <a:gd name="connsiteX38" fmla="*/ 254620 w 416026"/>
                <a:gd name="connsiteY38" fmla="*/ 434757 h 536116"/>
                <a:gd name="connsiteX39" fmla="*/ 280268 w 416026"/>
                <a:gd name="connsiteY39" fmla="*/ 398215 h 536116"/>
                <a:gd name="connsiteX40" fmla="*/ 320799 w 416026"/>
                <a:gd name="connsiteY40" fmla="*/ 390195 h 536116"/>
                <a:gd name="connsiteX41" fmla="*/ 359313 w 416026"/>
                <a:gd name="connsiteY41" fmla="*/ 385606 h 536116"/>
                <a:gd name="connsiteX42" fmla="*/ 390922 w 416026"/>
                <a:gd name="connsiteY42" fmla="*/ 401603 h 536116"/>
                <a:gd name="connsiteX43" fmla="*/ 406706 w 416026"/>
                <a:gd name="connsiteY43" fmla="*/ 373039 h 536116"/>
                <a:gd name="connsiteX44" fmla="*/ 410652 w 416026"/>
                <a:gd name="connsiteY44" fmla="*/ 322816 h 536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16026" h="536116">
                  <a:moveTo>
                    <a:pt x="410652" y="322816"/>
                  </a:moveTo>
                  <a:cubicBezTo>
                    <a:pt x="405719" y="305703"/>
                    <a:pt x="390922" y="303387"/>
                    <a:pt x="390922" y="285159"/>
                  </a:cubicBezTo>
                  <a:cubicBezTo>
                    <a:pt x="390922" y="266888"/>
                    <a:pt x="385004" y="264615"/>
                    <a:pt x="363259" y="265730"/>
                  </a:cubicBezTo>
                  <a:cubicBezTo>
                    <a:pt x="341514" y="266888"/>
                    <a:pt x="327704" y="261184"/>
                    <a:pt x="326717" y="246344"/>
                  </a:cubicBezTo>
                  <a:cubicBezTo>
                    <a:pt x="325731" y="231461"/>
                    <a:pt x="312864" y="220096"/>
                    <a:pt x="322772" y="214349"/>
                  </a:cubicBezTo>
                  <a:cubicBezTo>
                    <a:pt x="332636" y="208644"/>
                    <a:pt x="315866" y="198351"/>
                    <a:pt x="317839" y="184627"/>
                  </a:cubicBezTo>
                  <a:cubicBezTo>
                    <a:pt x="319812" y="170945"/>
                    <a:pt x="311920" y="165241"/>
                    <a:pt x="305015" y="158378"/>
                  </a:cubicBezTo>
                  <a:cubicBezTo>
                    <a:pt x="298110" y="151559"/>
                    <a:pt x="268474" y="161809"/>
                    <a:pt x="268474" y="149243"/>
                  </a:cubicBezTo>
                  <a:cubicBezTo>
                    <a:pt x="268474" y="136676"/>
                    <a:pt x="250717" y="134403"/>
                    <a:pt x="240853" y="134403"/>
                  </a:cubicBezTo>
                  <a:cubicBezTo>
                    <a:pt x="230988" y="134403"/>
                    <a:pt x="237893" y="119563"/>
                    <a:pt x="227000" y="120721"/>
                  </a:cubicBezTo>
                  <a:cubicBezTo>
                    <a:pt x="216149" y="121837"/>
                    <a:pt x="218122" y="112701"/>
                    <a:pt x="203325" y="114974"/>
                  </a:cubicBezTo>
                  <a:cubicBezTo>
                    <a:pt x="188528" y="117247"/>
                    <a:pt x="179607" y="109270"/>
                    <a:pt x="163824" y="87525"/>
                  </a:cubicBezTo>
                  <a:cubicBezTo>
                    <a:pt x="148040" y="65866"/>
                    <a:pt x="149970" y="23577"/>
                    <a:pt x="152930" y="12168"/>
                  </a:cubicBezTo>
                  <a:cubicBezTo>
                    <a:pt x="155889" y="760"/>
                    <a:pt x="134187" y="9896"/>
                    <a:pt x="121363" y="9896"/>
                  </a:cubicBezTo>
                  <a:cubicBezTo>
                    <a:pt x="108496" y="9896"/>
                    <a:pt x="95673" y="21304"/>
                    <a:pt x="81862" y="30439"/>
                  </a:cubicBezTo>
                  <a:cubicBezTo>
                    <a:pt x="68052" y="39575"/>
                    <a:pt x="60160" y="39575"/>
                    <a:pt x="53255" y="47552"/>
                  </a:cubicBezTo>
                  <a:cubicBezTo>
                    <a:pt x="46307" y="55529"/>
                    <a:pt x="35456" y="60119"/>
                    <a:pt x="24605" y="55529"/>
                  </a:cubicBezTo>
                  <a:cubicBezTo>
                    <a:pt x="21560" y="54243"/>
                    <a:pt x="17657" y="53300"/>
                    <a:pt x="13411" y="52613"/>
                  </a:cubicBezTo>
                  <a:cubicBezTo>
                    <a:pt x="19244" y="69426"/>
                    <a:pt x="33311" y="97003"/>
                    <a:pt x="36442" y="106954"/>
                  </a:cubicBezTo>
                  <a:cubicBezTo>
                    <a:pt x="40388" y="119520"/>
                    <a:pt x="31510" y="122909"/>
                    <a:pt x="27564" y="127541"/>
                  </a:cubicBezTo>
                  <a:cubicBezTo>
                    <a:pt x="23619" y="132087"/>
                    <a:pt x="29537" y="173175"/>
                    <a:pt x="30524" y="182353"/>
                  </a:cubicBezTo>
                  <a:cubicBezTo>
                    <a:pt x="31510" y="191489"/>
                    <a:pt x="16671" y="208602"/>
                    <a:pt x="22589" y="214306"/>
                  </a:cubicBezTo>
                  <a:cubicBezTo>
                    <a:pt x="28508" y="220010"/>
                    <a:pt x="14698" y="237166"/>
                    <a:pt x="14698" y="247459"/>
                  </a:cubicBezTo>
                  <a:cubicBezTo>
                    <a:pt x="14698" y="257710"/>
                    <a:pt x="27521" y="257710"/>
                    <a:pt x="27521" y="265687"/>
                  </a:cubicBezTo>
                  <a:cubicBezTo>
                    <a:pt x="27521" y="273707"/>
                    <a:pt x="16628" y="291978"/>
                    <a:pt x="9722" y="296525"/>
                  </a:cubicBezTo>
                  <a:cubicBezTo>
                    <a:pt x="6077" y="298926"/>
                    <a:pt x="6034" y="305402"/>
                    <a:pt x="6892" y="312393"/>
                  </a:cubicBezTo>
                  <a:cubicBezTo>
                    <a:pt x="8950" y="311622"/>
                    <a:pt x="10409" y="322001"/>
                    <a:pt x="20573" y="330793"/>
                  </a:cubicBezTo>
                  <a:cubicBezTo>
                    <a:pt x="32411" y="341087"/>
                    <a:pt x="18600" y="358199"/>
                    <a:pt x="28465" y="371924"/>
                  </a:cubicBezTo>
                  <a:cubicBezTo>
                    <a:pt x="38330" y="385606"/>
                    <a:pt x="49223" y="386807"/>
                    <a:pt x="42318" y="393626"/>
                  </a:cubicBezTo>
                  <a:cubicBezTo>
                    <a:pt x="35413" y="400488"/>
                    <a:pt x="43305" y="414170"/>
                    <a:pt x="35413" y="421032"/>
                  </a:cubicBezTo>
                  <a:cubicBezTo>
                    <a:pt x="27521" y="427895"/>
                    <a:pt x="38373" y="448439"/>
                    <a:pt x="47250" y="453028"/>
                  </a:cubicBezTo>
                  <a:cubicBezTo>
                    <a:pt x="56129" y="457574"/>
                    <a:pt x="50210" y="478118"/>
                    <a:pt x="59088" y="488411"/>
                  </a:cubicBezTo>
                  <a:cubicBezTo>
                    <a:pt x="67966" y="498662"/>
                    <a:pt x="64020" y="522680"/>
                    <a:pt x="66980" y="530657"/>
                  </a:cubicBezTo>
                  <a:cubicBezTo>
                    <a:pt x="69939" y="538635"/>
                    <a:pt x="96616" y="519248"/>
                    <a:pt x="112399" y="499820"/>
                  </a:cubicBezTo>
                  <a:cubicBezTo>
                    <a:pt x="128225" y="480391"/>
                    <a:pt x="127239" y="496432"/>
                    <a:pt x="142036" y="498662"/>
                  </a:cubicBezTo>
                  <a:cubicBezTo>
                    <a:pt x="156833" y="500978"/>
                    <a:pt x="173645" y="500978"/>
                    <a:pt x="180550" y="516976"/>
                  </a:cubicBezTo>
                  <a:cubicBezTo>
                    <a:pt x="187456" y="532973"/>
                    <a:pt x="195347" y="501021"/>
                    <a:pt x="200280" y="494158"/>
                  </a:cubicBezTo>
                  <a:cubicBezTo>
                    <a:pt x="205212" y="487296"/>
                    <a:pt x="238794" y="496432"/>
                    <a:pt x="244713" y="494158"/>
                  </a:cubicBezTo>
                  <a:cubicBezTo>
                    <a:pt x="250632" y="491886"/>
                    <a:pt x="255607" y="442777"/>
                    <a:pt x="254620" y="434757"/>
                  </a:cubicBezTo>
                  <a:cubicBezTo>
                    <a:pt x="253634" y="426736"/>
                    <a:pt x="268431" y="407350"/>
                    <a:pt x="280268" y="398215"/>
                  </a:cubicBezTo>
                  <a:cubicBezTo>
                    <a:pt x="292106" y="389080"/>
                    <a:pt x="310891" y="395942"/>
                    <a:pt x="320799" y="390195"/>
                  </a:cubicBezTo>
                  <a:cubicBezTo>
                    <a:pt x="330663" y="384491"/>
                    <a:pt x="345460" y="385606"/>
                    <a:pt x="359313" y="385606"/>
                  </a:cubicBezTo>
                  <a:cubicBezTo>
                    <a:pt x="373124" y="385606"/>
                    <a:pt x="383031" y="401603"/>
                    <a:pt x="390922" y="401603"/>
                  </a:cubicBezTo>
                  <a:cubicBezTo>
                    <a:pt x="398814" y="401603"/>
                    <a:pt x="408679" y="386764"/>
                    <a:pt x="406706" y="373039"/>
                  </a:cubicBezTo>
                  <a:cubicBezTo>
                    <a:pt x="404690" y="359358"/>
                    <a:pt x="415584" y="339972"/>
                    <a:pt x="410652" y="32281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3" name="Freeform: Shape 192">
              <a:extLst>
                <a:ext uri="{FF2B5EF4-FFF2-40B4-BE49-F238E27FC236}">
                  <a16:creationId xmlns:a16="http://schemas.microsoft.com/office/drawing/2014/main" id="{E8A38480-C94E-7CF4-14E4-6BF012803A4F}"/>
                </a:ext>
              </a:extLst>
            </p:cNvPr>
            <p:cNvSpPr/>
            <p:nvPr/>
          </p:nvSpPr>
          <p:spPr>
            <a:xfrm>
              <a:off x="4900375" y="4445088"/>
              <a:ext cx="334595" cy="560938"/>
            </a:xfrm>
            <a:custGeom>
              <a:avLst/>
              <a:gdLst>
                <a:gd name="connsiteX0" fmla="*/ 430094 w 437470"/>
                <a:gd name="connsiteY0" fmla="*/ 484673 h 733407"/>
                <a:gd name="connsiteX1" fmla="*/ 407062 w 437470"/>
                <a:gd name="connsiteY1" fmla="*/ 430333 h 733407"/>
                <a:gd name="connsiteX2" fmla="*/ 374766 w 437470"/>
                <a:gd name="connsiteY2" fmla="*/ 432134 h 733407"/>
                <a:gd name="connsiteX3" fmla="*/ 366875 w 437470"/>
                <a:gd name="connsiteY3" fmla="*/ 381911 h 733407"/>
                <a:gd name="connsiteX4" fmla="*/ 352035 w 437470"/>
                <a:gd name="connsiteY4" fmla="*/ 385342 h 733407"/>
                <a:gd name="connsiteX5" fmla="*/ 316480 w 437470"/>
                <a:gd name="connsiteY5" fmla="*/ 391046 h 733407"/>
                <a:gd name="connsiteX6" fmla="*/ 298724 w 437470"/>
                <a:gd name="connsiteY6" fmla="*/ 369344 h 733407"/>
                <a:gd name="connsiteX7" fmla="*/ 281954 w 437470"/>
                <a:gd name="connsiteY7" fmla="*/ 354504 h 733407"/>
                <a:gd name="connsiteX8" fmla="*/ 268101 w 437470"/>
                <a:gd name="connsiteY8" fmla="*/ 321351 h 733407"/>
                <a:gd name="connsiteX9" fmla="*/ 259223 w 437470"/>
                <a:gd name="connsiteY9" fmla="*/ 288241 h 733407"/>
                <a:gd name="connsiteX10" fmla="*/ 264155 w 437470"/>
                <a:gd name="connsiteY10" fmla="*/ 263108 h 733407"/>
                <a:gd name="connsiteX11" fmla="*/ 278995 w 437470"/>
                <a:gd name="connsiteY11" fmla="*/ 242563 h 733407"/>
                <a:gd name="connsiteX12" fmla="*/ 289846 w 437470"/>
                <a:gd name="connsiteY12" fmla="*/ 206022 h 733407"/>
                <a:gd name="connsiteX13" fmla="*/ 319482 w 437470"/>
                <a:gd name="connsiteY13" fmla="*/ 183205 h 733407"/>
                <a:gd name="connsiteX14" fmla="*/ 359970 w 437470"/>
                <a:gd name="connsiteY14" fmla="*/ 166092 h 733407"/>
                <a:gd name="connsiteX15" fmla="*/ 386990 w 437470"/>
                <a:gd name="connsiteY15" fmla="*/ 163905 h 733407"/>
                <a:gd name="connsiteX16" fmla="*/ 367132 w 437470"/>
                <a:gd name="connsiteY16" fmla="*/ 145591 h 733407"/>
                <a:gd name="connsiteX17" fmla="*/ 384545 w 437470"/>
                <a:gd name="connsiteY17" fmla="*/ 113295 h 733407"/>
                <a:gd name="connsiteX18" fmla="*/ 360141 w 437470"/>
                <a:gd name="connsiteY18" fmla="*/ 90435 h 733407"/>
                <a:gd name="connsiteX19" fmla="*/ 338053 w 437470"/>
                <a:gd name="connsiteY19" fmla="*/ 91807 h 733407"/>
                <a:gd name="connsiteX20" fmla="*/ 318281 w 437470"/>
                <a:gd name="connsiteY20" fmla="*/ 94509 h 733407"/>
                <a:gd name="connsiteX21" fmla="*/ 279938 w 437470"/>
                <a:gd name="connsiteY21" fmla="*/ 89105 h 733407"/>
                <a:gd name="connsiteX22" fmla="*/ 267157 w 437470"/>
                <a:gd name="connsiteY22" fmla="*/ 64916 h 733407"/>
                <a:gd name="connsiteX23" fmla="*/ 246227 w 437470"/>
                <a:gd name="connsiteY23" fmla="*/ 40727 h 733407"/>
                <a:gd name="connsiteX24" fmla="*/ 226498 w 437470"/>
                <a:gd name="connsiteY24" fmla="*/ 8474 h 733407"/>
                <a:gd name="connsiteX25" fmla="*/ 197762 w 437470"/>
                <a:gd name="connsiteY25" fmla="*/ 9546 h 733407"/>
                <a:gd name="connsiteX26" fmla="*/ 205525 w 437470"/>
                <a:gd name="connsiteY26" fmla="*/ 37038 h 733407"/>
                <a:gd name="connsiteX27" fmla="*/ 186997 w 437470"/>
                <a:gd name="connsiteY27" fmla="*/ 76281 h 733407"/>
                <a:gd name="connsiteX28" fmla="*/ 121377 w 437470"/>
                <a:gd name="connsiteY28" fmla="*/ 117412 h 733407"/>
                <a:gd name="connsiteX29" fmla="*/ 91268 w 437470"/>
                <a:gd name="connsiteY29" fmla="*/ 179002 h 733407"/>
                <a:gd name="connsiteX30" fmla="*/ 67336 w 437470"/>
                <a:gd name="connsiteY30" fmla="*/ 180760 h 733407"/>
                <a:gd name="connsiteX31" fmla="*/ 41860 w 437470"/>
                <a:gd name="connsiteY31" fmla="*/ 172739 h 733407"/>
                <a:gd name="connsiteX32" fmla="*/ 41860 w 437470"/>
                <a:gd name="connsiteY32" fmla="*/ 153096 h 733407"/>
                <a:gd name="connsiteX33" fmla="*/ 35384 w 437470"/>
                <a:gd name="connsiteY33" fmla="*/ 133239 h 733407"/>
                <a:gd name="connsiteX34" fmla="*/ 7720 w 437470"/>
                <a:gd name="connsiteY34" fmla="*/ 166992 h 733407"/>
                <a:gd name="connsiteX35" fmla="*/ 20329 w 437470"/>
                <a:gd name="connsiteY35" fmla="*/ 220089 h 733407"/>
                <a:gd name="connsiteX36" fmla="*/ 9950 w 437470"/>
                <a:gd name="connsiteY36" fmla="*/ 230340 h 733407"/>
                <a:gd name="connsiteX37" fmla="*/ 37442 w 437470"/>
                <a:gd name="connsiteY37" fmla="*/ 256974 h 733407"/>
                <a:gd name="connsiteX38" fmla="*/ 57000 w 437470"/>
                <a:gd name="connsiteY38" fmla="*/ 271771 h 733407"/>
                <a:gd name="connsiteX39" fmla="*/ 71367 w 437470"/>
                <a:gd name="connsiteY39" fmla="*/ 304238 h 733407"/>
                <a:gd name="connsiteX40" fmla="*/ 79602 w 437470"/>
                <a:gd name="connsiteY40" fmla="*/ 316847 h 733407"/>
                <a:gd name="connsiteX41" fmla="*/ 98731 w 437470"/>
                <a:gd name="connsiteY41" fmla="*/ 362525 h 733407"/>
                <a:gd name="connsiteX42" fmla="*/ 142392 w 437470"/>
                <a:gd name="connsiteY42" fmla="*/ 389888 h 733407"/>
                <a:gd name="connsiteX43" fmla="*/ 157403 w 437470"/>
                <a:gd name="connsiteY43" fmla="*/ 466488 h 733407"/>
                <a:gd name="connsiteX44" fmla="*/ 189999 w 437470"/>
                <a:gd name="connsiteY44" fmla="*/ 532109 h 733407"/>
                <a:gd name="connsiteX45" fmla="*/ 187169 w 437470"/>
                <a:gd name="connsiteY45" fmla="*/ 553854 h 733407"/>
                <a:gd name="connsiteX46" fmla="*/ 223453 w 437470"/>
                <a:gd name="connsiteY46" fmla="*/ 606565 h 733407"/>
                <a:gd name="connsiteX47" fmla="*/ 240351 w 437470"/>
                <a:gd name="connsiteY47" fmla="*/ 617502 h 733407"/>
                <a:gd name="connsiteX48" fmla="*/ 336638 w 437470"/>
                <a:gd name="connsiteY48" fmla="*/ 685996 h 733407"/>
                <a:gd name="connsiteX49" fmla="*/ 376654 w 437470"/>
                <a:gd name="connsiteY49" fmla="*/ 721122 h 733407"/>
                <a:gd name="connsiteX50" fmla="*/ 378541 w 437470"/>
                <a:gd name="connsiteY50" fmla="*/ 728328 h 733407"/>
                <a:gd name="connsiteX51" fmla="*/ 385789 w 437470"/>
                <a:gd name="connsiteY51" fmla="*/ 722237 h 733407"/>
                <a:gd name="connsiteX52" fmla="*/ 399599 w 437470"/>
                <a:gd name="connsiteY52" fmla="*/ 691400 h 733407"/>
                <a:gd name="connsiteX53" fmla="*/ 400715 w 437470"/>
                <a:gd name="connsiteY53" fmla="*/ 690113 h 733407"/>
                <a:gd name="connsiteX54" fmla="*/ 403545 w 437470"/>
                <a:gd name="connsiteY54" fmla="*/ 674244 h 733407"/>
                <a:gd name="connsiteX55" fmla="*/ 421344 w 437470"/>
                <a:gd name="connsiteY55" fmla="*/ 643407 h 733407"/>
                <a:gd name="connsiteX56" fmla="*/ 408521 w 437470"/>
                <a:gd name="connsiteY56" fmla="*/ 625179 h 733407"/>
                <a:gd name="connsiteX57" fmla="*/ 416412 w 437470"/>
                <a:gd name="connsiteY57" fmla="*/ 592025 h 733407"/>
                <a:gd name="connsiteX58" fmla="*/ 424347 w 437470"/>
                <a:gd name="connsiteY58" fmla="*/ 560073 h 733407"/>
                <a:gd name="connsiteX59" fmla="*/ 421387 w 437470"/>
                <a:gd name="connsiteY59" fmla="*/ 505260 h 733407"/>
                <a:gd name="connsiteX60" fmla="*/ 430094 w 437470"/>
                <a:gd name="connsiteY60" fmla="*/ 484673 h 73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37470" h="733407">
                  <a:moveTo>
                    <a:pt x="430094" y="484673"/>
                  </a:moveTo>
                  <a:cubicBezTo>
                    <a:pt x="426963" y="474723"/>
                    <a:pt x="412895" y="447145"/>
                    <a:pt x="407062" y="430333"/>
                  </a:cubicBezTo>
                  <a:cubicBezTo>
                    <a:pt x="396083" y="428531"/>
                    <a:pt x="382615" y="428832"/>
                    <a:pt x="374766" y="432134"/>
                  </a:cubicBezTo>
                  <a:cubicBezTo>
                    <a:pt x="363916" y="436723"/>
                    <a:pt x="366875" y="396708"/>
                    <a:pt x="366875" y="381911"/>
                  </a:cubicBezTo>
                  <a:cubicBezTo>
                    <a:pt x="366875" y="367071"/>
                    <a:pt x="356024" y="375049"/>
                    <a:pt x="352035" y="385342"/>
                  </a:cubicBezTo>
                  <a:cubicBezTo>
                    <a:pt x="348089" y="395636"/>
                    <a:pt x="332306" y="391046"/>
                    <a:pt x="316480" y="391046"/>
                  </a:cubicBezTo>
                  <a:cubicBezTo>
                    <a:pt x="300654" y="391046"/>
                    <a:pt x="308588" y="368229"/>
                    <a:pt x="298724" y="369344"/>
                  </a:cubicBezTo>
                  <a:cubicBezTo>
                    <a:pt x="288816" y="370502"/>
                    <a:pt x="280925" y="365956"/>
                    <a:pt x="281954" y="354504"/>
                  </a:cubicBezTo>
                  <a:cubicBezTo>
                    <a:pt x="282941" y="343053"/>
                    <a:pt x="275006" y="333961"/>
                    <a:pt x="268101" y="321351"/>
                  </a:cubicBezTo>
                  <a:cubicBezTo>
                    <a:pt x="261196" y="308785"/>
                    <a:pt x="253304" y="296261"/>
                    <a:pt x="259223" y="288241"/>
                  </a:cubicBezTo>
                  <a:cubicBezTo>
                    <a:pt x="265141" y="280220"/>
                    <a:pt x="255277" y="273401"/>
                    <a:pt x="264155" y="263108"/>
                  </a:cubicBezTo>
                  <a:cubicBezTo>
                    <a:pt x="273033" y="252814"/>
                    <a:pt x="281954" y="256245"/>
                    <a:pt x="278995" y="242563"/>
                  </a:cubicBezTo>
                  <a:cubicBezTo>
                    <a:pt x="276035" y="228839"/>
                    <a:pt x="288859" y="220862"/>
                    <a:pt x="289846" y="206022"/>
                  </a:cubicBezTo>
                  <a:cubicBezTo>
                    <a:pt x="290832" y="191182"/>
                    <a:pt x="305629" y="195771"/>
                    <a:pt x="319482" y="183205"/>
                  </a:cubicBezTo>
                  <a:cubicBezTo>
                    <a:pt x="333293" y="170638"/>
                    <a:pt x="348089" y="177457"/>
                    <a:pt x="359970" y="166092"/>
                  </a:cubicBezTo>
                  <a:cubicBezTo>
                    <a:pt x="371121" y="155370"/>
                    <a:pt x="378755" y="164633"/>
                    <a:pt x="386990" y="163905"/>
                  </a:cubicBezTo>
                  <a:cubicBezTo>
                    <a:pt x="382015" y="155884"/>
                    <a:pt x="369877" y="151938"/>
                    <a:pt x="367132" y="145591"/>
                  </a:cubicBezTo>
                  <a:cubicBezTo>
                    <a:pt x="363658" y="137485"/>
                    <a:pt x="379913" y="122731"/>
                    <a:pt x="384545" y="113295"/>
                  </a:cubicBezTo>
                  <a:cubicBezTo>
                    <a:pt x="389220" y="103902"/>
                    <a:pt x="365974" y="93137"/>
                    <a:pt x="360141" y="90435"/>
                  </a:cubicBezTo>
                  <a:cubicBezTo>
                    <a:pt x="354308" y="87776"/>
                    <a:pt x="343886" y="95839"/>
                    <a:pt x="338053" y="91807"/>
                  </a:cubicBezTo>
                  <a:cubicBezTo>
                    <a:pt x="332263" y="87776"/>
                    <a:pt x="322956" y="90435"/>
                    <a:pt x="318281" y="94509"/>
                  </a:cubicBezTo>
                  <a:cubicBezTo>
                    <a:pt x="313649" y="98541"/>
                    <a:pt x="278780" y="101243"/>
                    <a:pt x="279938" y="89105"/>
                  </a:cubicBezTo>
                  <a:cubicBezTo>
                    <a:pt x="281096" y="77011"/>
                    <a:pt x="265956" y="72979"/>
                    <a:pt x="267157" y="64916"/>
                  </a:cubicBezTo>
                  <a:cubicBezTo>
                    <a:pt x="268315" y="56852"/>
                    <a:pt x="259008" y="42056"/>
                    <a:pt x="246227" y="40727"/>
                  </a:cubicBezTo>
                  <a:cubicBezTo>
                    <a:pt x="233446" y="39397"/>
                    <a:pt x="235762" y="15207"/>
                    <a:pt x="226498" y="8474"/>
                  </a:cubicBezTo>
                  <a:cubicBezTo>
                    <a:pt x="221223" y="4657"/>
                    <a:pt x="208099" y="6887"/>
                    <a:pt x="197762" y="9546"/>
                  </a:cubicBezTo>
                  <a:cubicBezTo>
                    <a:pt x="208914" y="24086"/>
                    <a:pt x="212902" y="30175"/>
                    <a:pt x="205525" y="37038"/>
                  </a:cubicBezTo>
                  <a:cubicBezTo>
                    <a:pt x="195704" y="46130"/>
                    <a:pt x="205525" y="47760"/>
                    <a:pt x="186997" y="76281"/>
                  </a:cubicBezTo>
                  <a:cubicBezTo>
                    <a:pt x="168469" y="104889"/>
                    <a:pt x="136817" y="112009"/>
                    <a:pt x="121377" y="117412"/>
                  </a:cubicBezTo>
                  <a:cubicBezTo>
                    <a:pt x="105936" y="122773"/>
                    <a:pt x="99760" y="155755"/>
                    <a:pt x="91268" y="179002"/>
                  </a:cubicBezTo>
                  <a:cubicBezTo>
                    <a:pt x="82776" y="202204"/>
                    <a:pt x="75828" y="194184"/>
                    <a:pt x="67336" y="180760"/>
                  </a:cubicBezTo>
                  <a:cubicBezTo>
                    <a:pt x="58844" y="167378"/>
                    <a:pt x="51896" y="183419"/>
                    <a:pt x="41860" y="172739"/>
                  </a:cubicBezTo>
                  <a:cubicBezTo>
                    <a:pt x="31824" y="162017"/>
                    <a:pt x="36456" y="162017"/>
                    <a:pt x="41860" y="153096"/>
                  </a:cubicBezTo>
                  <a:cubicBezTo>
                    <a:pt x="44776" y="148293"/>
                    <a:pt x="41560" y="140615"/>
                    <a:pt x="35384" y="133239"/>
                  </a:cubicBezTo>
                  <a:cubicBezTo>
                    <a:pt x="24361" y="135855"/>
                    <a:pt x="13210" y="153482"/>
                    <a:pt x="7720" y="166992"/>
                  </a:cubicBezTo>
                  <a:cubicBezTo>
                    <a:pt x="1801" y="181532"/>
                    <a:pt x="18099" y="209796"/>
                    <a:pt x="20329" y="220089"/>
                  </a:cubicBezTo>
                  <a:cubicBezTo>
                    <a:pt x="22559" y="230340"/>
                    <a:pt x="11451" y="220947"/>
                    <a:pt x="9950" y="230340"/>
                  </a:cubicBezTo>
                  <a:cubicBezTo>
                    <a:pt x="8792" y="237803"/>
                    <a:pt x="24833" y="247967"/>
                    <a:pt x="37442" y="256974"/>
                  </a:cubicBezTo>
                  <a:cubicBezTo>
                    <a:pt x="44733" y="259247"/>
                    <a:pt x="51596" y="263965"/>
                    <a:pt x="57000" y="271771"/>
                  </a:cubicBezTo>
                  <a:cubicBezTo>
                    <a:pt x="64077" y="281979"/>
                    <a:pt x="68065" y="293044"/>
                    <a:pt x="71367" y="304238"/>
                  </a:cubicBezTo>
                  <a:cubicBezTo>
                    <a:pt x="74070" y="309042"/>
                    <a:pt x="76815" y="313417"/>
                    <a:pt x="79602" y="316847"/>
                  </a:cubicBezTo>
                  <a:cubicBezTo>
                    <a:pt x="89081" y="328514"/>
                    <a:pt x="91011" y="338978"/>
                    <a:pt x="98731" y="362525"/>
                  </a:cubicBezTo>
                  <a:cubicBezTo>
                    <a:pt x="112284" y="372218"/>
                    <a:pt x="130726" y="374877"/>
                    <a:pt x="142392" y="389888"/>
                  </a:cubicBezTo>
                  <a:cubicBezTo>
                    <a:pt x="161821" y="414850"/>
                    <a:pt x="148826" y="439768"/>
                    <a:pt x="157403" y="466488"/>
                  </a:cubicBezTo>
                  <a:cubicBezTo>
                    <a:pt x="165424" y="491450"/>
                    <a:pt x="186139" y="503416"/>
                    <a:pt x="189999" y="532109"/>
                  </a:cubicBezTo>
                  <a:cubicBezTo>
                    <a:pt x="191115" y="540258"/>
                    <a:pt x="189871" y="547549"/>
                    <a:pt x="187169" y="553854"/>
                  </a:cubicBezTo>
                  <a:cubicBezTo>
                    <a:pt x="202223" y="568565"/>
                    <a:pt x="213889" y="586922"/>
                    <a:pt x="223453" y="606565"/>
                  </a:cubicBezTo>
                  <a:cubicBezTo>
                    <a:pt x="228300" y="610082"/>
                    <a:pt x="233832" y="613728"/>
                    <a:pt x="240351" y="617502"/>
                  </a:cubicBezTo>
                  <a:cubicBezTo>
                    <a:pt x="271446" y="635472"/>
                    <a:pt x="328489" y="669741"/>
                    <a:pt x="336638" y="685996"/>
                  </a:cubicBezTo>
                  <a:cubicBezTo>
                    <a:pt x="344787" y="702251"/>
                    <a:pt x="371464" y="717691"/>
                    <a:pt x="376654" y="721122"/>
                  </a:cubicBezTo>
                  <a:cubicBezTo>
                    <a:pt x="378069" y="722066"/>
                    <a:pt x="378498" y="724768"/>
                    <a:pt x="378541" y="728328"/>
                  </a:cubicBezTo>
                  <a:cubicBezTo>
                    <a:pt x="381586" y="725411"/>
                    <a:pt x="384159" y="723181"/>
                    <a:pt x="385789" y="722237"/>
                  </a:cubicBezTo>
                  <a:cubicBezTo>
                    <a:pt x="395654" y="716533"/>
                    <a:pt x="396640" y="697147"/>
                    <a:pt x="399599" y="691400"/>
                  </a:cubicBezTo>
                  <a:cubicBezTo>
                    <a:pt x="400028" y="690628"/>
                    <a:pt x="400414" y="690242"/>
                    <a:pt x="400715" y="690113"/>
                  </a:cubicBezTo>
                  <a:cubicBezTo>
                    <a:pt x="399857" y="683122"/>
                    <a:pt x="399900" y="676646"/>
                    <a:pt x="403545" y="674244"/>
                  </a:cubicBezTo>
                  <a:cubicBezTo>
                    <a:pt x="410450" y="669698"/>
                    <a:pt x="421344" y="651427"/>
                    <a:pt x="421344" y="643407"/>
                  </a:cubicBezTo>
                  <a:cubicBezTo>
                    <a:pt x="421344" y="635429"/>
                    <a:pt x="408521" y="635429"/>
                    <a:pt x="408521" y="625179"/>
                  </a:cubicBezTo>
                  <a:cubicBezTo>
                    <a:pt x="408521" y="614886"/>
                    <a:pt x="422331" y="597772"/>
                    <a:pt x="416412" y="592025"/>
                  </a:cubicBezTo>
                  <a:cubicBezTo>
                    <a:pt x="410493" y="586321"/>
                    <a:pt x="425333" y="569166"/>
                    <a:pt x="424347" y="560073"/>
                  </a:cubicBezTo>
                  <a:cubicBezTo>
                    <a:pt x="423360" y="550938"/>
                    <a:pt x="417441" y="509807"/>
                    <a:pt x="421387" y="505260"/>
                  </a:cubicBezTo>
                  <a:cubicBezTo>
                    <a:pt x="425161" y="500629"/>
                    <a:pt x="434039" y="497240"/>
                    <a:pt x="430094" y="48467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4" name="Freeform: Shape 193">
              <a:extLst>
                <a:ext uri="{FF2B5EF4-FFF2-40B4-BE49-F238E27FC236}">
                  <a16:creationId xmlns:a16="http://schemas.microsoft.com/office/drawing/2014/main" id="{9CC82B48-9206-29FA-EFA0-B1464593232D}"/>
                </a:ext>
              </a:extLst>
            </p:cNvPr>
            <p:cNvSpPr/>
            <p:nvPr/>
          </p:nvSpPr>
          <p:spPr>
            <a:xfrm>
              <a:off x="5105158" y="4077742"/>
              <a:ext cx="360837" cy="350997"/>
            </a:xfrm>
            <a:custGeom>
              <a:avLst/>
              <a:gdLst>
                <a:gd name="connsiteX0" fmla="*/ 417624 w 471782"/>
                <a:gd name="connsiteY0" fmla="*/ 145223 h 458915"/>
                <a:gd name="connsiteX1" fmla="*/ 413678 w 471782"/>
                <a:gd name="connsiteY1" fmla="*/ 142478 h 458915"/>
                <a:gd name="connsiteX2" fmla="*/ 405487 w 471782"/>
                <a:gd name="connsiteY2" fmla="*/ 141106 h 458915"/>
                <a:gd name="connsiteX3" fmla="*/ 405272 w 471782"/>
                <a:gd name="connsiteY3" fmla="*/ 141020 h 458915"/>
                <a:gd name="connsiteX4" fmla="*/ 383527 w 471782"/>
                <a:gd name="connsiteY4" fmla="*/ 123778 h 458915"/>
                <a:gd name="connsiteX5" fmla="*/ 382669 w 471782"/>
                <a:gd name="connsiteY5" fmla="*/ 121891 h 458915"/>
                <a:gd name="connsiteX6" fmla="*/ 374606 w 471782"/>
                <a:gd name="connsiteY6" fmla="*/ 91354 h 458915"/>
                <a:gd name="connsiteX7" fmla="*/ 377351 w 471782"/>
                <a:gd name="connsiteY7" fmla="*/ 71411 h 458915"/>
                <a:gd name="connsiteX8" fmla="*/ 380139 w 471782"/>
                <a:gd name="connsiteY8" fmla="*/ 64291 h 458915"/>
                <a:gd name="connsiteX9" fmla="*/ 353205 w 471782"/>
                <a:gd name="connsiteY9" fmla="*/ 61246 h 458915"/>
                <a:gd name="connsiteX10" fmla="*/ 288785 w 471782"/>
                <a:gd name="connsiteY10" fmla="*/ 87794 h 458915"/>
                <a:gd name="connsiteX11" fmla="*/ 262365 w 471782"/>
                <a:gd name="connsiteY11" fmla="*/ 80589 h 458915"/>
                <a:gd name="connsiteX12" fmla="*/ 240363 w 471782"/>
                <a:gd name="connsiteY12" fmla="*/ 88052 h 458915"/>
                <a:gd name="connsiteX13" fmla="*/ 230284 w 471782"/>
                <a:gd name="connsiteY13" fmla="*/ 86722 h 458915"/>
                <a:gd name="connsiteX14" fmla="*/ 203349 w 471782"/>
                <a:gd name="connsiteY14" fmla="*/ 90453 h 458915"/>
                <a:gd name="connsiteX15" fmla="*/ 181776 w 471782"/>
                <a:gd name="connsiteY15" fmla="*/ 73341 h 458915"/>
                <a:gd name="connsiteX16" fmla="*/ 172769 w 471782"/>
                <a:gd name="connsiteY16" fmla="*/ 69781 h 458915"/>
                <a:gd name="connsiteX17" fmla="*/ 145106 w 471782"/>
                <a:gd name="connsiteY17" fmla="*/ 34226 h 458915"/>
                <a:gd name="connsiteX18" fmla="*/ 143433 w 471782"/>
                <a:gd name="connsiteY18" fmla="*/ 22602 h 458915"/>
                <a:gd name="connsiteX19" fmla="*/ 127993 w 471782"/>
                <a:gd name="connsiteY19" fmla="*/ 6433 h 458915"/>
                <a:gd name="connsiteX20" fmla="*/ 118386 w 471782"/>
                <a:gd name="connsiteY20" fmla="*/ 31266 h 458915"/>
                <a:gd name="connsiteX21" fmla="*/ 73180 w 471782"/>
                <a:gd name="connsiteY21" fmla="*/ 61246 h 458915"/>
                <a:gd name="connsiteX22" fmla="*/ 84288 w 471782"/>
                <a:gd name="connsiteY22" fmla="*/ 117774 h 458915"/>
                <a:gd name="connsiteX23" fmla="*/ 48733 w 471782"/>
                <a:gd name="connsiteY23" fmla="*/ 104050 h 458915"/>
                <a:gd name="connsiteX24" fmla="*/ 63530 w 471782"/>
                <a:gd name="connsiteY24" fmla="*/ 53526 h 458915"/>
                <a:gd name="connsiteX25" fmla="*/ 59112 w 471782"/>
                <a:gd name="connsiteY25" fmla="*/ 26763 h 458915"/>
                <a:gd name="connsiteX26" fmla="*/ 48948 w 471782"/>
                <a:gd name="connsiteY26" fmla="*/ 34226 h 458915"/>
                <a:gd name="connsiteX27" fmla="*/ 19569 w 471782"/>
                <a:gd name="connsiteY27" fmla="*/ 77887 h 458915"/>
                <a:gd name="connsiteX28" fmla="*/ 14550 w 471782"/>
                <a:gd name="connsiteY28" fmla="*/ 106451 h 458915"/>
                <a:gd name="connsiteX29" fmla="*/ 9532 w 471782"/>
                <a:gd name="connsiteY29" fmla="*/ 124207 h 458915"/>
                <a:gd name="connsiteX30" fmla="*/ 25230 w 471782"/>
                <a:gd name="connsiteY30" fmla="*/ 132742 h 458915"/>
                <a:gd name="connsiteX31" fmla="*/ 39898 w 471782"/>
                <a:gd name="connsiteY31" fmla="*/ 158218 h 458915"/>
                <a:gd name="connsiteX32" fmla="*/ 61600 w 471782"/>
                <a:gd name="connsiteY32" fmla="*/ 209214 h 458915"/>
                <a:gd name="connsiteX33" fmla="*/ 118729 w 471782"/>
                <a:gd name="connsiteY33" fmla="*/ 215004 h 458915"/>
                <a:gd name="connsiteX34" fmla="*/ 165478 w 471782"/>
                <a:gd name="connsiteY34" fmla="*/ 238550 h 458915"/>
                <a:gd name="connsiteX35" fmla="*/ 204550 w 471782"/>
                <a:gd name="connsiteY35" fmla="*/ 250516 h 458915"/>
                <a:gd name="connsiteX36" fmla="*/ 196530 w 471782"/>
                <a:gd name="connsiteY36" fmla="*/ 321198 h 458915"/>
                <a:gd name="connsiteX37" fmla="*/ 209568 w 471782"/>
                <a:gd name="connsiteY37" fmla="*/ 350920 h 458915"/>
                <a:gd name="connsiteX38" fmla="*/ 208239 w 471782"/>
                <a:gd name="connsiteY38" fmla="*/ 379871 h 458915"/>
                <a:gd name="connsiteX39" fmla="*/ 214286 w 471782"/>
                <a:gd name="connsiteY39" fmla="*/ 399557 h 458915"/>
                <a:gd name="connsiteX40" fmla="*/ 209568 w 471782"/>
                <a:gd name="connsiteY40" fmla="*/ 402773 h 458915"/>
                <a:gd name="connsiteX41" fmla="*/ 235087 w 471782"/>
                <a:gd name="connsiteY41" fmla="*/ 441760 h 458915"/>
                <a:gd name="connsiteX42" fmla="*/ 255160 w 471782"/>
                <a:gd name="connsiteY42" fmla="*/ 451024 h 458915"/>
                <a:gd name="connsiteX43" fmla="*/ 273216 w 471782"/>
                <a:gd name="connsiteY43" fmla="*/ 447550 h 458915"/>
                <a:gd name="connsiteX44" fmla="*/ 296290 w 471782"/>
                <a:gd name="connsiteY44" fmla="*/ 433611 h 458915"/>
                <a:gd name="connsiteX45" fmla="*/ 318378 w 471782"/>
                <a:gd name="connsiteY45" fmla="*/ 420873 h 458915"/>
                <a:gd name="connsiteX46" fmla="*/ 337421 w 471782"/>
                <a:gd name="connsiteY46" fmla="*/ 399986 h 458915"/>
                <a:gd name="connsiteX47" fmla="*/ 341453 w 471782"/>
                <a:gd name="connsiteY47" fmla="*/ 383731 h 458915"/>
                <a:gd name="connsiteX48" fmla="*/ 324426 w 471782"/>
                <a:gd name="connsiteY48" fmla="*/ 379098 h 458915"/>
                <a:gd name="connsiteX49" fmla="*/ 315376 w 471782"/>
                <a:gd name="connsiteY49" fmla="*/ 354737 h 458915"/>
                <a:gd name="connsiteX50" fmla="*/ 302338 w 471782"/>
                <a:gd name="connsiteY50" fmla="*/ 325744 h 458915"/>
                <a:gd name="connsiteX51" fmla="*/ 324383 w 471782"/>
                <a:gd name="connsiteY51" fmla="*/ 321112 h 458915"/>
                <a:gd name="connsiteX52" fmla="*/ 353462 w 471782"/>
                <a:gd name="connsiteY52" fmla="*/ 332692 h 458915"/>
                <a:gd name="connsiteX53" fmla="*/ 366500 w 471782"/>
                <a:gd name="connsiteY53" fmla="*/ 333850 h 458915"/>
                <a:gd name="connsiteX54" fmla="*/ 389575 w 471782"/>
                <a:gd name="connsiteY54" fmla="*/ 318796 h 458915"/>
                <a:gd name="connsiteX55" fmla="*/ 430706 w 471782"/>
                <a:gd name="connsiteY55" fmla="*/ 300225 h 458915"/>
                <a:gd name="connsiteX56" fmla="*/ 439712 w 471782"/>
                <a:gd name="connsiteY56" fmla="*/ 286372 h 458915"/>
                <a:gd name="connsiteX57" fmla="*/ 417796 w 471782"/>
                <a:gd name="connsiteY57" fmla="*/ 255234 h 458915"/>
                <a:gd name="connsiteX58" fmla="*/ 421399 w 471782"/>
                <a:gd name="connsiteY58" fmla="*/ 234433 h 458915"/>
                <a:gd name="connsiteX59" fmla="*/ 437010 w 471782"/>
                <a:gd name="connsiteY59" fmla="*/ 216419 h 458915"/>
                <a:gd name="connsiteX60" fmla="*/ 441814 w 471782"/>
                <a:gd name="connsiteY60" fmla="*/ 195575 h 458915"/>
                <a:gd name="connsiteX61" fmla="*/ 453780 w 471782"/>
                <a:gd name="connsiteY61" fmla="*/ 169241 h 458915"/>
                <a:gd name="connsiteX62" fmla="*/ 466046 w 471782"/>
                <a:gd name="connsiteY62" fmla="*/ 150713 h 458915"/>
                <a:gd name="connsiteX63" fmla="*/ 417624 w 471782"/>
                <a:gd name="connsiteY63" fmla="*/ 145223 h 45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71782" h="458915">
                  <a:moveTo>
                    <a:pt x="417624" y="145223"/>
                  </a:moveTo>
                  <a:cubicBezTo>
                    <a:pt x="414322" y="145438"/>
                    <a:pt x="413335" y="144408"/>
                    <a:pt x="413678" y="142478"/>
                  </a:cubicBezTo>
                  <a:cubicBezTo>
                    <a:pt x="410676" y="142435"/>
                    <a:pt x="407760" y="142092"/>
                    <a:pt x="405487" y="141106"/>
                  </a:cubicBezTo>
                  <a:lnTo>
                    <a:pt x="405272" y="141020"/>
                  </a:lnTo>
                  <a:cubicBezTo>
                    <a:pt x="396008" y="137031"/>
                    <a:pt x="389017" y="132571"/>
                    <a:pt x="383527" y="123778"/>
                  </a:cubicBezTo>
                  <a:cubicBezTo>
                    <a:pt x="383184" y="123221"/>
                    <a:pt x="382970" y="122492"/>
                    <a:pt x="382669" y="121891"/>
                  </a:cubicBezTo>
                  <a:cubicBezTo>
                    <a:pt x="377480" y="112499"/>
                    <a:pt x="374821" y="101991"/>
                    <a:pt x="374606" y="91354"/>
                  </a:cubicBezTo>
                  <a:cubicBezTo>
                    <a:pt x="364484" y="87194"/>
                    <a:pt x="366715" y="74584"/>
                    <a:pt x="377351" y="71411"/>
                  </a:cubicBezTo>
                  <a:cubicBezTo>
                    <a:pt x="378123" y="68923"/>
                    <a:pt x="379067" y="66564"/>
                    <a:pt x="380139" y="64291"/>
                  </a:cubicBezTo>
                  <a:cubicBezTo>
                    <a:pt x="373748" y="61632"/>
                    <a:pt x="363112" y="59573"/>
                    <a:pt x="353205" y="61246"/>
                  </a:cubicBezTo>
                  <a:cubicBezTo>
                    <a:pt x="333218" y="64634"/>
                    <a:pt x="305083" y="77501"/>
                    <a:pt x="288785" y="87794"/>
                  </a:cubicBezTo>
                  <a:cubicBezTo>
                    <a:pt x="281665" y="92298"/>
                    <a:pt x="272272" y="87108"/>
                    <a:pt x="262365" y="80589"/>
                  </a:cubicBezTo>
                  <a:cubicBezTo>
                    <a:pt x="256789" y="85178"/>
                    <a:pt x="249455" y="88052"/>
                    <a:pt x="240363" y="88052"/>
                  </a:cubicBezTo>
                  <a:cubicBezTo>
                    <a:pt x="236717" y="88052"/>
                    <a:pt x="233372" y="87537"/>
                    <a:pt x="230284" y="86722"/>
                  </a:cubicBezTo>
                  <a:cubicBezTo>
                    <a:pt x="222607" y="91183"/>
                    <a:pt x="213343" y="92812"/>
                    <a:pt x="203349" y="90453"/>
                  </a:cubicBezTo>
                  <a:cubicBezTo>
                    <a:pt x="194471" y="88352"/>
                    <a:pt x="186708" y="81704"/>
                    <a:pt x="181776" y="73341"/>
                  </a:cubicBezTo>
                  <a:cubicBezTo>
                    <a:pt x="178645" y="72526"/>
                    <a:pt x="175600" y="71453"/>
                    <a:pt x="172769" y="69781"/>
                  </a:cubicBezTo>
                  <a:cubicBezTo>
                    <a:pt x="159087" y="61632"/>
                    <a:pt x="150896" y="48980"/>
                    <a:pt x="145106" y="34226"/>
                  </a:cubicBezTo>
                  <a:cubicBezTo>
                    <a:pt x="143690" y="30580"/>
                    <a:pt x="143218" y="26634"/>
                    <a:pt x="143433" y="22602"/>
                  </a:cubicBezTo>
                  <a:cubicBezTo>
                    <a:pt x="138501" y="16212"/>
                    <a:pt x="137171" y="6433"/>
                    <a:pt x="127993" y="6433"/>
                  </a:cubicBezTo>
                  <a:cubicBezTo>
                    <a:pt x="113925" y="6433"/>
                    <a:pt x="127993" y="26119"/>
                    <a:pt x="118386" y="31266"/>
                  </a:cubicBezTo>
                  <a:cubicBezTo>
                    <a:pt x="108735" y="36413"/>
                    <a:pt x="75410" y="45806"/>
                    <a:pt x="73180" y="61246"/>
                  </a:cubicBezTo>
                  <a:cubicBezTo>
                    <a:pt x="70993" y="76686"/>
                    <a:pt x="90979" y="102377"/>
                    <a:pt x="84288" y="117774"/>
                  </a:cubicBezTo>
                  <a:cubicBezTo>
                    <a:pt x="77641" y="133171"/>
                    <a:pt x="55381" y="120347"/>
                    <a:pt x="48733" y="104050"/>
                  </a:cubicBezTo>
                  <a:cubicBezTo>
                    <a:pt x="42043" y="87751"/>
                    <a:pt x="67991" y="62919"/>
                    <a:pt x="63530" y="53526"/>
                  </a:cubicBezTo>
                  <a:cubicBezTo>
                    <a:pt x="60442" y="46964"/>
                    <a:pt x="56496" y="34826"/>
                    <a:pt x="59112" y="26763"/>
                  </a:cubicBezTo>
                  <a:cubicBezTo>
                    <a:pt x="54952" y="28221"/>
                    <a:pt x="51350" y="30580"/>
                    <a:pt x="48948" y="34226"/>
                  </a:cubicBezTo>
                  <a:cubicBezTo>
                    <a:pt x="39255" y="49323"/>
                    <a:pt x="19912" y="62447"/>
                    <a:pt x="19569" y="77887"/>
                  </a:cubicBezTo>
                  <a:cubicBezTo>
                    <a:pt x="19225" y="93327"/>
                    <a:pt x="19569" y="99117"/>
                    <a:pt x="14550" y="106451"/>
                  </a:cubicBezTo>
                  <a:cubicBezTo>
                    <a:pt x="9532" y="113785"/>
                    <a:pt x="2199" y="124979"/>
                    <a:pt x="9532" y="124207"/>
                  </a:cubicBezTo>
                  <a:cubicBezTo>
                    <a:pt x="16910" y="123435"/>
                    <a:pt x="25230" y="123435"/>
                    <a:pt x="25230" y="132742"/>
                  </a:cubicBezTo>
                  <a:cubicBezTo>
                    <a:pt x="25230" y="142006"/>
                    <a:pt x="41271" y="143937"/>
                    <a:pt x="39898" y="158218"/>
                  </a:cubicBezTo>
                  <a:cubicBezTo>
                    <a:pt x="38569" y="172501"/>
                    <a:pt x="32907" y="209986"/>
                    <a:pt x="61600" y="209214"/>
                  </a:cubicBezTo>
                  <a:cubicBezTo>
                    <a:pt x="90336" y="208442"/>
                    <a:pt x="106677" y="197248"/>
                    <a:pt x="118729" y="215004"/>
                  </a:cubicBezTo>
                  <a:cubicBezTo>
                    <a:pt x="130738" y="232760"/>
                    <a:pt x="146778" y="241252"/>
                    <a:pt x="165478" y="238550"/>
                  </a:cubicBezTo>
                  <a:cubicBezTo>
                    <a:pt x="184178" y="235848"/>
                    <a:pt x="214543" y="231602"/>
                    <a:pt x="204550" y="250516"/>
                  </a:cubicBezTo>
                  <a:cubicBezTo>
                    <a:pt x="194557" y="269431"/>
                    <a:pt x="187866" y="310004"/>
                    <a:pt x="196530" y="321198"/>
                  </a:cubicBezTo>
                  <a:cubicBezTo>
                    <a:pt x="205236" y="332392"/>
                    <a:pt x="216559" y="341656"/>
                    <a:pt x="209568" y="350920"/>
                  </a:cubicBezTo>
                  <a:cubicBezTo>
                    <a:pt x="202577" y="360184"/>
                    <a:pt x="199232" y="371807"/>
                    <a:pt x="208239" y="379871"/>
                  </a:cubicBezTo>
                  <a:cubicBezTo>
                    <a:pt x="217288" y="387977"/>
                    <a:pt x="214586" y="397670"/>
                    <a:pt x="214286" y="399557"/>
                  </a:cubicBezTo>
                  <a:cubicBezTo>
                    <a:pt x="214200" y="400071"/>
                    <a:pt x="212399" y="401272"/>
                    <a:pt x="209568" y="402773"/>
                  </a:cubicBezTo>
                  <a:cubicBezTo>
                    <a:pt x="222864" y="418042"/>
                    <a:pt x="227582" y="434812"/>
                    <a:pt x="235087" y="441760"/>
                  </a:cubicBezTo>
                  <a:cubicBezTo>
                    <a:pt x="245123" y="451024"/>
                    <a:pt x="248126" y="455656"/>
                    <a:pt x="255160" y="451024"/>
                  </a:cubicBezTo>
                  <a:cubicBezTo>
                    <a:pt x="262194" y="446392"/>
                    <a:pt x="267169" y="442918"/>
                    <a:pt x="273216" y="447550"/>
                  </a:cubicBezTo>
                  <a:cubicBezTo>
                    <a:pt x="279220" y="452182"/>
                    <a:pt x="287241" y="442918"/>
                    <a:pt x="296290" y="433611"/>
                  </a:cubicBezTo>
                  <a:cubicBezTo>
                    <a:pt x="305340" y="424347"/>
                    <a:pt x="315333" y="432453"/>
                    <a:pt x="318378" y="420873"/>
                  </a:cubicBezTo>
                  <a:cubicBezTo>
                    <a:pt x="321381" y="409250"/>
                    <a:pt x="326399" y="402302"/>
                    <a:pt x="337421" y="399986"/>
                  </a:cubicBezTo>
                  <a:cubicBezTo>
                    <a:pt x="348444" y="397670"/>
                    <a:pt x="348444" y="383731"/>
                    <a:pt x="341453" y="383731"/>
                  </a:cubicBezTo>
                  <a:cubicBezTo>
                    <a:pt x="334419" y="383731"/>
                    <a:pt x="324426" y="394153"/>
                    <a:pt x="324426" y="379098"/>
                  </a:cubicBezTo>
                  <a:cubicBezTo>
                    <a:pt x="324426" y="364044"/>
                    <a:pt x="315376" y="367518"/>
                    <a:pt x="315376" y="354737"/>
                  </a:cubicBezTo>
                  <a:cubicBezTo>
                    <a:pt x="315376" y="341999"/>
                    <a:pt x="314390" y="333850"/>
                    <a:pt x="302338" y="325744"/>
                  </a:cubicBezTo>
                  <a:cubicBezTo>
                    <a:pt x="290286" y="317638"/>
                    <a:pt x="318378" y="314164"/>
                    <a:pt x="324383" y="321112"/>
                  </a:cubicBezTo>
                  <a:cubicBezTo>
                    <a:pt x="330387" y="328103"/>
                    <a:pt x="351446" y="322313"/>
                    <a:pt x="353462" y="332692"/>
                  </a:cubicBezTo>
                  <a:cubicBezTo>
                    <a:pt x="355478" y="343114"/>
                    <a:pt x="366500" y="346631"/>
                    <a:pt x="366500" y="333850"/>
                  </a:cubicBezTo>
                  <a:cubicBezTo>
                    <a:pt x="366500" y="321112"/>
                    <a:pt x="379539" y="316480"/>
                    <a:pt x="389575" y="318796"/>
                  </a:cubicBezTo>
                  <a:cubicBezTo>
                    <a:pt x="399611" y="321112"/>
                    <a:pt x="421656" y="303699"/>
                    <a:pt x="430706" y="300225"/>
                  </a:cubicBezTo>
                  <a:cubicBezTo>
                    <a:pt x="435423" y="298424"/>
                    <a:pt x="437139" y="291862"/>
                    <a:pt x="439712" y="286372"/>
                  </a:cubicBezTo>
                  <a:cubicBezTo>
                    <a:pt x="433107" y="275993"/>
                    <a:pt x="422556" y="259866"/>
                    <a:pt x="417796" y="255234"/>
                  </a:cubicBezTo>
                  <a:cubicBezTo>
                    <a:pt x="410590" y="248329"/>
                    <a:pt x="422599" y="244169"/>
                    <a:pt x="421399" y="234433"/>
                  </a:cubicBezTo>
                  <a:cubicBezTo>
                    <a:pt x="420198" y="224697"/>
                    <a:pt x="421399" y="217792"/>
                    <a:pt x="437010" y="216419"/>
                  </a:cubicBezTo>
                  <a:cubicBezTo>
                    <a:pt x="452622" y="215004"/>
                    <a:pt x="450220" y="201151"/>
                    <a:pt x="441814" y="195575"/>
                  </a:cubicBezTo>
                  <a:cubicBezTo>
                    <a:pt x="433408" y="190043"/>
                    <a:pt x="445417" y="174731"/>
                    <a:pt x="453780" y="169241"/>
                  </a:cubicBezTo>
                  <a:cubicBezTo>
                    <a:pt x="457254" y="166968"/>
                    <a:pt x="461843" y="160149"/>
                    <a:pt x="466046" y="150713"/>
                  </a:cubicBezTo>
                  <a:cubicBezTo>
                    <a:pt x="450134" y="143979"/>
                    <a:pt x="427231" y="144580"/>
                    <a:pt x="417624" y="14522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5" name="Freeform: Shape 194">
              <a:extLst>
                <a:ext uri="{FF2B5EF4-FFF2-40B4-BE49-F238E27FC236}">
                  <a16:creationId xmlns:a16="http://schemas.microsoft.com/office/drawing/2014/main" id="{CB5AEA6C-DDB3-CE49-8D76-8B9F52BF7D5C}"/>
                </a:ext>
              </a:extLst>
            </p:cNvPr>
            <p:cNvSpPr/>
            <p:nvPr/>
          </p:nvSpPr>
          <p:spPr>
            <a:xfrm>
              <a:off x="5502707" y="4255870"/>
              <a:ext cx="114812" cy="137774"/>
            </a:xfrm>
            <a:custGeom>
              <a:avLst/>
              <a:gdLst>
                <a:gd name="connsiteX0" fmla="*/ 36031 w 150112"/>
                <a:gd name="connsiteY0" fmla="*/ 39237 h 180135"/>
                <a:gd name="connsiteX1" fmla="*/ 20419 w 150112"/>
                <a:gd name="connsiteY1" fmla="*/ 57250 h 180135"/>
                <a:gd name="connsiteX2" fmla="*/ 7252 w 150112"/>
                <a:gd name="connsiteY2" fmla="*/ 90575 h 180135"/>
                <a:gd name="connsiteX3" fmla="*/ 34830 w 150112"/>
                <a:gd name="connsiteY3" fmla="*/ 130805 h 180135"/>
                <a:gd name="connsiteX4" fmla="*/ 54602 w 150112"/>
                <a:gd name="connsiteY4" fmla="*/ 174166 h 180135"/>
                <a:gd name="connsiteX5" fmla="*/ 71372 w 150112"/>
                <a:gd name="connsiteY5" fmla="*/ 175410 h 180135"/>
                <a:gd name="connsiteX6" fmla="*/ 85397 w 150112"/>
                <a:gd name="connsiteY6" fmla="*/ 151049 h 180135"/>
                <a:gd name="connsiteX7" fmla="*/ 122496 w 150112"/>
                <a:gd name="connsiteY7" fmla="*/ 152250 h 180135"/>
                <a:gd name="connsiteX8" fmla="*/ 125756 w 150112"/>
                <a:gd name="connsiteY8" fmla="*/ 157182 h 180135"/>
                <a:gd name="connsiteX9" fmla="*/ 135663 w 150112"/>
                <a:gd name="connsiteY9" fmla="*/ 139126 h 180135"/>
                <a:gd name="connsiteX10" fmla="*/ 132060 w 150112"/>
                <a:gd name="connsiteY10" fmla="*/ 87787 h 180135"/>
                <a:gd name="connsiteX11" fmla="*/ 138065 w 150112"/>
                <a:gd name="connsiteY11" fmla="*/ 41981 h 180135"/>
                <a:gd name="connsiteX12" fmla="*/ 144584 w 150112"/>
                <a:gd name="connsiteY12" fmla="*/ 22167 h 180135"/>
                <a:gd name="connsiteX13" fmla="*/ 111173 w 150112"/>
                <a:gd name="connsiteY13" fmla="*/ 13374 h 180135"/>
                <a:gd name="connsiteX14" fmla="*/ 68241 w 150112"/>
                <a:gd name="connsiteY14" fmla="*/ 14232 h 180135"/>
                <a:gd name="connsiteX15" fmla="*/ 43065 w 150112"/>
                <a:gd name="connsiteY15" fmla="*/ 13374 h 180135"/>
                <a:gd name="connsiteX16" fmla="*/ 39762 w 150112"/>
                <a:gd name="connsiteY16" fmla="*/ 14446 h 180135"/>
                <a:gd name="connsiteX17" fmla="*/ 36031 w 150112"/>
                <a:gd name="connsiteY17" fmla="*/ 39237 h 18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0112" h="180135">
                  <a:moveTo>
                    <a:pt x="36031" y="39237"/>
                  </a:moveTo>
                  <a:cubicBezTo>
                    <a:pt x="40835" y="50302"/>
                    <a:pt x="30027" y="55877"/>
                    <a:pt x="20419" y="57250"/>
                  </a:cubicBezTo>
                  <a:cubicBezTo>
                    <a:pt x="10812" y="58622"/>
                    <a:pt x="13214" y="83670"/>
                    <a:pt x="7252" y="90575"/>
                  </a:cubicBezTo>
                  <a:cubicBezTo>
                    <a:pt x="1248" y="97523"/>
                    <a:pt x="30069" y="115580"/>
                    <a:pt x="34830" y="130805"/>
                  </a:cubicBezTo>
                  <a:cubicBezTo>
                    <a:pt x="37661" y="139855"/>
                    <a:pt x="47225" y="159584"/>
                    <a:pt x="54602" y="174166"/>
                  </a:cubicBezTo>
                  <a:cubicBezTo>
                    <a:pt x="61250" y="176139"/>
                    <a:pt x="67555" y="177855"/>
                    <a:pt x="71372" y="175410"/>
                  </a:cubicBezTo>
                  <a:cubicBezTo>
                    <a:pt x="80379" y="169577"/>
                    <a:pt x="72358" y="149891"/>
                    <a:pt x="85397" y="151049"/>
                  </a:cubicBezTo>
                  <a:cubicBezTo>
                    <a:pt x="98435" y="152250"/>
                    <a:pt x="117478" y="142900"/>
                    <a:pt x="122496" y="152250"/>
                  </a:cubicBezTo>
                  <a:cubicBezTo>
                    <a:pt x="123439" y="153923"/>
                    <a:pt x="124512" y="155595"/>
                    <a:pt x="125756" y="157182"/>
                  </a:cubicBezTo>
                  <a:cubicBezTo>
                    <a:pt x="129959" y="149891"/>
                    <a:pt x="134462" y="141913"/>
                    <a:pt x="135663" y="139126"/>
                  </a:cubicBezTo>
                  <a:cubicBezTo>
                    <a:pt x="138065" y="133593"/>
                    <a:pt x="138065" y="104428"/>
                    <a:pt x="132060" y="87787"/>
                  </a:cubicBezTo>
                  <a:cubicBezTo>
                    <a:pt x="126056" y="71146"/>
                    <a:pt x="130859" y="48929"/>
                    <a:pt x="138065" y="41981"/>
                  </a:cubicBezTo>
                  <a:cubicBezTo>
                    <a:pt x="139566" y="40523"/>
                    <a:pt x="141925" y="32975"/>
                    <a:pt x="144584" y="22167"/>
                  </a:cubicBezTo>
                  <a:cubicBezTo>
                    <a:pt x="132661" y="16762"/>
                    <a:pt x="121209" y="11916"/>
                    <a:pt x="111173" y="13374"/>
                  </a:cubicBezTo>
                  <a:cubicBezTo>
                    <a:pt x="93417" y="15948"/>
                    <a:pt x="74889" y="25383"/>
                    <a:pt x="68241" y="14232"/>
                  </a:cubicBezTo>
                  <a:cubicBezTo>
                    <a:pt x="61550" y="3124"/>
                    <a:pt x="51943" y="4839"/>
                    <a:pt x="43065" y="13374"/>
                  </a:cubicBezTo>
                  <a:cubicBezTo>
                    <a:pt x="42036" y="14318"/>
                    <a:pt x="40920" y="14618"/>
                    <a:pt x="39762" y="14446"/>
                  </a:cubicBezTo>
                  <a:cubicBezTo>
                    <a:pt x="36674" y="24525"/>
                    <a:pt x="33586" y="33618"/>
                    <a:pt x="36031" y="3923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6" name="Freeform: Shape 195">
              <a:extLst>
                <a:ext uri="{FF2B5EF4-FFF2-40B4-BE49-F238E27FC236}">
                  <a16:creationId xmlns:a16="http://schemas.microsoft.com/office/drawing/2014/main" id="{03C84EAB-01E5-A1F2-0EF4-2DC393E01302}"/>
                </a:ext>
              </a:extLst>
            </p:cNvPr>
            <p:cNvSpPr/>
            <p:nvPr/>
          </p:nvSpPr>
          <p:spPr>
            <a:xfrm>
              <a:off x="5418012" y="4188289"/>
              <a:ext cx="131213" cy="223063"/>
            </a:xfrm>
            <a:custGeom>
              <a:avLst/>
              <a:gdLst>
                <a:gd name="connsiteX0" fmla="*/ 44735 w 171557"/>
                <a:gd name="connsiteY0" fmla="*/ 24919 h 291647"/>
                <a:gd name="connsiteX1" fmla="*/ 32769 w 171557"/>
                <a:gd name="connsiteY1" fmla="*/ 51253 h 291647"/>
                <a:gd name="connsiteX2" fmla="*/ 27965 w 171557"/>
                <a:gd name="connsiteY2" fmla="*/ 72097 h 291647"/>
                <a:gd name="connsiteX3" fmla="*/ 12354 w 171557"/>
                <a:gd name="connsiteY3" fmla="*/ 90110 h 291647"/>
                <a:gd name="connsiteX4" fmla="*/ 8751 w 171557"/>
                <a:gd name="connsiteY4" fmla="*/ 110912 h 291647"/>
                <a:gd name="connsiteX5" fmla="*/ 30667 w 171557"/>
                <a:gd name="connsiteY5" fmla="*/ 142049 h 291647"/>
                <a:gd name="connsiteX6" fmla="*/ 42719 w 171557"/>
                <a:gd name="connsiteY6" fmla="*/ 133900 h 291647"/>
                <a:gd name="connsiteX7" fmla="*/ 56744 w 171557"/>
                <a:gd name="connsiteY7" fmla="*/ 166368 h 291647"/>
                <a:gd name="connsiteX8" fmla="*/ 59746 w 171557"/>
                <a:gd name="connsiteY8" fmla="*/ 198835 h 291647"/>
                <a:gd name="connsiteX9" fmla="*/ 66780 w 171557"/>
                <a:gd name="connsiteY9" fmla="*/ 267243 h 291647"/>
                <a:gd name="connsiteX10" fmla="*/ 102893 w 171557"/>
                <a:gd name="connsiteY10" fmla="*/ 281182 h 291647"/>
                <a:gd name="connsiteX11" fmla="*/ 124938 w 171557"/>
                <a:gd name="connsiteY11" fmla="*/ 271918 h 291647"/>
                <a:gd name="connsiteX12" fmla="*/ 141965 w 171557"/>
                <a:gd name="connsiteY12" fmla="*/ 262654 h 291647"/>
                <a:gd name="connsiteX13" fmla="*/ 165297 w 171557"/>
                <a:gd name="connsiteY13" fmla="*/ 262568 h 291647"/>
                <a:gd name="connsiteX14" fmla="*/ 145525 w 171557"/>
                <a:gd name="connsiteY14" fmla="*/ 219207 h 291647"/>
                <a:gd name="connsiteX15" fmla="*/ 117947 w 171557"/>
                <a:gd name="connsiteY15" fmla="*/ 178977 h 291647"/>
                <a:gd name="connsiteX16" fmla="*/ 131114 w 171557"/>
                <a:gd name="connsiteY16" fmla="*/ 145652 h 291647"/>
                <a:gd name="connsiteX17" fmla="*/ 146726 w 171557"/>
                <a:gd name="connsiteY17" fmla="*/ 127638 h 291647"/>
                <a:gd name="connsiteX18" fmla="*/ 150414 w 171557"/>
                <a:gd name="connsiteY18" fmla="*/ 102934 h 291647"/>
                <a:gd name="connsiteX19" fmla="*/ 119662 w 171557"/>
                <a:gd name="connsiteY19" fmla="*/ 70982 h 291647"/>
                <a:gd name="connsiteX20" fmla="*/ 102635 w 171557"/>
                <a:gd name="connsiteY20" fmla="*/ 47864 h 291647"/>
                <a:gd name="connsiteX21" fmla="*/ 69310 w 171557"/>
                <a:gd name="connsiteY21" fmla="*/ 15311 h 291647"/>
                <a:gd name="connsiteX22" fmla="*/ 57044 w 171557"/>
                <a:gd name="connsiteY22" fmla="*/ 6433 h 291647"/>
                <a:gd name="connsiteX23" fmla="*/ 44735 w 171557"/>
                <a:gd name="connsiteY23" fmla="*/ 24919 h 29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1557" h="291647">
                  <a:moveTo>
                    <a:pt x="44735" y="24919"/>
                  </a:moveTo>
                  <a:cubicBezTo>
                    <a:pt x="36371" y="30451"/>
                    <a:pt x="24362" y="45720"/>
                    <a:pt x="32769" y="51253"/>
                  </a:cubicBezTo>
                  <a:cubicBezTo>
                    <a:pt x="41175" y="56785"/>
                    <a:pt x="43577" y="70681"/>
                    <a:pt x="27965" y="72097"/>
                  </a:cubicBezTo>
                  <a:cubicBezTo>
                    <a:pt x="12354" y="73469"/>
                    <a:pt x="11153" y="80417"/>
                    <a:pt x="12354" y="90110"/>
                  </a:cubicBezTo>
                  <a:cubicBezTo>
                    <a:pt x="13554" y="99846"/>
                    <a:pt x="1545" y="103964"/>
                    <a:pt x="8751" y="110912"/>
                  </a:cubicBezTo>
                  <a:cubicBezTo>
                    <a:pt x="13511" y="115544"/>
                    <a:pt x="24062" y="131670"/>
                    <a:pt x="30667" y="142049"/>
                  </a:cubicBezTo>
                  <a:cubicBezTo>
                    <a:pt x="32983" y="136988"/>
                    <a:pt x="35986" y="132785"/>
                    <a:pt x="42719" y="133900"/>
                  </a:cubicBezTo>
                  <a:cubicBezTo>
                    <a:pt x="56744" y="136216"/>
                    <a:pt x="45721" y="160620"/>
                    <a:pt x="56744" y="166368"/>
                  </a:cubicBezTo>
                  <a:cubicBezTo>
                    <a:pt x="67766" y="172200"/>
                    <a:pt x="67766" y="191887"/>
                    <a:pt x="59746" y="198835"/>
                  </a:cubicBezTo>
                  <a:cubicBezTo>
                    <a:pt x="51726" y="205783"/>
                    <a:pt x="48724" y="244083"/>
                    <a:pt x="66780" y="267243"/>
                  </a:cubicBezTo>
                  <a:cubicBezTo>
                    <a:pt x="84836" y="290446"/>
                    <a:pt x="98861" y="286929"/>
                    <a:pt x="102893" y="281182"/>
                  </a:cubicBezTo>
                  <a:cubicBezTo>
                    <a:pt x="106924" y="275392"/>
                    <a:pt x="120949" y="281182"/>
                    <a:pt x="124938" y="271918"/>
                  </a:cubicBezTo>
                  <a:cubicBezTo>
                    <a:pt x="128970" y="262654"/>
                    <a:pt x="133945" y="273076"/>
                    <a:pt x="141965" y="262654"/>
                  </a:cubicBezTo>
                  <a:cubicBezTo>
                    <a:pt x="146597" y="256607"/>
                    <a:pt x="156247" y="259866"/>
                    <a:pt x="165297" y="262568"/>
                  </a:cubicBezTo>
                  <a:cubicBezTo>
                    <a:pt x="157963" y="247986"/>
                    <a:pt x="148398" y="228257"/>
                    <a:pt x="145525" y="219207"/>
                  </a:cubicBezTo>
                  <a:cubicBezTo>
                    <a:pt x="140721" y="203982"/>
                    <a:pt x="111942" y="185925"/>
                    <a:pt x="117947" y="178977"/>
                  </a:cubicBezTo>
                  <a:cubicBezTo>
                    <a:pt x="123951" y="172072"/>
                    <a:pt x="121550" y="147024"/>
                    <a:pt x="131114" y="145652"/>
                  </a:cubicBezTo>
                  <a:cubicBezTo>
                    <a:pt x="140721" y="144279"/>
                    <a:pt x="151529" y="138704"/>
                    <a:pt x="146726" y="127638"/>
                  </a:cubicBezTo>
                  <a:cubicBezTo>
                    <a:pt x="144324" y="122020"/>
                    <a:pt x="147369" y="112927"/>
                    <a:pt x="150414" y="102934"/>
                  </a:cubicBezTo>
                  <a:cubicBezTo>
                    <a:pt x="141193" y="101905"/>
                    <a:pt x="127511" y="70982"/>
                    <a:pt x="119662" y="70982"/>
                  </a:cubicBezTo>
                  <a:cubicBezTo>
                    <a:pt x="110784" y="70982"/>
                    <a:pt x="100405" y="62447"/>
                    <a:pt x="102635" y="47864"/>
                  </a:cubicBezTo>
                  <a:cubicBezTo>
                    <a:pt x="104866" y="33282"/>
                    <a:pt x="81920" y="31566"/>
                    <a:pt x="69310" y="15311"/>
                  </a:cubicBezTo>
                  <a:cubicBezTo>
                    <a:pt x="66351" y="11408"/>
                    <a:pt x="61976" y="8578"/>
                    <a:pt x="57044" y="6433"/>
                  </a:cubicBezTo>
                  <a:cubicBezTo>
                    <a:pt x="52798" y="15783"/>
                    <a:pt x="48209" y="22645"/>
                    <a:pt x="44735" y="24919"/>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7" name="Freeform: Shape 196">
              <a:extLst>
                <a:ext uri="{FF2B5EF4-FFF2-40B4-BE49-F238E27FC236}">
                  <a16:creationId xmlns:a16="http://schemas.microsoft.com/office/drawing/2014/main" id="{BC1999FB-8FDE-56EA-0FF6-06163DA36301}"/>
                </a:ext>
              </a:extLst>
            </p:cNvPr>
            <p:cNvSpPr/>
            <p:nvPr/>
          </p:nvSpPr>
          <p:spPr>
            <a:xfrm>
              <a:off x="5594002" y="4267936"/>
              <a:ext cx="78728" cy="118093"/>
            </a:xfrm>
            <a:custGeom>
              <a:avLst/>
              <a:gdLst>
                <a:gd name="connsiteX0" fmla="*/ 94528 w 102934"/>
                <a:gd name="connsiteY0" fmla="*/ 76300 h 154401"/>
                <a:gd name="connsiteX1" fmla="*/ 76686 w 102934"/>
                <a:gd name="connsiteY1" fmla="*/ 52368 h 154401"/>
                <a:gd name="connsiteX2" fmla="*/ 69567 w 102934"/>
                <a:gd name="connsiteY2" fmla="*/ 45677 h 154401"/>
                <a:gd name="connsiteX3" fmla="*/ 67980 w 102934"/>
                <a:gd name="connsiteY3" fmla="*/ 44004 h 154401"/>
                <a:gd name="connsiteX4" fmla="*/ 67165 w 102934"/>
                <a:gd name="connsiteY4" fmla="*/ 43190 h 154401"/>
                <a:gd name="connsiteX5" fmla="*/ 66564 w 102934"/>
                <a:gd name="connsiteY5" fmla="*/ 42761 h 154401"/>
                <a:gd name="connsiteX6" fmla="*/ 56185 w 102934"/>
                <a:gd name="connsiteY6" fmla="*/ 36542 h 154401"/>
                <a:gd name="connsiteX7" fmla="*/ 26892 w 102934"/>
                <a:gd name="connsiteY7" fmla="*/ 8449 h 154401"/>
                <a:gd name="connsiteX8" fmla="*/ 25862 w 102934"/>
                <a:gd name="connsiteY8" fmla="*/ 6734 h 154401"/>
                <a:gd name="connsiteX9" fmla="*/ 25262 w 102934"/>
                <a:gd name="connsiteY9" fmla="*/ 6433 h 154401"/>
                <a:gd name="connsiteX10" fmla="*/ 18743 w 102934"/>
                <a:gd name="connsiteY10" fmla="*/ 26248 h 154401"/>
                <a:gd name="connsiteX11" fmla="*/ 12738 w 102934"/>
                <a:gd name="connsiteY11" fmla="*/ 72054 h 154401"/>
                <a:gd name="connsiteX12" fmla="*/ 16341 w 102934"/>
                <a:gd name="connsiteY12" fmla="*/ 123393 h 154401"/>
                <a:gd name="connsiteX13" fmla="*/ 6433 w 102934"/>
                <a:gd name="connsiteY13" fmla="*/ 141449 h 154401"/>
                <a:gd name="connsiteX14" fmla="*/ 36284 w 102934"/>
                <a:gd name="connsiteY14" fmla="*/ 148097 h 154401"/>
                <a:gd name="connsiteX15" fmla="*/ 71411 w 102934"/>
                <a:gd name="connsiteY15" fmla="*/ 130684 h 154401"/>
                <a:gd name="connsiteX16" fmla="*/ 100104 w 102934"/>
                <a:gd name="connsiteY16" fmla="*/ 82133 h 154401"/>
                <a:gd name="connsiteX17" fmla="*/ 94528 w 102934"/>
                <a:gd name="connsiteY17" fmla="*/ 76300 h 15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934" h="154401">
                  <a:moveTo>
                    <a:pt x="94528" y="76300"/>
                  </a:moveTo>
                  <a:cubicBezTo>
                    <a:pt x="83634" y="70424"/>
                    <a:pt x="78144" y="61675"/>
                    <a:pt x="76686" y="52368"/>
                  </a:cubicBezTo>
                  <a:cubicBezTo>
                    <a:pt x="74113" y="50352"/>
                    <a:pt x="71668" y="48165"/>
                    <a:pt x="69567" y="45677"/>
                  </a:cubicBezTo>
                  <a:cubicBezTo>
                    <a:pt x="69781" y="46063"/>
                    <a:pt x="69309" y="45505"/>
                    <a:pt x="67980" y="44004"/>
                  </a:cubicBezTo>
                  <a:cubicBezTo>
                    <a:pt x="67722" y="43747"/>
                    <a:pt x="67422" y="43447"/>
                    <a:pt x="67165" y="43190"/>
                  </a:cubicBezTo>
                  <a:cubicBezTo>
                    <a:pt x="66950" y="43061"/>
                    <a:pt x="66736" y="42889"/>
                    <a:pt x="66564" y="42761"/>
                  </a:cubicBezTo>
                  <a:cubicBezTo>
                    <a:pt x="63176" y="40573"/>
                    <a:pt x="59616" y="38643"/>
                    <a:pt x="56185" y="36542"/>
                  </a:cubicBezTo>
                  <a:cubicBezTo>
                    <a:pt x="44133" y="29251"/>
                    <a:pt x="34955" y="20072"/>
                    <a:pt x="26892" y="8449"/>
                  </a:cubicBezTo>
                  <a:cubicBezTo>
                    <a:pt x="26506" y="7892"/>
                    <a:pt x="26206" y="7291"/>
                    <a:pt x="25862" y="6734"/>
                  </a:cubicBezTo>
                  <a:cubicBezTo>
                    <a:pt x="25648" y="6648"/>
                    <a:pt x="25476" y="6562"/>
                    <a:pt x="25262" y="6433"/>
                  </a:cubicBezTo>
                  <a:cubicBezTo>
                    <a:pt x="22603" y="17242"/>
                    <a:pt x="20244" y="24747"/>
                    <a:pt x="18743" y="26248"/>
                  </a:cubicBezTo>
                  <a:cubicBezTo>
                    <a:pt x="11537" y="33196"/>
                    <a:pt x="6734" y="55370"/>
                    <a:pt x="12738" y="72054"/>
                  </a:cubicBezTo>
                  <a:cubicBezTo>
                    <a:pt x="18743" y="88695"/>
                    <a:pt x="18743" y="117860"/>
                    <a:pt x="16341" y="123393"/>
                  </a:cubicBezTo>
                  <a:cubicBezTo>
                    <a:pt x="15140" y="126180"/>
                    <a:pt x="10637" y="134158"/>
                    <a:pt x="6433" y="141449"/>
                  </a:cubicBezTo>
                  <a:cubicBezTo>
                    <a:pt x="11880" y="148612"/>
                    <a:pt x="20716" y="153758"/>
                    <a:pt x="36284" y="148097"/>
                  </a:cubicBezTo>
                  <a:cubicBezTo>
                    <a:pt x="55327" y="141149"/>
                    <a:pt x="64377" y="155045"/>
                    <a:pt x="71411" y="130684"/>
                  </a:cubicBezTo>
                  <a:cubicBezTo>
                    <a:pt x="75614" y="116144"/>
                    <a:pt x="88009" y="97530"/>
                    <a:pt x="100104" y="82133"/>
                  </a:cubicBezTo>
                  <a:cubicBezTo>
                    <a:pt x="98774" y="79731"/>
                    <a:pt x="97101" y="77672"/>
                    <a:pt x="94528" y="7630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8" name="Freeform: Shape 200">
              <a:extLst>
                <a:ext uri="{FF2B5EF4-FFF2-40B4-BE49-F238E27FC236}">
                  <a16:creationId xmlns:a16="http://schemas.microsoft.com/office/drawing/2014/main" id="{7BB143BE-FEF0-2937-97B0-9F6CBD25F74D}"/>
                </a:ext>
              </a:extLst>
            </p:cNvPr>
            <p:cNvSpPr/>
            <p:nvPr/>
          </p:nvSpPr>
          <p:spPr>
            <a:xfrm>
              <a:off x="5461455" y="6125823"/>
              <a:ext cx="52485" cy="36084"/>
            </a:xfrm>
            <a:custGeom>
              <a:avLst/>
              <a:gdLst>
                <a:gd name="connsiteX0" fmla="*/ 28249 w 68622"/>
                <a:gd name="connsiteY0" fmla="*/ 33493 h 47178"/>
                <a:gd name="connsiteX1" fmla="*/ 46220 w 68622"/>
                <a:gd name="connsiteY1" fmla="*/ 33493 h 47178"/>
                <a:gd name="connsiteX2" fmla="*/ 62904 w 68622"/>
                <a:gd name="connsiteY2" fmla="*/ 13936 h 47178"/>
                <a:gd name="connsiteX3" fmla="*/ 6590 w 68622"/>
                <a:gd name="connsiteY3" fmla="*/ 41170 h 47178"/>
                <a:gd name="connsiteX4" fmla="*/ 28249 w 68622"/>
                <a:gd name="connsiteY4" fmla="*/ 33493 h 47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22" h="47178">
                  <a:moveTo>
                    <a:pt x="28249" y="33493"/>
                  </a:moveTo>
                  <a:lnTo>
                    <a:pt x="46220" y="33493"/>
                  </a:lnTo>
                  <a:cubicBezTo>
                    <a:pt x="57200" y="27231"/>
                    <a:pt x="65477" y="19511"/>
                    <a:pt x="62904" y="13936"/>
                  </a:cubicBezTo>
                  <a:cubicBezTo>
                    <a:pt x="51838" y="-10040"/>
                    <a:pt x="3331" y="30147"/>
                    <a:pt x="6590" y="41170"/>
                  </a:cubicBezTo>
                  <a:cubicBezTo>
                    <a:pt x="12852" y="36410"/>
                    <a:pt x="20444" y="33493"/>
                    <a:pt x="28249" y="3349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9" name="Freeform: Shape 201">
              <a:extLst>
                <a:ext uri="{FF2B5EF4-FFF2-40B4-BE49-F238E27FC236}">
                  <a16:creationId xmlns:a16="http://schemas.microsoft.com/office/drawing/2014/main" id="{E6349EC9-428E-4250-33EC-D0FB997D9FD5}"/>
                </a:ext>
              </a:extLst>
            </p:cNvPr>
            <p:cNvSpPr/>
            <p:nvPr/>
          </p:nvSpPr>
          <p:spPr>
            <a:xfrm>
              <a:off x="5425544" y="6116995"/>
              <a:ext cx="42644" cy="42644"/>
            </a:xfrm>
            <a:custGeom>
              <a:avLst/>
              <a:gdLst>
                <a:gd name="connsiteX0" fmla="*/ 49082 w 55756"/>
                <a:gd name="connsiteY0" fmla="*/ 6651 h 55756"/>
                <a:gd name="connsiteX1" fmla="*/ 10568 w 55756"/>
                <a:gd name="connsiteY1" fmla="*/ 51170 h 55756"/>
                <a:gd name="connsiteX2" fmla="*/ 49082 w 55756"/>
                <a:gd name="connsiteY2" fmla="*/ 6651 h 55756"/>
              </a:gdLst>
              <a:ahLst/>
              <a:cxnLst>
                <a:cxn ang="0">
                  <a:pos x="connsiteX0" y="connsiteY0"/>
                </a:cxn>
                <a:cxn ang="0">
                  <a:pos x="connsiteX1" y="connsiteY1"/>
                </a:cxn>
                <a:cxn ang="0">
                  <a:pos x="connsiteX2" y="connsiteY2"/>
                </a:cxn>
              </a:cxnLst>
              <a:rect l="l" t="t" r="r" b="b"/>
              <a:pathLst>
                <a:path w="55756" h="55756">
                  <a:moveTo>
                    <a:pt x="49082" y="6651"/>
                  </a:moveTo>
                  <a:cubicBezTo>
                    <a:pt x="32784" y="3219"/>
                    <a:pt x="-6288" y="41434"/>
                    <a:pt x="10568" y="51170"/>
                  </a:cubicBezTo>
                  <a:cubicBezTo>
                    <a:pt x="28367" y="61463"/>
                    <a:pt x="65380" y="10081"/>
                    <a:pt x="49082" y="665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30" name="Freeform: Shape 202">
              <a:extLst>
                <a:ext uri="{FF2B5EF4-FFF2-40B4-BE49-F238E27FC236}">
                  <a16:creationId xmlns:a16="http://schemas.microsoft.com/office/drawing/2014/main" id="{3C0469E5-2E28-5260-D539-4F83D5925784}"/>
                </a:ext>
              </a:extLst>
            </p:cNvPr>
            <p:cNvSpPr/>
            <p:nvPr/>
          </p:nvSpPr>
          <p:spPr>
            <a:xfrm>
              <a:off x="4908106" y="4395409"/>
              <a:ext cx="154176" cy="200101"/>
            </a:xfrm>
            <a:custGeom>
              <a:avLst/>
              <a:gdLst>
                <a:gd name="connsiteX0" fmla="*/ 186110 w 201579"/>
                <a:gd name="connsiteY0" fmla="*/ 72440 h 261624"/>
                <a:gd name="connsiteX1" fmla="*/ 162178 w 201579"/>
                <a:gd name="connsiteY1" fmla="*/ 50996 h 261624"/>
                <a:gd name="connsiteX2" fmla="*/ 136702 w 201579"/>
                <a:gd name="connsiteY2" fmla="*/ 50996 h 261624"/>
                <a:gd name="connsiteX3" fmla="*/ 115857 w 201579"/>
                <a:gd name="connsiteY3" fmla="*/ 33154 h 261624"/>
                <a:gd name="connsiteX4" fmla="*/ 74641 w 201579"/>
                <a:gd name="connsiteY4" fmla="*/ 6433 h 261624"/>
                <a:gd name="connsiteX5" fmla="*/ 74598 w 201579"/>
                <a:gd name="connsiteY5" fmla="*/ 11709 h 261624"/>
                <a:gd name="connsiteX6" fmla="*/ 51652 w 201579"/>
                <a:gd name="connsiteY6" fmla="*/ 25433 h 261624"/>
                <a:gd name="connsiteX7" fmla="*/ 40544 w 201579"/>
                <a:gd name="connsiteY7" fmla="*/ 53697 h 261624"/>
                <a:gd name="connsiteX8" fmla="*/ 25747 w 201579"/>
                <a:gd name="connsiteY8" fmla="*/ 76815 h 261624"/>
                <a:gd name="connsiteX9" fmla="*/ 16869 w 201579"/>
                <a:gd name="connsiteY9" fmla="*/ 97359 h 261624"/>
                <a:gd name="connsiteX10" fmla="*/ 9449 w 201579"/>
                <a:gd name="connsiteY10" fmla="*/ 123908 h 261624"/>
                <a:gd name="connsiteX11" fmla="*/ 7219 w 201579"/>
                <a:gd name="connsiteY11" fmla="*/ 149555 h 261624"/>
                <a:gd name="connsiteX12" fmla="*/ 26476 w 201579"/>
                <a:gd name="connsiteY12" fmla="*/ 169284 h 261624"/>
                <a:gd name="connsiteX13" fmla="*/ 42774 w 201579"/>
                <a:gd name="connsiteY13" fmla="*/ 173573 h 261624"/>
                <a:gd name="connsiteX14" fmla="*/ 27977 w 201579"/>
                <a:gd name="connsiteY14" fmla="*/ 197548 h 261624"/>
                <a:gd name="connsiteX15" fmla="*/ 25232 w 201579"/>
                <a:gd name="connsiteY15" fmla="*/ 198063 h 261624"/>
                <a:gd name="connsiteX16" fmla="*/ 31709 w 201579"/>
                <a:gd name="connsiteY16" fmla="*/ 217921 h 261624"/>
                <a:gd name="connsiteX17" fmla="*/ 31709 w 201579"/>
                <a:gd name="connsiteY17" fmla="*/ 237564 h 261624"/>
                <a:gd name="connsiteX18" fmla="*/ 57185 w 201579"/>
                <a:gd name="connsiteY18" fmla="*/ 245584 h 261624"/>
                <a:gd name="connsiteX19" fmla="*/ 81117 w 201579"/>
                <a:gd name="connsiteY19" fmla="*/ 243826 h 261624"/>
                <a:gd name="connsiteX20" fmla="*/ 111225 w 201579"/>
                <a:gd name="connsiteY20" fmla="*/ 182237 h 261624"/>
                <a:gd name="connsiteX21" fmla="*/ 176846 w 201579"/>
                <a:gd name="connsiteY21" fmla="*/ 141106 h 261624"/>
                <a:gd name="connsiteX22" fmla="*/ 195374 w 201579"/>
                <a:gd name="connsiteY22" fmla="*/ 101862 h 261624"/>
                <a:gd name="connsiteX23" fmla="*/ 186110 w 201579"/>
                <a:gd name="connsiteY23" fmla="*/ 72440 h 261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1579" h="261624">
                  <a:moveTo>
                    <a:pt x="186110" y="72440"/>
                  </a:moveTo>
                  <a:cubicBezTo>
                    <a:pt x="173758" y="56357"/>
                    <a:pt x="165266" y="46535"/>
                    <a:pt x="162178" y="50996"/>
                  </a:cubicBezTo>
                  <a:cubicBezTo>
                    <a:pt x="159090" y="55499"/>
                    <a:pt x="145966" y="57300"/>
                    <a:pt x="136702" y="50996"/>
                  </a:cubicBezTo>
                  <a:cubicBezTo>
                    <a:pt x="127437" y="44776"/>
                    <a:pt x="122806" y="33154"/>
                    <a:pt x="115857" y="33154"/>
                  </a:cubicBezTo>
                  <a:cubicBezTo>
                    <a:pt x="109381" y="33154"/>
                    <a:pt x="87079" y="18528"/>
                    <a:pt x="74641" y="6433"/>
                  </a:cubicBezTo>
                  <a:cubicBezTo>
                    <a:pt x="74512" y="8321"/>
                    <a:pt x="74469" y="10165"/>
                    <a:pt x="74598" y="11709"/>
                  </a:cubicBezTo>
                  <a:cubicBezTo>
                    <a:pt x="75327" y="19429"/>
                    <a:pt x="64219" y="24533"/>
                    <a:pt x="51652" y="25433"/>
                  </a:cubicBezTo>
                  <a:cubicBezTo>
                    <a:pt x="39043" y="26291"/>
                    <a:pt x="40544" y="42546"/>
                    <a:pt x="40544" y="53697"/>
                  </a:cubicBezTo>
                  <a:cubicBezTo>
                    <a:pt x="40544" y="64849"/>
                    <a:pt x="30164" y="64849"/>
                    <a:pt x="25747" y="76815"/>
                  </a:cubicBezTo>
                  <a:cubicBezTo>
                    <a:pt x="21286" y="88781"/>
                    <a:pt x="27205" y="91354"/>
                    <a:pt x="16869" y="97359"/>
                  </a:cubicBezTo>
                  <a:cubicBezTo>
                    <a:pt x="6490" y="103363"/>
                    <a:pt x="3530" y="113657"/>
                    <a:pt x="9449" y="123908"/>
                  </a:cubicBezTo>
                  <a:cubicBezTo>
                    <a:pt x="15368" y="134158"/>
                    <a:pt x="8720" y="143594"/>
                    <a:pt x="7219" y="149555"/>
                  </a:cubicBezTo>
                  <a:cubicBezTo>
                    <a:pt x="5760" y="155602"/>
                    <a:pt x="16097" y="158133"/>
                    <a:pt x="26476" y="169284"/>
                  </a:cubicBezTo>
                  <a:cubicBezTo>
                    <a:pt x="36855" y="180392"/>
                    <a:pt x="38314" y="164995"/>
                    <a:pt x="42774" y="173573"/>
                  </a:cubicBezTo>
                  <a:cubicBezTo>
                    <a:pt x="47235" y="182151"/>
                    <a:pt x="39815" y="197548"/>
                    <a:pt x="27977" y="197548"/>
                  </a:cubicBezTo>
                  <a:cubicBezTo>
                    <a:pt x="27077" y="197548"/>
                    <a:pt x="26176" y="197849"/>
                    <a:pt x="25232" y="198063"/>
                  </a:cubicBezTo>
                  <a:cubicBezTo>
                    <a:pt x="31408" y="205483"/>
                    <a:pt x="34625" y="213117"/>
                    <a:pt x="31709" y="217921"/>
                  </a:cubicBezTo>
                  <a:cubicBezTo>
                    <a:pt x="26305" y="226884"/>
                    <a:pt x="21672" y="226884"/>
                    <a:pt x="31709" y="237564"/>
                  </a:cubicBezTo>
                  <a:cubicBezTo>
                    <a:pt x="41745" y="248244"/>
                    <a:pt x="48693" y="232203"/>
                    <a:pt x="57185" y="245584"/>
                  </a:cubicBezTo>
                  <a:cubicBezTo>
                    <a:pt x="65677" y="258966"/>
                    <a:pt x="72625" y="267029"/>
                    <a:pt x="81117" y="243826"/>
                  </a:cubicBezTo>
                  <a:cubicBezTo>
                    <a:pt x="89609" y="220580"/>
                    <a:pt x="95785" y="187555"/>
                    <a:pt x="111225" y="182237"/>
                  </a:cubicBezTo>
                  <a:cubicBezTo>
                    <a:pt x="126665" y="176833"/>
                    <a:pt x="158318" y="169756"/>
                    <a:pt x="176846" y="141106"/>
                  </a:cubicBezTo>
                  <a:cubicBezTo>
                    <a:pt x="195374" y="112542"/>
                    <a:pt x="185553" y="110912"/>
                    <a:pt x="195374" y="101862"/>
                  </a:cubicBezTo>
                  <a:cubicBezTo>
                    <a:pt x="203094" y="94786"/>
                    <a:pt x="198462" y="88524"/>
                    <a:pt x="186110" y="72440"/>
                  </a:cubicBezTo>
                  <a:close/>
                </a:path>
              </a:pathLst>
            </a:custGeom>
            <a:grpFill/>
            <a:ln w="1905" cap="flat">
              <a:solidFill>
                <a:schemeClr val="bg1"/>
              </a:solidFill>
              <a:prstDash val="solid"/>
              <a:miter/>
            </a:ln>
          </p:spPr>
          <p:txBody>
            <a:bodyPr rtlCol="0" anchor="ctr"/>
            <a:lstStyle/>
            <a:p>
              <a:endParaRPr lang="en-US" dirty="0">
                <a:sym typeface="+mn-lt"/>
              </a:endParaRPr>
            </a:p>
          </p:txBody>
        </p:sp>
      </p:grpSp>
      <p:grpSp>
        <p:nvGrpSpPr>
          <p:cNvPr id="31" name="Group 19">
            <a:extLst>
              <a:ext uri="{FF2B5EF4-FFF2-40B4-BE49-F238E27FC236}">
                <a16:creationId xmlns:a16="http://schemas.microsoft.com/office/drawing/2014/main" id="{D47F6B03-0FCE-2BF8-7869-401A2F1E3E2C}"/>
              </a:ext>
            </a:extLst>
          </p:cNvPr>
          <p:cNvGrpSpPr/>
          <p:nvPr/>
        </p:nvGrpSpPr>
        <p:grpSpPr>
          <a:xfrm>
            <a:off x="2677542" y="1862102"/>
            <a:ext cx="2640369" cy="2371280"/>
            <a:chOff x="2677542" y="1862102"/>
            <a:chExt cx="2640369" cy="2371280"/>
          </a:xfrm>
          <a:solidFill>
            <a:schemeClr val="accent4">
              <a:alpha val="50000"/>
            </a:schemeClr>
          </a:solidFill>
        </p:grpSpPr>
        <p:sp>
          <p:nvSpPr>
            <p:cNvPr id="32" name="Freeform: Shape 174">
              <a:extLst>
                <a:ext uri="{FF2B5EF4-FFF2-40B4-BE49-F238E27FC236}">
                  <a16:creationId xmlns:a16="http://schemas.microsoft.com/office/drawing/2014/main" id="{6411929B-04B6-F11A-A013-C3168C07F5FD}"/>
                </a:ext>
              </a:extLst>
            </p:cNvPr>
            <p:cNvSpPr/>
            <p:nvPr/>
          </p:nvSpPr>
          <p:spPr>
            <a:xfrm>
              <a:off x="4677247" y="4007280"/>
              <a:ext cx="65607" cy="45925"/>
            </a:xfrm>
            <a:custGeom>
              <a:avLst/>
              <a:gdLst>
                <a:gd name="connsiteX0" fmla="*/ 82390 w 85778"/>
                <a:gd name="connsiteY0" fmla="*/ 25434 h 60045"/>
                <a:gd name="connsiteX1" fmla="*/ 45935 w 85778"/>
                <a:gd name="connsiteY1" fmla="*/ 14668 h 60045"/>
                <a:gd name="connsiteX2" fmla="*/ 31395 w 85778"/>
                <a:gd name="connsiteY2" fmla="*/ 6433 h 60045"/>
                <a:gd name="connsiteX3" fmla="*/ 30194 w 85778"/>
                <a:gd name="connsiteY3" fmla="*/ 7248 h 60045"/>
                <a:gd name="connsiteX4" fmla="*/ 6433 w 85778"/>
                <a:gd name="connsiteY4" fmla="*/ 30151 h 60045"/>
                <a:gd name="connsiteX5" fmla="*/ 71325 w 85778"/>
                <a:gd name="connsiteY5" fmla="*/ 55756 h 60045"/>
                <a:gd name="connsiteX6" fmla="*/ 82090 w 85778"/>
                <a:gd name="connsiteY6" fmla="*/ 50610 h 60045"/>
                <a:gd name="connsiteX7" fmla="*/ 82390 w 85778"/>
                <a:gd name="connsiteY7" fmla="*/ 25434 h 6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78" h="60045">
                  <a:moveTo>
                    <a:pt x="82390" y="25434"/>
                  </a:moveTo>
                  <a:cubicBezTo>
                    <a:pt x="76686" y="16341"/>
                    <a:pt x="61675" y="27063"/>
                    <a:pt x="45935" y="14668"/>
                  </a:cubicBezTo>
                  <a:cubicBezTo>
                    <a:pt x="41817" y="11409"/>
                    <a:pt x="36713" y="8707"/>
                    <a:pt x="31395" y="6433"/>
                  </a:cubicBezTo>
                  <a:cubicBezTo>
                    <a:pt x="31009" y="6734"/>
                    <a:pt x="30709" y="7034"/>
                    <a:pt x="30194" y="7248"/>
                  </a:cubicBezTo>
                  <a:cubicBezTo>
                    <a:pt x="26806" y="8363"/>
                    <a:pt x="16469" y="19129"/>
                    <a:pt x="6433" y="30151"/>
                  </a:cubicBezTo>
                  <a:cubicBezTo>
                    <a:pt x="17756" y="40445"/>
                    <a:pt x="59788" y="55756"/>
                    <a:pt x="71325" y="55756"/>
                  </a:cubicBezTo>
                  <a:cubicBezTo>
                    <a:pt x="76729" y="55756"/>
                    <a:pt x="79645" y="52926"/>
                    <a:pt x="82090" y="50610"/>
                  </a:cubicBezTo>
                  <a:cubicBezTo>
                    <a:pt x="83720" y="38600"/>
                    <a:pt x="84320" y="28521"/>
                    <a:pt x="82390" y="2543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33" name="Freeform: Shape 175">
              <a:extLst>
                <a:ext uri="{FF2B5EF4-FFF2-40B4-BE49-F238E27FC236}">
                  <a16:creationId xmlns:a16="http://schemas.microsoft.com/office/drawing/2014/main" id="{8113BE15-E7F3-A300-EBAD-53C51A9B91D9}"/>
                </a:ext>
              </a:extLst>
            </p:cNvPr>
            <p:cNvSpPr/>
            <p:nvPr/>
          </p:nvSpPr>
          <p:spPr>
            <a:xfrm>
              <a:off x="4696338" y="3957944"/>
              <a:ext cx="164017" cy="101691"/>
            </a:xfrm>
            <a:custGeom>
              <a:avLst/>
              <a:gdLst>
                <a:gd name="connsiteX0" fmla="*/ 177390 w 214446"/>
                <a:gd name="connsiteY0" fmla="*/ 20201 h 132956"/>
                <a:gd name="connsiteX1" fmla="*/ 159334 w 214446"/>
                <a:gd name="connsiteY1" fmla="*/ 20158 h 132956"/>
                <a:gd name="connsiteX2" fmla="*/ 149984 w 214446"/>
                <a:gd name="connsiteY2" fmla="*/ 16598 h 132956"/>
                <a:gd name="connsiteX3" fmla="*/ 145995 w 214446"/>
                <a:gd name="connsiteY3" fmla="*/ 15140 h 132956"/>
                <a:gd name="connsiteX4" fmla="*/ 131327 w 214446"/>
                <a:gd name="connsiteY4" fmla="*/ 6433 h 132956"/>
                <a:gd name="connsiteX5" fmla="*/ 102591 w 214446"/>
                <a:gd name="connsiteY5" fmla="*/ 14925 h 132956"/>
                <a:gd name="connsiteX6" fmla="*/ 40402 w 214446"/>
                <a:gd name="connsiteY6" fmla="*/ 19214 h 132956"/>
                <a:gd name="connsiteX7" fmla="*/ 39673 w 214446"/>
                <a:gd name="connsiteY7" fmla="*/ 19600 h 132956"/>
                <a:gd name="connsiteX8" fmla="*/ 21659 w 214446"/>
                <a:gd name="connsiteY8" fmla="*/ 41131 h 132956"/>
                <a:gd name="connsiteX9" fmla="*/ 6433 w 214446"/>
                <a:gd name="connsiteY9" fmla="*/ 70939 h 132956"/>
                <a:gd name="connsiteX10" fmla="*/ 20973 w 214446"/>
                <a:gd name="connsiteY10" fmla="*/ 79174 h 132956"/>
                <a:gd name="connsiteX11" fmla="*/ 57429 w 214446"/>
                <a:gd name="connsiteY11" fmla="*/ 89939 h 132956"/>
                <a:gd name="connsiteX12" fmla="*/ 57129 w 214446"/>
                <a:gd name="connsiteY12" fmla="*/ 115115 h 132956"/>
                <a:gd name="connsiteX13" fmla="*/ 67079 w 214446"/>
                <a:gd name="connsiteY13" fmla="*/ 115115 h 132956"/>
                <a:gd name="connsiteX14" fmla="*/ 70081 w 214446"/>
                <a:gd name="connsiteY14" fmla="*/ 129654 h 132956"/>
                <a:gd name="connsiteX15" fmla="*/ 82433 w 214446"/>
                <a:gd name="connsiteY15" fmla="*/ 126309 h 132956"/>
                <a:gd name="connsiteX16" fmla="*/ 92426 w 214446"/>
                <a:gd name="connsiteY16" fmla="*/ 115544 h 132956"/>
                <a:gd name="connsiteX17" fmla="*/ 103149 w 214446"/>
                <a:gd name="connsiteY17" fmla="*/ 91526 h 132956"/>
                <a:gd name="connsiteX18" fmla="*/ 139605 w 214446"/>
                <a:gd name="connsiteY18" fmla="*/ 73341 h 132956"/>
                <a:gd name="connsiteX19" fmla="*/ 171772 w 214446"/>
                <a:gd name="connsiteY19" fmla="*/ 65106 h 132956"/>
                <a:gd name="connsiteX20" fmla="*/ 200979 w 214446"/>
                <a:gd name="connsiteY20" fmla="*/ 48508 h 132956"/>
                <a:gd name="connsiteX21" fmla="*/ 209000 w 214446"/>
                <a:gd name="connsiteY21" fmla="*/ 39158 h 132956"/>
                <a:gd name="connsiteX22" fmla="*/ 177390 w 214446"/>
                <a:gd name="connsiteY22" fmla="*/ 20201 h 13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4446" h="132956">
                  <a:moveTo>
                    <a:pt x="177390" y="20201"/>
                  </a:moveTo>
                  <a:cubicBezTo>
                    <a:pt x="171428" y="21616"/>
                    <a:pt x="165081" y="21745"/>
                    <a:pt x="159334" y="20158"/>
                  </a:cubicBezTo>
                  <a:cubicBezTo>
                    <a:pt x="156117" y="19257"/>
                    <a:pt x="153029" y="17971"/>
                    <a:pt x="149984" y="16598"/>
                  </a:cubicBezTo>
                  <a:cubicBezTo>
                    <a:pt x="148654" y="16083"/>
                    <a:pt x="147368" y="15526"/>
                    <a:pt x="145995" y="15140"/>
                  </a:cubicBezTo>
                  <a:cubicBezTo>
                    <a:pt x="140291" y="13553"/>
                    <a:pt x="135487" y="10422"/>
                    <a:pt x="131327" y="6433"/>
                  </a:cubicBezTo>
                  <a:cubicBezTo>
                    <a:pt x="120648" y="8106"/>
                    <a:pt x="110311" y="11494"/>
                    <a:pt x="102591" y="14925"/>
                  </a:cubicBezTo>
                  <a:cubicBezTo>
                    <a:pt x="83334" y="23461"/>
                    <a:pt x="61117" y="5490"/>
                    <a:pt x="40402" y="19214"/>
                  </a:cubicBezTo>
                  <a:cubicBezTo>
                    <a:pt x="40144" y="19343"/>
                    <a:pt x="39930" y="19472"/>
                    <a:pt x="39673" y="19600"/>
                  </a:cubicBezTo>
                  <a:cubicBezTo>
                    <a:pt x="35126" y="26205"/>
                    <a:pt x="28907" y="34354"/>
                    <a:pt x="21659" y="41131"/>
                  </a:cubicBezTo>
                  <a:cubicBezTo>
                    <a:pt x="7720" y="54212"/>
                    <a:pt x="11537" y="67165"/>
                    <a:pt x="6433" y="70939"/>
                  </a:cubicBezTo>
                  <a:cubicBezTo>
                    <a:pt x="11709" y="73212"/>
                    <a:pt x="16855" y="75914"/>
                    <a:pt x="20973" y="79174"/>
                  </a:cubicBezTo>
                  <a:cubicBezTo>
                    <a:pt x="36713" y="91569"/>
                    <a:pt x="51724" y="80846"/>
                    <a:pt x="57429" y="89939"/>
                  </a:cubicBezTo>
                  <a:cubicBezTo>
                    <a:pt x="59359" y="92984"/>
                    <a:pt x="58758" y="103106"/>
                    <a:pt x="57129" y="115115"/>
                  </a:cubicBezTo>
                  <a:cubicBezTo>
                    <a:pt x="60045" y="112413"/>
                    <a:pt x="62275" y="110483"/>
                    <a:pt x="67079" y="115115"/>
                  </a:cubicBezTo>
                  <a:cubicBezTo>
                    <a:pt x="71411" y="119318"/>
                    <a:pt x="70639" y="124508"/>
                    <a:pt x="70081" y="129654"/>
                  </a:cubicBezTo>
                  <a:lnTo>
                    <a:pt x="82433" y="126309"/>
                  </a:lnTo>
                  <a:cubicBezTo>
                    <a:pt x="82433" y="126309"/>
                    <a:pt x="91011" y="118889"/>
                    <a:pt x="92426" y="115544"/>
                  </a:cubicBezTo>
                  <a:cubicBezTo>
                    <a:pt x="93842" y="112241"/>
                    <a:pt x="83849" y="93198"/>
                    <a:pt x="103149" y="91526"/>
                  </a:cubicBezTo>
                  <a:cubicBezTo>
                    <a:pt x="122449" y="89896"/>
                    <a:pt x="136774" y="87408"/>
                    <a:pt x="139605" y="73341"/>
                  </a:cubicBezTo>
                  <a:cubicBezTo>
                    <a:pt x="142478" y="59273"/>
                    <a:pt x="165338" y="65921"/>
                    <a:pt x="171772" y="65106"/>
                  </a:cubicBezTo>
                  <a:cubicBezTo>
                    <a:pt x="176018" y="64548"/>
                    <a:pt x="187855" y="52754"/>
                    <a:pt x="200979" y="48508"/>
                  </a:cubicBezTo>
                  <a:cubicBezTo>
                    <a:pt x="203210" y="44734"/>
                    <a:pt x="205912" y="41646"/>
                    <a:pt x="209000" y="39158"/>
                  </a:cubicBezTo>
                  <a:cubicBezTo>
                    <a:pt x="204024" y="30537"/>
                    <a:pt x="189442" y="30880"/>
                    <a:pt x="177390" y="2020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34" name="Freeform: Shape 176">
              <a:extLst>
                <a:ext uri="{FF2B5EF4-FFF2-40B4-BE49-F238E27FC236}">
                  <a16:creationId xmlns:a16="http://schemas.microsoft.com/office/drawing/2014/main" id="{48CBE66B-4243-6039-CA07-C43021FD88CC}"/>
                </a:ext>
              </a:extLst>
            </p:cNvPr>
            <p:cNvSpPr/>
            <p:nvPr/>
          </p:nvSpPr>
          <p:spPr>
            <a:xfrm>
              <a:off x="3985948" y="3430498"/>
              <a:ext cx="784000" cy="567499"/>
            </a:xfrm>
            <a:custGeom>
              <a:avLst/>
              <a:gdLst>
                <a:gd name="connsiteX0" fmla="*/ 1021066 w 1025054"/>
                <a:gd name="connsiteY0" fmla="*/ 483577 h 741984"/>
                <a:gd name="connsiteX1" fmla="*/ 992201 w 1025054"/>
                <a:gd name="connsiteY1" fmla="*/ 475042 h 741984"/>
                <a:gd name="connsiteX2" fmla="*/ 939834 w 1025054"/>
                <a:gd name="connsiteY2" fmla="*/ 477572 h 741984"/>
                <a:gd name="connsiteX3" fmla="*/ 933057 w 1025054"/>
                <a:gd name="connsiteY3" fmla="*/ 487523 h 741984"/>
                <a:gd name="connsiteX4" fmla="*/ 919676 w 1025054"/>
                <a:gd name="connsiteY4" fmla="*/ 496015 h 741984"/>
                <a:gd name="connsiteX5" fmla="*/ 898016 w 1025054"/>
                <a:gd name="connsiteY5" fmla="*/ 507766 h 741984"/>
                <a:gd name="connsiteX6" fmla="*/ 897116 w 1025054"/>
                <a:gd name="connsiteY6" fmla="*/ 512785 h 741984"/>
                <a:gd name="connsiteX7" fmla="*/ 904750 w 1025054"/>
                <a:gd name="connsiteY7" fmla="*/ 527324 h 741984"/>
                <a:gd name="connsiteX8" fmla="*/ 901061 w 1025054"/>
                <a:gd name="connsiteY8" fmla="*/ 556231 h 741984"/>
                <a:gd name="connsiteX9" fmla="*/ 885407 w 1025054"/>
                <a:gd name="connsiteY9" fmla="*/ 572529 h 741984"/>
                <a:gd name="connsiteX10" fmla="*/ 878673 w 1025054"/>
                <a:gd name="connsiteY10" fmla="*/ 575574 h 741984"/>
                <a:gd name="connsiteX11" fmla="*/ 864820 w 1025054"/>
                <a:gd name="connsiteY11" fmla="*/ 592430 h 741984"/>
                <a:gd name="connsiteX12" fmla="*/ 843761 w 1025054"/>
                <a:gd name="connsiteY12" fmla="*/ 590886 h 741984"/>
                <a:gd name="connsiteX13" fmla="*/ 837028 w 1025054"/>
                <a:gd name="connsiteY13" fmla="*/ 595990 h 741984"/>
                <a:gd name="connsiteX14" fmla="*/ 813782 w 1025054"/>
                <a:gd name="connsiteY14" fmla="*/ 602380 h 741984"/>
                <a:gd name="connsiteX15" fmla="*/ 796154 w 1025054"/>
                <a:gd name="connsiteY15" fmla="*/ 597362 h 741984"/>
                <a:gd name="connsiteX16" fmla="*/ 761114 w 1025054"/>
                <a:gd name="connsiteY16" fmla="*/ 607870 h 741984"/>
                <a:gd name="connsiteX17" fmla="*/ 723328 w 1025054"/>
                <a:gd name="connsiteY17" fmla="*/ 587326 h 741984"/>
                <a:gd name="connsiteX18" fmla="*/ 704071 w 1025054"/>
                <a:gd name="connsiteY18" fmla="*/ 547911 h 741984"/>
                <a:gd name="connsiteX19" fmla="*/ 703642 w 1025054"/>
                <a:gd name="connsiteY19" fmla="*/ 545080 h 741984"/>
                <a:gd name="connsiteX20" fmla="*/ 681597 w 1025054"/>
                <a:gd name="connsiteY20" fmla="*/ 513256 h 741984"/>
                <a:gd name="connsiteX21" fmla="*/ 668516 w 1025054"/>
                <a:gd name="connsiteY21" fmla="*/ 497387 h 741984"/>
                <a:gd name="connsiteX22" fmla="*/ 655949 w 1025054"/>
                <a:gd name="connsiteY22" fmla="*/ 421988 h 741984"/>
                <a:gd name="connsiteX23" fmla="*/ 667057 w 1025054"/>
                <a:gd name="connsiteY23" fmla="*/ 314078 h 741984"/>
                <a:gd name="connsiteX24" fmla="*/ 670060 w 1025054"/>
                <a:gd name="connsiteY24" fmla="*/ 297952 h 741984"/>
                <a:gd name="connsiteX25" fmla="*/ 656164 w 1025054"/>
                <a:gd name="connsiteY25" fmla="*/ 291948 h 741984"/>
                <a:gd name="connsiteX26" fmla="*/ 609457 w 1025054"/>
                <a:gd name="connsiteY26" fmla="*/ 272733 h 741984"/>
                <a:gd name="connsiteX27" fmla="*/ 599978 w 1025054"/>
                <a:gd name="connsiteY27" fmla="*/ 248929 h 741984"/>
                <a:gd name="connsiteX28" fmla="*/ 592044 w 1025054"/>
                <a:gd name="connsiteY28" fmla="*/ 219636 h 741984"/>
                <a:gd name="connsiteX29" fmla="*/ 560392 w 1025054"/>
                <a:gd name="connsiteY29" fmla="*/ 167483 h 741984"/>
                <a:gd name="connsiteX30" fmla="*/ 501033 w 1025054"/>
                <a:gd name="connsiteY30" fmla="*/ 128153 h 741984"/>
                <a:gd name="connsiteX31" fmla="*/ 474913 w 1025054"/>
                <a:gd name="connsiteY31" fmla="*/ 163837 h 741984"/>
                <a:gd name="connsiteX32" fmla="*/ 436141 w 1025054"/>
                <a:gd name="connsiteY32" fmla="*/ 140977 h 741984"/>
                <a:gd name="connsiteX33" fmla="*/ 424261 w 1025054"/>
                <a:gd name="connsiteY33" fmla="*/ 116273 h 741984"/>
                <a:gd name="connsiteX34" fmla="*/ 402902 w 1025054"/>
                <a:gd name="connsiteY34" fmla="*/ 86079 h 741984"/>
                <a:gd name="connsiteX35" fmla="*/ 364945 w 1025054"/>
                <a:gd name="connsiteY35" fmla="*/ 46706 h 741984"/>
                <a:gd name="connsiteX36" fmla="*/ 312706 w 1025054"/>
                <a:gd name="connsiteY36" fmla="*/ 46706 h 741984"/>
                <a:gd name="connsiteX37" fmla="*/ 301641 w 1025054"/>
                <a:gd name="connsiteY37" fmla="*/ 63176 h 741984"/>
                <a:gd name="connsiteX38" fmla="*/ 206684 w 1025054"/>
                <a:gd name="connsiteY38" fmla="*/ 64077 h 741984"/>
                <a:gd name="connsiteX39" fmla="*/ 120433 w 1025054"/>
                <a:gd name="connsiteY39" fmla="*/ 29336 h 741984"/>
                <a:gd name="connsiteX40" fmla="*/ 83248 w 1025054"/>
                <a:gd name="connsiteY40" fmla="*/ 6433 h 741984"/>
                <a:gd name="connsiteX41" fmla="*/ 6433 w 1025054"/>
                <a:gd name="connsiteY41" fmla="*/ 18099 h 741984"/>
                <a:gd name="connsiteX42" fmla="*/ 24104 w 1025054"/>
                <a:gd name="connsiteY42" fmla="*/ 50266 h 741984"/>
                <a:gd name="connsiteX43" fmla="*/ 51939 w 1025054"/>
                <a:gd name="connsiteY43" fmla="*/ 123135 h 741984"/>
                <a:gd name="connsiteX44" fmla="*/ 68709 w 1025054"/>
                <a:gd name="connsiteY44" fmla="*/ 146510 h 741984"/>
                <a:gd name="connsiteX45" fmla="*/ 93713 w 1025054"/>
                <a:gd name="connsiteY45" fmla="*/ 164180 h 741984"/>
                <a:gd name="connsiteX46" fmla="*/ 110011 w 1025054"/>
                <a:gd name="connsiteY46" fmla="*/ 215562 h 741984"/>
                <a:gd name="connsiteX47" fmla="*/ 83334 w 1025054"/>
                <a:gd name="connsiteY47" fmla="*/ 218135 h 741984"/>
                <a:gd name="connsiteX48" fmla="*/ 83849 w 1025054"/>
                <a:gd name="connsiteY48" fmla="*/ 221008 h 741984"/>
                <a:gd name="connsiteX49" fmla="*/ 84020 w 1025054"/>
                <a:gd name="connsiteY49" fmla="*/ 221051 h 741984"/>
                <a:gd name="connsiteX50" fmla="*/ 131627 w 1025054"/>
                <a:gd name="connsiteY50" fmla="*/ 254505 h 741984"/>
                <a:gd name="connsiteX51" fmla="*/ 161135 w 1025054"/>
                <a:gd name="connsiteY51" fmla="*/ 279853 h 741984"/>
                <a:gd name="connsiteX52" fmla="*/ 173873 w 1025054"/>
                <a:gd name="connsiteY52" fmla="*/ 323128 h 741984"/>
                <a:gd name="connsiteX53" fmla="*/ 183480 w 1025054"/>
                <a:gd name="connsiteY53" fmla="*/ 333336 h 741984"/>
                <a:gd name="connsiteX54" fmla="*/ 198964 w 1025054"/>
                <a:gd name="connsiteY54" fmla="*/ 359498 h 741984"/>
                <a:gd name="connsiteX55" fmla="*/ 209214 w 1025054"/>
                <a:gd name="connsiteY55" fmla="*/ 367175 h 741984"/>
                <a:gd name="connsiteX56" fmla="*/ 244769 w 1025054"/>
                <a:gd name="connsiteY56" fmla="*/ 416841 h 741984"/>
                <a:gd name="connsiteX57" fmla="*/ 261067 w 1025054"/>
                <a:gd name="connsiteY57" fmla="*/ 404832 h 741984"/>
                <a:gd name="connsiteX58" fmla="*/ 253647 w 1025054"/>
                <a:gd name="connsiteY58" fmla="*/ 373995 h 741984"/>
                <a:gd name="connsiteX59" fmla="*/ 225512 w 1025054"/>
                <a:gd name="connsiteY59" fmla="*/ 360313 h 741984"/>
                <a:gd name="connsiteX60" fmla="*/ 217363 w 1025054"/>
                <a:gd name="connsiteY60" fmla="*/ 326044 h 741984"/>
                <a:gd name="connsiteX61" fmla="*/ 195876 w 1025054"/>
                <a:gd name="connsiteY61" fmla="*/ 271232 h 741984"/>
                <a:gd name="connsiteX62" fmla="*/ 158862 w 1025054"/>
                <a:gd name="connsiteY62" fmla="*/ 212988 h 741984"/>
                <a:gd name="connsiteX63" fmla="*/ 132185 w 1025054"/>
                <a:gd name="connsiteY63" fmla="*/ 171000 h 741984"/>
                <a:gd name="connsiteX64" fmla="*/ 135873 w 1025054"/>
                <a:gd name="connsiteY64" fmla="*/ 150456 h 741984"/>
                <a:gd name="connsiteX65" fmla="*/ 109968 w 1025054"/>
                <a:gd name="connsiteY65" fmla="*/ 137589 h 741984"/>
                <a:gd name="connsiteX66" fmla="*/ 91440 w 1025054"/>
                <a:gd name="connsiteY66" fmla="*/ 107609 h 741984"/>
                <a:gd name="connsiteX67" fmla="*/ 80332 w 1025054"/>
                <a:gd name="connsiteY67" fmla="*/ 50223 h 741984"/>
                <a:gd name="connsiteX68" fmla="*/ 92169 w 1025054"/>
                <a:gd name="connsiteY68" fmla="*/ 45934 h 741984"/>
                <a:gd name="connsiteX69" fmla="*/ 104007 w 1025054"/>
                <a:gd name="connsiteY69" fmla="*/ 52797 h 741984"/>
                <a:gd name="connsiteX70" fmla="*/ 121806 w 1025054"/>
                <a:gd name="connsiteY70" fmla="*/ 61375 h 741984"/>
                <a:gd name="connsiteX71" fmla="*/ 144022 w 1025054"/>
                <a:gd name="connsiteY71" fmla="*/ 66521 h 741984"/>
                <a:gd name="connsiteX72" fmla="*/ 149941 w 1025054"/>
                <a:gd name="connsiteY72" fmla="*/ 115329 h 741984"/>
                <a:gd name="connsiteX73" fmla="*/ 155860 w 1025054"/>
                <a:gd name="connsiteY73" fmla="*/ 158991 h 741984"/>
                <a:gd name="connsiteX74" fmla="*/ 171429 w 1025054"/>
                <a:gd name="connsiteY74" fmla="*/ 169284 h 741984"/>
                <a:gd name="connsiteX75" fmla="*/ 195146 w 1025054"/>
                <a:gd name="connsiteY75" fmla="*/ 191544 h 741984"/>
                <a:gd name="connsiteX76" fmla="*/ 223282 w 1025054"/>
                <a:gd name="connsiteY76" fmla="*/ 213803 h 741984"/>
                <a:gd name="connsiteX77" fmla="*/ 239580 w 1025054"/>
                <a:gd name="connsiteY77" fmla="*/ 239494 h 741984"/>
                <a:gd name="connsiteX78" fmla="*/ 262526 w 1025054"/>
                <a:gd name="connsiteY78" fmla="*/ 260038 h 741984"/>
                <a:gd name="connsiteX79" fmla="*/ 267715 w 1025054"/>
                <a:gd name="connsiteY79" fmla="*/ 283155 h 741984"/>
                <a:gd name="connsiteX80" fmla="*/ 288474 w 1025054"/>
                <a:gd name="connsiteY80" fmla="*/ 313135 h 741984"/>
                <a:gd name="connsiteX81" fmla="*/ 315880 w 1025054"/>
                <a:gd name="connsiteY81" fmla="*/ 342300 h 741984"/>
                <a:gd name="connsiteX82" fmla="*/ 387719 w 1025054"/>
                <a:gd name="connsiteY82" fmla="*/ 434812 h 741984"/>
                <a:gd name="connsiteX83" fmla="*/ 404017 w 1025054"/>
                <a:gd name="connsiteY83" fmla="*/ 476757 h 741984"/>
                <a:gd name="connsiteX84" fmla="*/ 404275 w 1025054"/>
                <a:gd name="connsiteY84" fmla="*/ 485721 h 741984"/>
                <a:gd name="connsiteX85" fmla="*/ 422631 w 1025054"/>
                <a:gd name="connsiteY85" fmla="*/ 527281 h 741984"/>
                <a:gd name="connsiteX86" fmla="*/ 419458 w 1025054"/>
                <a:gd name="connsiteY86" fmla="*/ 549198 h 741984"/>
                <a:gd name="connsiteX87" fmla="*/ 419843 w 1025054"/>
                <a:gd name="connsiteY87" fmla="*/ 550484 h 741984"/>
                <a:gd name="connsiteX88" fmla="*/ 462047 w 1025054"/>
                <a:gd name="connsiteY88" fmla="*/ 572143 h 741984"/>
                <a:gd name="connsiteX89" fmla="*/ 492198 w 1025054"/>
                <a:gd name="connsiteY89" fmla="*/ 606626 h 741984"/>
                <a:gd name="connsiteX90" fmla="*/ 530369 w 1025054"/>
                <a:gd name="connsiteY90" fmla="*/ 624511 h 741984"/>
                <a:gd name="connsiteX91" fmla="*/ 579692 w 1025054"/>
                <a:gd name="connsiteY91" fmla="*/ 651960 h 741984"/>
                <a:gd name="connsiteX92" fmla="*/ 637121 w 1025054"/>
                <a:gd name="connsiteY92" fmla="*/ 665642 h 741984"/>
                <a:gd name="connsiteX93" fmla="*/ 688073 w 1025054"/>
                <a:gd name="connsiteY93" fmla="*/ 707330 h 741984"/>
                <a:gd name="connsiteX94" fmla="*/ 729161 w 1025054"/>
                <a:gd name="connsiteY94" fmla="*/ 695236 h 741984"/>
                <a:gd name="connsiteX95" fmla="*/ 789892 w 1025054"/>
                <a:gd name="connsiteY95" fmla="*/ 705529 h 741984"/>
                <a:gd name="connsiteX96" fmla="*/ 825834 w 1025054"/>
                <a:gd name="connsiteY96" fmla="*/ 737868 h 741984"/>
                <a:gd name="connsiteX97" fmla="*/ 853154 w 1025054"/>
                <a:gd name="connsiteY97" fmla="*/ 696136 h 741984"/>
                <a:gd name="connsiteX98" fmla="*/ 897502 w 1025054"/>
                <a:gd name="connsiteY98" fmla="*/ 690346 h 741984"/>
                <a:gd name="connsiteX99" fmla="*/ 873183 w 1025054"/>
                <a:gd name="connsiteY99" fmla="*/ 653161 h 741984"/>
                <a:gd name="connsiteX100" fmla="*/ 883906 w 1025054"/>
                <a:gd name="connsiteY100" fmla="*/ 624211 h 741984"/>
                <a:gd name="connsiteX101" fmla="*/ 944680 w 1025054"/>
                <a:gd name="connsiteY101" fmla="*/ 624211 h 741984"/>
                <a:gd name="connsiteX102" fmla="*/ 966125 w 1025054"/>
                <a:gd name="connsiteY102" fmla="*/ 600236 h 741984"/>
                <a:gd name="connsiteX103" fmla="*/ 981693 w 1025054"/>
                <a:gd name="connsiteY103" fmla="*/ 611473 h 741984"/>
                <a:gd name="connsiteX104" fmla="*/ 988470 w 1025054"/>
                <a:gd name="connsiteY104" fmla="*/ 599807 h 741984"/>
                <a:gd name="connsiteX105" fmla="*/ 986154 w 1025054"/>
                <a:gd name="connsiteY105" fmla="*/ 596333 h 741984"/>
                <a:gd name="connsiteX106" fmla="*/ 982466 w 1025054"/>
                <a:gd name="connsiteY106" fmla="*/ 567425 h 741984"/>
                <a:gd name="connsiteX107" fmla="*/ 985682 w 1025054"/>
                <a:gd name="connsiteY107" fmla="*/ 553572 h 741984"/>
                <a:gd name="connsiteX108" fmla="*/ 981179 w 1025054"/>
                <a:gd name="connsiteY108" fmla="*/ 536159 h 741984"/>
                <a:gd name="connsiteX109" fmla="*/ 1006698 w 1025054"/>
                <a:gd name="connsiteY109" fmla="*/ 500475 h 741984"/>
                <a:gd name="connsiteX110" fmla="*/ 1021366 w 1025054"/>
                <a:gd name="connsiteY110" fmla="*/ 487737 h 741984"/>
                <a:gd name="connsiteX111" fmla="*/ 1021066 w 1025054"/>
                <a:gd name="connsiteY111" fmla="*/ 483577 h 74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25054" h="741984">
                  <a:moveTo>
                    <a:pt x="1021066" y="483577"/>
                  </a:moveTo>
                  <a:cubicBezTo>
                    <a:pt x="1018107" y="465606"/>
                    <a:pt x="1004039" y="483577"/>
                    <a:pt x="992201" y="475042"/>
                  </a:cubicBezTo>
                  <a:cubicBezTo>
                    <a:pt x="980407" y="466464"/>
                    <a:pt x="970028" y="472426"/>
                    <a:pt x="939834" y="477572"/>
                  </a:cubicBezTo>
                  <a:cubicBezTo>
                    <a:pt x="937989" y="481347"/>
                    <a:pt x="935673" y="484821"/>
                    <a:pt x="933057" y="487523"/>
                  </a:cubicBezTo>
                  <a:cubicBezTo>
                    <a:pt x="929283" y="491425"/>
                    <a:pt x="924651" y="494170"/>
                    <a:pt x="919676" y="496015"/>
                  </a:cubicBezTo>
                  <a:cubicBezTo>
                    <a:pt x="913800" y="502577"/>
                    <a:pt x="906165" y="506566"/>
                    <a:pt x="898016" y="507766"/>
                  </a:cubicBezTo>
                  <a:cubicBezTo>
                    <a:pt x="897630" y="509353"/>
                    <a:pt x="897373" y="511069"/>
                    <a:pt x="897116" y="512785"/>
                  </a:cubicBezTo>
                  <a:cubicBezTo>
                    <a:pt x="900676" y="517159"/>
                    <a:pt x="903420" y="522349"/>
                    <a:pt x="904750" y="527324"/>
                  </a:cubicBezTo>
                  <a:cubicBezTo>
                    <a:pt x="907238" y="536631"/>
                    <a:pt x="905908" y="547911"/>
                    <a:pt x="901061" y="556231"/>
                  </a:cubicBezTo>
                  <a:cubicBezTo>
                    <a:pt x="897373" y="562622"/>
                    <a:pt x="891840" y="568927"/>
                    <a:pt x="885407" y="572529"/>
                  </a:cubicBezTo>
                  <a:cubicBezTo>
                    <a:pt x="883177" y="573773"/>
                    <a:pt x="880903" y="574717"/>
                    <a:pt x="878673" y="575574"/>
                  </a:cubicBezTo>
                  <a:cubicBezTo>
                    <a:pt x="872026" y="581450"/>
                    <a:pt x="863919" y="584881"/>
                    <a:pt x="864820" y="592430"/>
                  </a:cubicBezTo>
                  <a:cubicBezTo>
                    <a:pt x="866064" y="603066"/>
                    <a:pt x="851996" y="596033"/>
                    <a:pt x="843761" y="590886"/>
                  </a:cubicBezTo>
                  <a:cubicBezTo>
                    <a:pt x="841660" y="593030"/>
                    <a:pt x="839387" y="594832"/>
                    <a:pt x="837028" y="595990"/>
                  </a:cubicBezTo>
                  <a:cubicBezTo>
                    <a:pt x="828622" y="599936"/>
                    <a:pt x="823217" y="602252"/>
                    <a:pt x="813782" y="602380"/>
                  </a:cubicBezTo>
                  <a:cubicBezTo>
                    <a:pt x="807391" y="602423"/>
                    <a:pt x="801516" y="600493"/>
                    <a:pt x="796154" y="597362"/>
                  </a:cubicBezTo>
                  <a:cubicBezTo>
                    <a:pt x="780199" y="602166"/>
                    <a:pt x="765102" y="607098"/>
                    <a:pt x="761114" y="607870"/>
                  </a:cubicBezTo>
                  <a:cubicBezTo>
                    <a:pt x="752235" y="609586"/>
                    <a:pt x="735938" y="586468"/>
                    <a:pt x="723328" y="587326"/>
                  </a:cubicBezTo>
                  <a:cubicBezTo>
                    <a:pt x="710762" y="588184"/>
                    <a:pt x="705572" y="565882"/>
                    <a:pt x="704071" y="547911"/>
                  </a:cubicBezTo>
                  <a:cubicBezTo>
                    <a:pt x="703985" y="546967"/>
                    <a:pt x="703814" y="546024"/>
                    <a:pt x="703642" y="545080"/>
                  </a:cubicBezTo>
                  <a:cubicBezTo>
                    <a:pt x="690003" y="539976"/>
                    <a:pt x="682626" y="526938"/>
                    <a:pt x="681597" y="513256"/>
                  </a:cubicBezTo>
                  <a:cubicBezTo>
                    <a:pt x="676665" y="507938"/>
                    <a:pt x="671904" y="502662"/>
                    <a:pt x="668516" y="497387"/>
                  </a:cubicBezTo>
                  <a:cubicBezTo>
                    <a:pt x="658137" y="481089"/>
                    <a:pt x="656678" y="445105"/>
                    <a:pt x="655949" y="421988"/>
                  </a:cubicBezTo>
                  <a:cubicBezTo>
                    <a:pt x="655220" y="398871"/>
                    <a:pt x="652990" y="359455"/>
                    <a:pt x="667057" y="314078"/>
                  </a:cubicBezTo>
                  <a:cubicBezTo>
                    <a:pt x="668945" y="307988"/>
                    <a:pt x="669845" y="302670"/>
                    <a:pt x="670060" y="297952"/>
                  </a:cubicBezTo>
                  <a:cubicBezTo>
                    <a:pt x="664913" y="294306"/>
                    <a:pt x="659938" y="291690"/>
                    <a:pt x="656164" y="291948"/>
                  </a:cubicBezTo>
                  <a:cubicBezTo>
                    <a:pt x="643511" y="292891"/>
                    <a:pt x="615033" y="272733"/>
                    <a:pt x="609457" y="272733"/>
                  </a:cubicBezTo>
                  <a:cubicBezTo>
                    <a:pt x="603924" y="272733"/>
                    <a:pt x="604696" y="257164"/>
                    <a:pt x="599978" y="248929"/>
                  </a:cubicBezTo>
                  <a:cubicBezTo>
                    <a:pt x="595218" y="240695"/>
                    <a:pt x="598392" y="225126"/>
                    <a:pt x="592044" y="219636"/>
                  </a:cubicBezTo>
                  <a:cubicBezTo>
                    <a:pt x="585697" y="214146"/>
                    <a:pt x="566739" y="193087"/>
                    <a:pt x="560392" y="167483"/>
                  </a:cubicBezTo>
                  <a:cubicBezTo>
                    <a:pt x="554044" y="141878"/>
                    <a:pt x="515272" y="129054"/>
                    <a:pt x="501033" y="128153"/>
                  </a:cubicBezTo>
                  <a:cubicBezTo>
                    <a:pt x="486794" y="127210"/>
                    <a:pt x="478902" y="162036"/>
                    <a:pt x="474913" y="163837"/>
                  </a:cubicBezTo>
                  <a:cubicBezTo>
                    <a:pt x="470968" y="165681"/>
                    <a:pt x="444076" y="145523"/>
                    <a:pt x="436141" y="140977"/>
                  </a:cubicBezTo>
                  <a:cubicBezTo>
                    <a:pt x="428207" y="136388"/>
                    <a:pt x="424261" y="127253"/>
                    <a:pt x="424261" y="116273"/>
                  </a:cubicBezTo>
                  <a:cubicBezTo>
                    <a:pt x="424261" y="105293"/>
                    <a:pt x="407620" y="87880"/>
                    <a:pt x="402902" y="86079"/>
                  </a:cubicBezTo>
                  <a:cubicBezTo>
                    <a:pt x="398142" y="84234"/>
                    <a:pt x="364945" y="46706"/>
                    <a:pt x="364945" y="46706"/>
                  </a:cubicBezTo>
                  <a:lnTo>
                    <a:pt x="312706" y="46706"/>
                  </a:lnTo>
                  <a:lnTo>
                    <a:pt x="301641" y="63176"/>
                  </a:lnTo>
                  <a:lnTo>
                    <a:pt x="206684" y="64077"/>
                  </a:lnTo>
                  <a:cubicBezTo>
                    <a:pt x="206684" y="64077"/>
                    <a:pt x="133900" y="32982"/>
                    <a:pt x="120433" y="29336"/>
                  </a:cubicBezTo>
                  <a:cubicBezTo>
                    <a:pt x="106966" y="25648"/>
                    <a:pt x="83248" y="6433"/>
                    <a:pt x="83248" y="6433"/>
                  </a:cubicBezTo>
                  <a:lnTo>
                    <a:pt x="6433" y="18099"/>
                  </a:lnTo>
                  <a:cubicBezTo>
                    <a:pt x="10379" y="27835"/>
                    <a:pt x="15869" y="38429"/>
                    <a:pt x="24104" y="50266"/>
                  </a:cubicBezTo>
                  <a:cubicBezTo>
                    <a:pt x="38815" y="71325"/>
                    <a:pt x="49537" y="107695"/>
                    <a:pt x="51939" y="123135"/>
                  </a:cubicBezTo>
                  <a:cubicBezTo>
                    <a:pt x="59187" y="130340"/>
                    <a:pt x="64591" y="138146"/>
                    <a:pt x="68709" y="146510"/>
                  </a:cubicBezTo>
                  <a:cubicBezTo>
                    <a:pt x="76214" y="152214"/>
                    <a:pt x="85264" y="157918"/>
                    <a:pt x="93713" y="164180"/>
                  </a:cubicBezTo>
                  <a:cubicBezTo>
                    <a:pt x="112241" y="177862"/>
                    <a:pt x="112241" y="207841"/>
                    <a:pt x="110011" y="215562"/>
                  </a:cubicBezTo>
                  <a:cubicBezTo>
                    <a:pt x="107781" y="223282"/>
                    <a:pt x="84835" y="210458"/>
                    <a:pt x="83334" y="218135"/>
                  </a:cubicBezTo>
                  <a:cubicBezTo>
                    <a:pt x="83205" y="218864"/>
                    <a:pt x="83420" y="219893"/>
                    <a:pt x="83849" y="221008"/>
                  </a:cubicBezTo>
                  <a:cubicBezTo>
                    <a:pt x="83892" y="221051"/>
                    <a:pt x="83934" y="221051"/>
                    <a:pt x="84020" y="221051"/>
                  </a:cubicBezTo>
                  <a:cubicBezTo>
                    <a:pt x="102720" y="227528"/>
                    <a:pt x="119275" y="239322"/>
                    <a:pt x="131627" y="254505"/>
                  </a:cubicBezTo>
                  <a:cubicBezTo>
                    <a:pt x="139691" y="256564"/>
                    <a:pt x="146467" y="264927"/>
                    <a:pt x="161135" y="279853"/>
                  </a:cubicBezTo>
                  <a:cubicBezTo>
                    <a:pt x="176575" y="295550"/>
                    <a:pt x="178076" y="313607"/>
                    <a:pt x="173873" y="323128"/>
                  </a:cubicBezTo>
                  <a:cubicBezTo>
                    <a:pt x="177562" y="326002"/>
                    <a:pt x="180821" y="329476"/>
                    <a:pt x="183480" y="333336"/>
                  </a:cubicBezTo>
                  <a:cubicBezTo>
                    <a:pt x="189228" y="341699"/>
                    <a:pt x="194417" y="350448"/>
                    <a:pt x="198964" y="359498"/>
                  </a:cubicBezTo>
                  <a:cubicBezTo>
                    <a:pt x="202309" y="361986"/>
                    <a:pt x="205740" y="364559"/>
                    <a:pt x="209214" y="367175"/>
                  </a:cubicBezTo>
                  <a:cubicBezTo>
                    <a:pt x="232889" y="385189"/>
                    <a:pt x="242539" y="407448"/>
                    <a:pt x="244769" y="416841"/>
                  </a:cubicBezTo>
                  <a:cubicBezTo>
                    <a:pt x="247000" y="426277"/>
                    <a:pt x="257379" y="417742"/>
                    <a:pt x="261067" y="404832"/>
                  </a:cubicBezTo>
                  <a:cubicBezTo>
                    <a:pt x="264756" y="392008"/>
                    <a:pt x="253647" y="388577"/>
                    <a:pt x="253647" y="373995"/>
                  </a:cubicBezTo>
                  <a:cubicBezTo>
                    <a:pt x="253647" y="359412"/>
                    <a:pt x="234390" y="361986"/>
                    <a:pt x="225512" y="360313"/>
                  </a:cubicBezTo>
                  <a:cubicBezTo>
                    <a:pt x="216634" y="358597"/>
                    <a:pt x="226241" y="336295"/>
                    <a:pt x="217363" y="326044"/>
                  </a:cubicBezTo>
                  <a:cubicBezTo>
                    <a:pt x="208485" y="315751"/>
                    <a:pt x="200336" y="290060"/>
                    <a:pt x="195876" y="271232"/>
                  </a:cubicBezTo>
                  <a:cubicBezTo>
                    <a:pt x="191415" y="252403"/>
                    <a:pt x="168469" y="233575"/>
                    <a:pt x="158862" y="212988"/>
                  </a:cubicBezTo>
                  <a:cubicBezTo>
                    <a:pt x="149255" y="192401"/>
                    <a:pt x="138876" y="176189"/>
                    <a:pt x="132185" y="171000"/>
                  </a:cubicBezTo>
                  <a:cubicBezTo>
                    <a:pt x="125537" y="165853"/>
                    <a:pt x="141835" y="158133"/>
                    <a:pt x="135873" y="150456"/>
                  </a:cubicBezTo>
                  <a:cubicBezTo>
                    <a:pt x="129955" y="142735"/>
                    <a:pt x="121077" y="143593"/>
                    <a:pt x="109968" y="137589"/>
                  </a:cubicBezTo>
                  <a:cubicBezTo>
                    <a:pt x="98860" y="131584"/>
                    <a:pt x="91440" y="121334"/>
                    <a:pt x="91440" y="107609"/>
                  </a:cubicBezTo>
                  <a:cubicBezTo>
                    <a:pt x="91440" y="93884"/>
                    <a:pt x="84020" y="61375"/>
                    <a:pt x="80332" y="50223"/>
                  </a:cubicBezTo>
                  <a:cubicBezTo>
                    <a:pt x="76600" y="39072"/>
                    <a:pt x="88481" y="40788"/>
                    <a:pt x="92169" y="45934"/>
                  </a:cubicBezTo>
                  <a:cubicBezTo>
                    <a:pt x="95858" y="51081"/>
                    <a:pt x="98860" y="56228"/>
                    <a:pt x="104007" y="52797"/>
                  </a:cubicBezTo>
                  <a:cubicBezTo>
                    <a:pt x="109196" y="49366"/>
                    <a:pt x="118074" y="51939"/>
                    <a:pt x="121806" y="61375"/>
                  </a:cubicBezTo>
                  <a:cubicBezTo>
                    <a:pt x="125494" y="70767"/>
                    <a:pt x="138104" y="62232"/>
                    <a:pt x="144022" y="66521"/>
                  </a:cubicBezTo>
                  <a:cubicBezTo>
                    <a:pt x="149941" y="70767"/>
                    <a:pt x="130684" y="75957"/>
                    <a:pt x="149941" y="115329"/>
                  </a:cubicBezTo>
                  <a:cubicBezTo>
                    <a:pt x="169198" y="154744"/>
                    <a:pt x="155860" y="132442"/>
                    <a:pt x="155860" y="158991"/>
                  </a:cubicBezTo>
                  <a:cubicBezTo>
                    <a:pt x="155860" y="185582"/>
                    <a:pt x="167740" y="173573"/>
                    <a:pt x="171429" y="169284"/>
                  </a:cubicBezTo>
                  <a:cubicBezTo>
                    <a:pt x="175117" y="164995"/>
                    <a:pt x="185496" y="177862"/>
                    <a:pt x="195146" y="191544"/>
                  </a:cubicBezTo>
                  <a:cubicBezTo>
                    <a:pt x="204754" y="205268"/>
                    <a:pt x="223282" y="206126"/>
                    <a:pt x="223282" y="213803"/>
                  </a:cubicBezTo>
                  <a:cubicBezTo>
                    <a:pt x="223282" y="221523"/>
                    <a:pt x="227013" y="236920"/>
                    <a:pt x="239580" y="239494"/>
                  </a:cubicBezTo>
                  <a:cubicBezTo>
                    <a:pt x="252189" y="242067"/>
                    <a:pt x="254377" y="258322"/>
                    <a:pt x="262526" y="260038"/>
                  </a:cubicBezTo>
                  <a:cubicBezTo>
                    <a:pt x="270674" y="261753"/>
                    <a:pt x="272176" y="272047"/>
                    <a:pt x="267715" y="283155"/>
                  </a:cubicBezTo>
                  <a:cubicBezTo>
                    <a:pt x="263255" y="294306"/>
                    <a:pt x="267715" y="303699"/>
                    <a:pt x="288474" y="313135"/>
                  </a:cubicBezTo>
                  <a:cubicBezTo>
                    <a:pt x="309232" y="322570"/>
                    <a:pt x="299582" y="324286"/>
                    <a:pt x="315880" y="342300"/>
                  </a:cubicBezTo>
                  <a:cubicBezTo>
                    <a:pt x="332178" y="360270"/>
                    <a:pt x="378069" y="418514"/>
                    <a:pt x="387719" y="434812"/>
                  </a:cubicBezTo>
                  <a:cubicBezTo>
                    <a:pt x="397370" y="451067"/>
                    <a:pt x="400329" y="464748"/>
                    <a:pt x="404017" y="476757"/>
                  </a:cubicBezTo>
                  <a:cubicBezTo>
                    <a:pt x="405047" y="480146"/>
                    <a:pt x="404875" y="483062"/>
                    <a:pt x="404275" y="485721"/>
                  </a:cubicBezTo>
                  <a:cubicBezTo>
                    <a:pt x="417527" y="493141"/>
                    <a:pt x="426963" y="507895"/>
                    <a:pt x="422631" y="527281"/>
                  </a:cubicBezTo>
                  <a:cubicBezTo>
                    <a:pt x="421345" y="533028"/>
                    <a:pt x="422031" y="544222"/>
                    <a:pt x="419458" y="549198"/>
                  </a:cubicBezTo>
                  <a:cubicBezTo>
                    <a:pt x="419629" y="549669"/>
                    <a:pt x="419715" y="550055"/>
                    <a:pt x="419843" y="550484"/>
                  </a:cubicBezTo>
                  <a:cubicBezTo>
                    <a:pt x="433139" y="548726"/>
                    <a:pt x="452954" y="563437"/>
                    <a:pt x="462047" y="572143"/>
                  </a:cubicBezTo>
                  <a:cubicBezTo>
                    <a:pt x="473112" y="582780"/>
                    <a:pt x="480403" y="596590"/>
                    <a:pt x="492198" y="606626"/>
                  </a:cubicBezTo>
                  <a:cubicBezTo>
                    <a:pt x="503778" y="616448"/>
                    <a:pt x="516559" y="618807"/>
                    <a:pt x="530369" y="624511"/>
                  </a:cubicBezTo>
                  <a:cubicBezTo>
                    <a:pt x="547954" y="631759"/>
                    <a:pt x="562107" y="645355"/>
                    <a:pt x="579692" y="651960"/>
                  </a:cubicBezTo>
                  <a:cubicBezTo>
                    <a:pt x="598220" y="658908"/>
                    <a:pt x="618635" y="657364"/>
                    <a:pt x="637121" y="665642"/>
                  </a:cubicBezTo>
                  <a:cubicBezTo>
                    <a:pt x="656850" y="674520"/>
                    <a:pt x="671732" y="692576"/>
                    <a:pt x="688073" y="707330"/>
                  </a:cubicBezTo>
                  <a:cubicBezTo>
                    <a:pt x="700640" y="706902"/>
                    <a:pt x="714407" y="702055"/>
                    <a:pt x="729161" y="695236"/>
                  </a:cubicBezTo>
                  <a:cubicBezTo>
                    <a:pt x="755066" y="683227"/>
                    <a:pt x="775096" y="698667"/>
                    <a:pt x="789892" y="705529"/>
                  </a:cubicBezTo>
                  <a:cubicBezTo>
                    <a:pt x="797184" y="708917"/>
                    <a:pt x="811509" y="723071"/>
                    <a:pt x="825834" y="737868"/>
                  </a:cubicBezTo>
                  <a:cubicBezTo>
                    <a:pt x="838915" y="716166"/>
                    <a:pt x="851481" y="696565"/>
                    <a:pt x="853154" y="696136"/>
                  </a:cubicBezTo>
                  <a:cubicBezTo>
                    <a:pt x="856714" y="695321"/>
                    <a:pt x="893899" y="701111"/>
                    <a:pt x="897502" y="690346"/>
                  </a:cubicBezTo>
                  <a:cubicBezTo>
                    <a:pt x="901061" y="679624"/>
                    <a:pt x="869624" y="655649"/>
                    <a:pt x="873183" y="653161"/>
                  </a:cubicBezTo>
                  <a:cubicBezTo>
                    <a:pt x="876743" y="650674"/>
                    <a:pt x="878202" y="624211"/>
                    <a:pt x="883906" y="624211"/>
                  </a:cubicBezTo>
                  <a:cubicBezTo>
                    <a:pt x="889610" y="624211"/>
                    <a:pt x="941806" y="625884"/>
                    <a:pt x="944680" y="624211"/>
                  </a:cubicBezTo>
                  <a:cubicBezTo>
                    <a:pt x="947554" y="622581"/>
                    <a:pt x="957547" y="601051"/>
                    <a:pt x="966125" y="600236"/>
                  </a:cubicBezTo>
                  <a:cubicBezTo>
                    <a:pt x="970070" y="599893"/>
                    <a:pt x="976161" y="605382"/>
                    <a:pt x="981693" y="611473"/>
                  </a:cubicBezTo>
                  <a:cubicBezTo>
                    <a:pt x="984438" y="608514"/>
                    <a:pt x="986626" y="604439"/>
                    <a:pt x="988470" y="599807"/>
                  </a:cubicBezTo>
                  <a:cubicBezTo>
                    <a:pt x="987612" y="598649"/>
                    <a:pt x="986840" y="597534"/>
                    <a:pt x="986154" y="596333"/>
                  </a:cubicBezTo>
                  <a:cubicBezTo>
                    <a:pt x="980879" y="587026"/>
                    <a:pt x="980836" y="577676"/>
                    <a:pt x="982466" y="567425"/>
                  </a:cubicBezTo>
                  <a:cubicBezTo>
                    <a:pt x="983237" y="562665"/>
                    <a:pt x="984353" y="558033"/>
                    <a:pt x="985682" y="553572"/>
                  </a:cubicBezTo>
                  <a:cubicBezTo>
                    <a:pt x="982980" y="548082"/>
                    <a:pt x="981436" y="542035"/>
                    <a:pt x="981179" y="536159"/>
                  </a:cubicBezTo>
                  <a:cubicBezTo>
                    <a:pt x="980493" y="519947"/>
                    <a:pt x="992459" y="505579"/>
                    <a:pt x="1006698" y="500475"/>
                  </a:cubicBezTo>
                  <a:cubicBezTo>
                    <a:pt x="1010129" y="494985"/>
                    <a:pt x="1015018" y="490482"/>
                    <a:pt x="1021366" y="487737"/>
                  </a:cubicBezTo>
                  <a:cubicBezTo>
                    <a:pt x="1021409" y="486322"/>
                    <a:pt x="1021280" y="485035"/>
                    <a:pt x="1021066" y="48357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35" name="Freeform: Shape 177">
              <a:extLst>
                <a:ext uri="{FF2B5EF4-FFF2-40B4-BE49-F238E27FC236}">
                  <a16:creationId xmlns:a16="http://schemas.microsoft.com/office/drawing/2014/main" id="{E9AF6BD9-9BB4-6D3B-AFA3-CB2684F28A3D}"/>
                </a:ext>
              </a:extLst>
            </p:cNvPr>
            <p:cNvSpPr/>
            <p:nvPr/>
          </p:nvSpPr>
          <p:spPr>
            <a:xfrm>
              <a:off x="4612690" y="3902932"/>
              <a:ext cx="118092" cy="131213"/>
            </a:xfrm>
            <a:custGeom>
              <a:avLst/>
              <a:gdLst>
                <a:gd name="connsiteX0" fmla="*/ 131027 w 154401"/>
                <a:gd name="connsiteY0" fmla="*/ 113099 h 171557"/>
                <a:gd name="connsiteX1" fmla="*/ 149040 w 154401"/>
                <a:gd name="connsiteY1" fmla="*/ 91569 h 171557"/>
                <a:gd name="connsiteX2" fmla="*/ 135573 w 154401"/>
                <a:gd name="connsiteY2" fmla="*/ 82433 h 171557"/>
                <a:gd name="connsiteX3" fmla="*/ 118846 w 154401"/>
                <a:gd name="connsiteY3" fmla="*/ 85007 h 171557"/>
                <a:gd name="connsiteX4" fmla="*/ 120562 w 154401"/>
                <a:gd name="connsiteY4" fmla="*/ 6991 h 171557"/>
                <a:gd name="connsiteX5" fmla="*/ 64505 w 154401"/>
                <a:gd name="connsiteY5" fmla="*/ 6433 h 171557"/>
                <a:gd name="connsiteX6" fmla="*/ 53783 w 154401"/>
                <a:gd name="connsiteY6" fmla="*/ 35384 h 171557"/>
                <a:gd name="connsiteX7" fmla="*/ 78101 w 154401"/>
                <a:gd name="connsiteY7" fmla="*/ 72569 h 171557"/>
                <a:gd name="connsiteX8" fmla="*/ 33754 w 154401"/>
                <a:gd name="connsiteY8" fmla="*/ 78359 h 171557"/>
                <a:gd name="connsiteX9" fmla="*/ 6433 w 154401"/>
                <a:gd name="connsiteY9" fmla="*/ 120090 h 171557"/>
                <a:gd name="connsiteX10" fmla="*/ 43061 w 154401"/>
                <a:gd name="connsiteY10" fmla="*/ 156289 h 171557"/>
                <a:gd name="connsiteX11" fmla="*/ 89724 w 154401"/>
                <a:gd name="connsiteY11" fmla="*/ 165724 h 171557"/>
                <a:gd name="connsiteX12" fmla="*/ 90797 w 154401"/>
                <a:gd name="connsiteY12" fmla="*/ 166668 h 171557"/>
                <a:gd name="connsiteX13" fmla="*/ 114557 w 154401"/>
                <a:gd name="connsiteY13" fmla="*/ 143765 h 171557"/>
                <a:gd name="connsiteX14" fmla="*/ 131027 w 154401"/>
                <a:gd name="connsiteY14" fmla="*/ 113099 h 171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401" h="171557">
                  <a:moveTo>
                    <a:pt x="131027" y="113099"/>
                  </a:moveTo>
                  <a:cubicBezTo>
                    <a:pt x="138318" y="106323"/>
                    <a:pt x="144537" y="98174"/>
                    <a:pt x="149040" y="91569"/>
                  </a:cubicBezTo>
                  <a:cubicBezTo>
                    <a:pt x="137417" y="98860"/>
                    <a:pt x="133900" y="91869"/>
                    <a:pt x="135573" y="82433"/>
                  </a:cubicBezTo>
                  <a:lnTo>
                    <a:pt x="118846" y="85007"/>
                  </a:lnTo>
                  <a:lnTo>
                    <a:pt x="120562" y="6991"/>
                  </a:lnTo>
                  <a:cubicBezTo>
                    <a:pt x="107094" y="7634"/>
                    <a:pt x="69309" y="6433"/>
                    <a:pt x="64505" y="6433"/>
                  </a:cubicBezTo>
                  <a:cubicBezTo>
                    <a:pt x="58801" y="6433"/>
                    <a:pt x="57343" y="32896"/>
                    <a:pt x="53783" y="35384"/>
                  </a:cubicBezTo>
                  <a:cubicBezTo>
                    <a:pt x="50223" y="37871"/>
                    <a:pt x="81661" y="61847"/>
                    <a:pt x="78101" y="72569"/>
                  </a:cubicBezTo>
                  <a:cubicBezTo>
                    <a:pt x="74542" y="83334"/>
                    <a:pt x="37356" y="77544"/>
                    <a:pt x="33754" y="78359"/>
                  </a:cubicBezTo>
                  <a:cubicBezTo>
                    <a:pt x="32081" y="78788"/>
                    <a:pt x="19515" y="98388"/>
                    <a:pt x="6433" y="120090"/>
                  </a:cubicBezTo>
                  <a:cubicBezTo>
                    <a:pt x="21187" y="135230"/>
                    <a:pt x="35941" y="151056"/>
                    <a:pt x="43061" y="156289"/>
                  </a:cubicBezTo>
                  <a:cubicBezTo>
                    <a:pt x="57129" y="166539"/>
                    <a:pt x="80117" y="155388"/>
                    <a:pt x="89724" y="165724"/>
                  </a:cubicBezTo>
                  <a:cubicBezTo>
                    <a:pt x="90025" y="166025"/>
                    <a:pt x="90410" y="166325"/>
                    <a:pt x="90797" y="166668"/>
                  </a:cubicBezTo>
                  <a:cubicBezTo>
                    <a:pt x="100833" y="155645"/>
                    <a:pt x="111169" y="144880"/>
                    <a:pt x="114557" y="143765"/>
                  </a:cubicBezTo>
                  <a:cubicBezTo>
                    <a:pt x="121763" y="141192"/>
                    <a:pt x="116016" y="127167"/>
                    <a:pt x="131027" y="113099"/>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36" name="Freeform: Shape 178">
              <a:extLst>
                <a:ext uri="{FF2B5EF4-FFF2-40B4-BE49-F238E27FC236}">
                  <a16:creationId xmlns:a16="http://schemas.microsoft.com/office/drawing/2014/main" id="{E425A782-1DBC-3082-7948-0BC0E8A62E23}"/>
                </a:ext>
              </a:extLst>
            </p:cNvPr>
            <p:cNvSpPr/>
            <p:nvPr/>
          </p:nvSpPr>
          <p:spPr>
            <a:xfrm>
              <a:off x="4698700" y="3884551"/>
              <a:ext cx="42644" cy="85289"/>
            </a:xfrm>
            <a:custGeom>
              <a:avLst/>
              <a:gdLst>
                <a:gd name="connsiteX0" fmla="*/ 12867 w 55756"/>
                <a:gd name="connsiteY0" fmla="*/ 30467 h 111512"/>
                <a:gd name="connsiteX1" fmla="*/ 8149 w 55756"/>
                <a:gd name="connsiteY1" fmla="*/ 31024 h 111512"/>
                <a:gd name="connsiteX2" fmla="*/ 6433 w 55756"/>
                <a:gd name="connsiteY2" fmla="*/ 109040 h 111512"/>
                <a:gd name="connsiteX3" fmla="*/ 23160 w 55756"/>
                <a:gd name="connsiteY3" fmla="*/ 106467 h 111512"/>
                <a:gd name="connsiteX4" fmla="*/ 33625 w 55756"/>
                <a:gd name="connsiteY4" fmla="*/ 86909 h 111512"/>
                <a:gd name="connsiteX5" fmla="*/ 42503 w 55756"/>
                <a:gd name="connsiteY5" fmla="*/ 22661 h 111512"/>
                <a:gd name="connsiteX6" fmla="*/ 49923 w 55756"/>
                <a:gd name="connsiteY6" fmla="*/ 17643 h 111512"/>
                <a:gd name="connsiteX7" fmla="*/ 34311 w 55756"/>
                <a:gd name="connsiteY7" fmla="*/ 6449 h 111512"/>
                <a:gd name="connsiteX8" fmla="*/ 12867 w 55756"/>
                <a:gd name="connsiteY8" fmla="*/ 30467 h 111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56" h="111512">
                  <a:moveTo>
                    <a:pt x="12867" y="30467"/>
                  </a:moveTo>
                  <a:cubicBezTo>
                    <a:pt x="12438" y="30724"/>
                    <a:pt x="10637" y="30896"/>
                    <a:pt x="8149" y="31024"/>
                  </a:cubicBezTo>
                  <a:lnTo>
                    <a:pt x="6433" y="109040"/>
                  </a:lnTo>
                  <a:lnTo>
                    <a:pt x="23160" y="106467"/>
                  </a:lnTo>
                  <a:cubicBezTo>
                    <a:pt x="24361" y="99776"/>
                    <a:pt x="28178" y="91841"/>
                    <a:pt x="33625" y="86909"/>
                  </a:cubicBezTo>
                  <a:cubicBezTo>
                    <a:pt x="46964" y="74943"/>
                    <a:pt x="26935" y="26950"/>
                    <a:pt x="42503" y="22661"/>
                  </a:cubicBezTo>
                  <a:cubicBezTo>
                    <a:pt x="45377" y="21846"/>
                    <a:pt x="47736" y="19959"/>
                    <a:pt x="49923" y="17643"/>
                  </a:cubicBezTo>
                  <a:cubicBezTo>
                    <a:pt x="44391" y="11553"/>
                    <a:pt x="38257" y="6106"/>
                    <a:pt x="34311" y="6449"/>
                  </a:cubicBezTo>
                  <a:cubicBezTo>
                    <a:pt x="25734" y="7307"/>
                    <a:pt x="15741" y="28794"/>
                    <a:pt x="12867" y="3046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37" name="Freeform: Shape 179">
              <a:extLst>
                <a:ext uri="{FF2B5EF4-FFF2-40B4-BE49-F238E27FC236}">
                  <a16:creationId xmlns:a16="http://schemas.microsoft.com/office/drawing/2014/main" id="{0D7D411B-421F-6A36-9FD5-0BAD4F09B747}"/>
                </a:ext>
              </a:extLst>
            </p:cNvPr>
            <p:cNvSpPr/>
            <p:nvPr/>
          </p:nvSpPr>
          <p:spPr>
            <a:xfrm>
              <a:off x="5076173" y="3832585"/>
              <a:ext cx="82008" cy="75447"/>
            </a:xfrm>
            <a:custGeom>
              <a:avLst/>
              <a:gdLst>
                <a:gd name="connsiteX0" fmla="*/ 49660 w 107223"/>
                <a:gd name="connsiteY0" fmla="*/ 9243 h 98645"/>
                <a:gd name="connsiteX1" fmla="*/ 71876 w 107223"/>
                <a:gd name="connsiteY1" fmla="*/ 62340 h 98645"/>
                <a:gd name="connsiteX2" fmla="*/ 6685 w 107223"/>
                <a:gd name="connsiteY2" fmla="*/ 76064 h 98645"/>
                <a:gd name="connsiteX3" fmla="*/ 49660 w 107223"/>
                <a:gd name="connsiteY3" fmla="*/ 88030 h 98645"/>
                <a:gd name="connsiteX4" fmla="*/ 95980 w 107223"/>
                <a:gd name="connsiteY4" fmla="*/ 95107 h 98645"/>
                <a:gd name="connsiteX5" fmla="*/ 102542 w 107223"/>
                <a:gd name="connsiteY5" fmla="*/ 20008 h 98645"/>
                <a:gd name="connsiteX6" fmla="*/ 49660 w 107223"/>
                <a:gd name="connsiteY6" fmla="*/ 9243 h 98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223" h="98645">
                  <a:moveTo>
                    <a:pt x="49660" y="9243"/>
                  </a:moveTo>
                  <a:cubicBezTo>
                    <a:pt x="34863" y="21251"/>
                    <a:pt x="71876" y="46942"/>
                    <a:pt x="71876" y="62340"/>
                  </a:cubicBezTo>
                  <a:cubicBezTo>
                    <a:pt x="71876" y="77737"/>
                    <a:pt x="12432" y="59423"/>
                    <a:pt x="6685" y="76064"/>
                  </a:cubicBezTo>
                  <a:cubicBezTo>
                    <a:pt x="3725" y="84599"/>
                    <a:pt x="27443" y="96608"/>
                    <a:pt x="49660" y="88030"/>
                  </a:cubicBezTo>
                  <a:cubicBezTo>
                    <a:pt x="70332" y="80053"/>
                    <a:pt x="84572" y="88373"/>
                    <a:pt x="95980" y="95107"/>
                  </a:cubicBezTo>
                  <a:cubicBezTo>
                    <a:pt x="97653" y="69159"/>
                    <a:pt x="100226" y="39909"/>
                    <a:pt x="102542" y="20008"/>
                  </a:cubicBezTo>
                  <a:cubicBezTo>
                    <a:pt x="83800" y="14475"/>
                    <a:pt x="60425" y="493"/>
                    <a:pt x="49660" y="924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38" name="Freeform: Shape 180">
              <a:extLst>
                <a:ext uri="{FF2B5EF4-FFF2-40B4-BE49-F238E27FC236}">
                  <a16:creationId xmlns:a16="http://schemas.microsoft.com/office/drawing/2014/main" id="{596F5861-5073-3214-8030-41C6464A4C7E}"/>
                </a:ext>
              </a:extLst>
            </p:cNvPr>
            <p:cNvSpPr/>
            <p:nvPr/>
          </p:nvSpPr>
          <p:spPr>
            <a:xfrm>
              <a:off x="5144695" y="3842968"/>
              <a:ext cx="95130" cy="68887"/>
            </a:xfrm>
            <a:custGeom>
              <a:avLst/>
              <a:gdLst>
                <a:gd name="connsiteX0" fmla="*/ 50438 w 124378"/>
                <a:gd name="connsiteY0" fmla="*/ 65878 h 90067"/>
                <a:gd name="connsiteX1" fmla="*/ 120047 w 124378"/>
                <a:gd name="connsiteY1" fmla="*/ 50481 h 90067"/>
                <a:gd name="connsiteX2" fmla="*/ 31181 w 124378"/>
                <a:gd name="connsiteY2" fmla="*/ 7677 h 90067"/>
                <a:gd name="connsiteX3" fmla="*/ 12995 w 124378"/>
                <a:gd name="connsiteY3" fmla="*/ 6433 h 90067"/>
                <a:gd name="connsiteX4" fmla="*/ 6433 w 124378"/>
                <a:gd name="connsiteY4" fmla="*/ 81533 h 90067"/>
                <a:gd name="connsiteX5" fmla="*/ 8964 w 124378"/>
                <a:gd name="connsiteY5" fmla="*/ 83034 h 90067"/>
                <a:gd name="connsiteX6" fmla="*/ 50438 w 124378"/>
                <a:gd name="connsiteY6" fmla="*/ 65878 h 90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78" h="90067">
                  <a:moveTo>
                    <a:pt x="50438" y="65878"/>
                  </a:moveTo>
                  <a:cubicBezTo>
                    <a:pt x="77115" y="55584"/>
                    <a:pt x="120047" y="74456"/>
                    <a:pt x="120047" y="50481"/>
                  </a:cubicBezTo>
                  <a:cubicBezTo>
                    <a:pt x="120047" y="26506"/>
                    <a:pt x="48937" y="772"/>
                    <a:pt x="31181" y="7677"/>
                  </a:cubicBezTo>
                  <a:cubicBezTo>
                    <a:pt x="26334" y="9521"/>
                    <a:pt x="19986" y="8578"/>
                    <a:pt x="12995" y="6433"/>
                  </a:cubicBezTo>
                  <a:cubicBezTo>
                    <a:pt x="10636" y="26291"/>
                    <a:pt x="8063" y="55584"/>
                    <a:pt x="6433" y="81533"/>
                  </a:cubicBezTo>
                  <a:cubicBezTo>
                    <a:pt x="7291" y="82047"/>
                    <a:pt x="8149" y="82562"/>
                    <a:pt x="8964" y="83034"/>
                  </a:cubicBezTo>
                  <a:cubicBezTo>
                    <a:pt x="20801" y="89896"/>
                    <a:pt x="23761" y="76171"/>
                    <a:pt x="50438" y="6587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39" name="Freeform: Shape 181">
              <a:extLst>
                <a:ext uri="{FF2B5EF4-FFF2-40B4-BE49-F238E27FC236}">
                  <a16:creationId xmlns:a16="http://schemas.microsoft.com/office/drawing/2014/main" id="{44E8EB5D-0998-0FED-FAAE-F75BB5681B51}"/>
                </a:ext>
              </a:extLst>
            </p:cNvPr>
            <p:cNvSpPr/>
            <p:nvPr/>
          </p:nvSpPr>
          <p:spPr>
            <a:xfrm>
              <a:off x="4744820" y="3990156"/>
              <a:ext cx="108251" cy="134494"/>
            </a:xfrm>
            <a:custGeom>
              <a:avLst/>
              <a:gdLst>
                <a:gd name="connsiteX0" fmla="*/ 130214 w 141534"/>
                <a:gd name="connsiteY0" fmla="*/ 132957 h 175846"/>
                <a:gd name="connsiteX1" fmla="*/ 128712 w 141534"/>
                <a:gd name="connsiteY1" fmla="*/ 119447 h 175846"/>
                <a:gd name="connsiteX2" fmla="*/ 132487 w 141534"/>
                <a:gd name="connsiteY2" fmla="*/ 75013 h 175846"/>
                <a:gd name="connsiteX3" fmla="*/ 130986 w 141534"/>
                <a:gd name="connsiteY3" fmla="*/ 34912 h 175846"/>
                <a:gd name="connsiteX4" fmla="*/ 133645 w 141534"/>
                <a:gd name="connsiteY4" fmla="*/ 15655 h 175846"/>
                <a:gd name="connsiteX5" fmla="*/ 137633 w 141534"/>
                <a:gd name="connsiteY5" fmla="*/ 6433 h 175846"/>
                <a:gd name="connsiteX6" fmla="*/ 108426 w 141534"/>
                <a:gd name="connsiteY6" fmla="*/ 23032 h 175846"/>
                <a:gd name="connsiteX7" fmla="*/ 76259 w 141534"/>
                <a:gd name="connsiteY7" fmla="*/ 31266 h 175846"/>
                <a:gd name="connsiteX8" fmla="*/ 39803 w 141534"/>
                <a:gd name="connsiteY8" fmla="*/ 49451 h 175846"/>
                <a:gd name="connsiteX9" fmla="*/ 29080 w 141534"/>
                <a:gd name="connsiteY9" fmla="*/ 73469 h 175846"/>
                <a:gd name="connsiteX10" fmla="*/ 19087 w 141534"/>
                <a:gd name="connsiteY10" fmla="*/ 84235 h 175846"/>
                <a:gd name="connsiteX11" fmla="*/ 6735 w 141534"/>
                <a:gd name="connsiteY11" fmla="*/ 87580 h 175846"/>
                <a:gd name="connsiteX12" fmla="*/ 11882 w 141534"/>
                <a:gd name="connsiteY12" fmla="*/ 102162 h 175846"/>
                <a:gd name="connsiteX13" fmla="*/ 52627 w 141534"/>
                <a:gd name="connsiteY13" fmla="*/ 147539 h 175846"/>
                <a:gd name="connsiteX14" fmla="*/ 64078 w 141534"/>
                <a:gd name="connsiteY14" fmla="*/ 163194 h 175846"/>
                <a:gd name="connsiteX15" fmla="*/ 82478 w 141534"/>
                <a:gd name="connsiteY15" fmla="*/ 164437 h 175846"/>
                <a:gd name="connsiteX16" fmla="*/ 115545 w 141534"/>
                <a:gd name="connsiteY16" fmla="*/ 170785 h 175846"/>
                <a:gd name="connsiteX17" fmla="*/ 132058 w 141534"/>
                <a:gd name="connsiteY17" fmla="*/ 172887 h 175846"/>
                <a:gd name="connsiteX18" fmla="*/ 127469 w 141534"/>
                <a:gd name="connsiteY18" fmla="*/ 164609 h 175846"/>
                <a:gd name="connsiteX19" fmla="*/ 130214 w 141534"/>
                <a:gd name="connsiteY19" fmla="*/ 132957 h 17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1534" h="175846">
                  <a:moveTo>
                    <a:pt x="130214" y="132957"/>
                  </a:moveTo>
                  <a:cubicBezTo>
                    <a:pt x="129013" y="128968"/>
                    <a:pt x="128455" y="124465"/>
                    <a:pt x="128712" y="119447"/>
                  </a:cubicBezTo>
                  <a:cubicBezTo>
                    <a:pt x="129570" y="104607"/>
                    <a:pt x="131071" y="89810"/>
                    <a:pt x="132487" y="75013"/>
                  </a:cubicBezTo>
                  <a:cubicBezTo>
                    <a:pt x="125410" y="63605"/>
                    <a:pt x="123737" y="48336"/>
                    <a:pt x="130986" y="34912"/>
                  </a:cubicBezTo>
                  <a:cubicBezTo>
                    <a:pt x="130771" y="28393"/>
                    <a:pt x="131800" y="21873"/>
                    <a:pt x="133645" y="15655"/>
                  </a:cubicBezTo>
                  <a:cubicBezTo>
                    <a:pt x="134674" y="12223"/>
                    <a:pt x="136004" y="9135"/>
                    <a:pt x="137633" y="6433"/>
                  </a:cubicBezTo>
                  <a:cubicBezTo>
                    <a:pt x="124509" y="10679"/>
                    <a:pt x="112715" y="22474"/>
                    <a:pt x="108426" y="23032"/>
                  </a:cubicBezTo>
                  <a:cubicBezTo>
                    <a:pt x="101992" y="23846"/>
                    <a:pt x="79089" y="17242"/>
                    <a:pt x="76259" y="31266"/>
                  </a:cubicBezTo>
                  <a:cubicBezTo>
                    <a:pt x="73385" y="45334"/>
                    <a:pt x="59103" y="47822"/>
                    <a:pt x="39803" y="49451"/>
                  </a:cubicBezTo>
                  <a:cubicBezTo>
                    <a:pt x="20503" y="51124"/>
                    <a:pt x="30496" y="70124"/>
                    <a:pt x="29080" y="73469"/>
                  </a:cubicBezTo>
                  <a:cubicBezTo>
                    <a:pt x="27665" y="76772"/>
                    <a:pt x="19087" y="84235"/>
                    <a:pt x="19087" y="84235"/>
                  </a:cubicBezTo>
                  <a:lnTo>
                    <a:pt x="6735" y="87580"/>
                  </a:lnTo>
                  <a:cubicBezTo>
                    <a:pt x="6135" y="92941"/>
                    <a:pt x="5835" y="98217"/>
                    <a:pt x="11882" y="102162"/>
                  </a:cubicBezTo>
                  <a:cubicBezTo>
                    <a:pt x="23719" y="109839"/>
                    <a:pt x="40017" y="139862"/>
                    <a:pt x="52627" y="147539"/>
                  </a:cubicBezTo>
                  <a:cubicBezTo>
                    <a:pt x="58674" y="151228"/>
                    <a:pt x="62448" y="157318"/>
                    <a:pt x="64078" y="163194"/>
                  </a:cubicBezTo>
                  <a:cubicBezTo>
                    <a:pt x="71326" y="162551"/>
                    <a:pt x="78703" y="162250"/>
                    <a:pt x="82478" y="164437"/>
                  </a:cubicBezTo>
                  <a:cubicBezTo>
                    <a:pt x="89812" y="168684"/>
                    <a:pt x="108168" y="164437"/>
                    <a:pt x="115545" y="170785"/>
                  </a:cubicBezTo>
                  <a:cubicBezTo>
                    <a:pt x="119105" y="173873"/>
                    <a:pt x="125152" y="173959"/>
                    <a:pt x="132058" y="172887"/>
                  </a:cubicBezTo>
                  <a:cubicBezTo>
                    <a:pt x="129913" y="169284"/>
                    <a:pt x="128283" y="166410"/>
                    <a:pt x="127469" y="164609"/>
                  </a:cubicBezTo>
                  <a:cubicBezTo>
                    <a:pt x="123952" y="157318"/>
                    <a:pt x="126697" y="145095"/>
                    <a:pt x="130214" y="13295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40" name="Freeform: Shape 188">
              <a:extLst>
                <a:ext uri="{FF2B5EF4-FFF2-40B4-BE49-F238E27FC236}">
                  <a16:creationId xmlns:a16="http://schemas.microsoft.com/office/drawing/2014/main" id="{585CF171-B0D5-0DB9-BEED-AB5320640029}"/>
                </a:ext>
              </a:extLst>
            </p:cNvPr>
            <p:cNvSpPr/>
            <p:nvPr/>
          </p:nvSpPr>
          <p:spPr>
            <a:xfrm>
              <a:off x="4783496" y="4109743"/>
              <a:ext cx="91849" cy="88569"/>
            </a:xfrm>
            <a:custGeom>
              <a:avLst/>
              <a:gdLst>
                <a:gd name="connsiteX0" fmla="*/ 109368 w 120090"/>
                <a:gd name="connsiteY0" fmla="*/ 88798 h 115801"/>
                <a:gd name="connsiteX1" fmla="*/ 114429 w 120090"/>
                <a:gd name="connsiteY1" fmla="*/ 64265 h 115801"/>
                <a:gd name="connsiteX2" fmla="*/ 81404 w 120090"/>
                <a:gd name="connsiteY2" fmla="*/ 16615 h 115801"/>
                <a:gd name="connsiteX3" fmla="*/ 64892 w 120090"/>
                <a:gd name="connsiteY3" fmla="*/ 14514 h 115801"/>
                <a:gd name="connsiteX4" fmla="*/ 31824 w 120090"/>
                <a:gd name="connsiteY4" fmla="*/ 8166 h 115801"/>
                <a:gd name="connsiteX5" fmla="*/ 13425 w 120090"/>
                <a:gd name="connsiteY5" fmla="*/ 6922 h 115801"/>
                <a:gd name="connsiteX6" fmla="*/ 10894 w 120090"/>
                <a:gd name="connsiteY6" fmla="*/ 22105 h 115801"/>
                <a:gd name="connsiteX7" fmla="*/ 19772 w 120090"/>
                <a:gd name="connsiteY7" fmla="*/ 55516 h 115801"/>
                <a:gd name="connsiteX8" fmla="*/ 39029 w 120090"/>
                <a:gd name="connsiteY8" fmla="*/ 51227 h 115801"/>
                <a:gd name="connsiteX9" fmla="*/ 53826 w 120090"/>
                <a:gd name="connsiteY9" fmla="*/ 65766 h 115801"/>
                <a:gd name="connsiteX10" fmla="*/ 77544 w 120090"/>
                <a:gd name="connsiteY10" fmla="*/ 89742 h 115801"/>
                <a:gd name="connsiteX11" fmla="*/ 96802 w 120090"/>
                <a:gd name="connsiteY11" fmla="*/ 109428 h 115801"/>
                <a:gd name="connsiteX12" fmla="*/ 104907 w 120090"/>
                <a:gd name="connsiteY12" fmla="*/ 110114 h 115801"/>
                <a:gd name="connsiteX13" fmla="*/ 109368 w 120090"/>
                <a:gd name="connsiteY13" fmla="*/ 88798 h 11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090" h="115801">
                  <a:moveTo>
                    <a:pt x="109368" y="88798"/>
                  </a:moveTo>
                  <a:cubicBezTo>
                    <a:pt x="108253" y="84338"/>
                    <a:pt x="108896" y="72972"/>
                    <a:pt x="114429" y="64265"/>
                  </a:cubicBezTo>
                  <a:cubicBezTo>
                    <a:pt x="102291" y="49168"/>
                    <a:pt x="88695" y="28753"/>
                    <a:pt x="81404" y="16615"/>
                  </a:cubicBezTo>
                  <a:cubicBezTo>
                    <a:pt x="74456" y="17688"/>
                    <a:pt x="68451" y="17602"/>
                    <a:pt x="64892" y="14514"/>
                  </a:cubicBezTo>
                  <a:cubicBezTo>
                    <a:pt x="57558" y="8166"/>
                    <a:pt x="39201" y="12412"/>
                    <a:pt x="31824" y="8166"/>
                  </a:cubicBezTo>
                  <a:cubicBezTo>
                    <a:pt x="28050" y="5979"/>
                    <a:pt x="20673" y="6236"/>
                    <a:pt x="13425" y="6922"/>
                  </a:cubicBezTo>
                  <a:cubicBezTo>
                    <a:pt x="15140" y="13270"/>
                    <a:pt x="14325" y="19403"/>
                    <a:pt x="10894" y="22105"/>
                  </a:cubicBezTo>
                  <a:cubicBezTo>
                    <a:pt x="4203" y="27252"/>
                    <a:pt x="3474" y="47796"/>
                    <a:pt x="19772" y="55516"/>
                  </a:cubicBezTo>
                  <a:cubicBezTo>
                    <a:pt x="36070" y="63193"/>
                    <a:pt x="30880" y="51227"/>
                    <a:pt x="39029" y="51227"/>
                  </a:cubicBezTo>
                  <a:cubicBezTo>
                    <a:pt x="47179" y="51227"/>
                    <a:pt x="46449" y="65766"/>
                    <a:pt x="53826" y="65766"/>
                  </a:cubicBezTo>
                  <a:cubicBezTo>
                    <a:pt x="61246" y="65766"/>
                    <a:pt x="78273" y="76060"/>
                    <a:pt x="77544" y="89742"/>
                  </a:cubicBezTo>
                  <a:cubicBezTo>
                    <a:pt x="76815" y="103423"/>
                    <a:pt x="83463" y="109428"/>
                    <a:pt x="96802" y="109428"/>
                  </a:cubicBezTo>
                  <a:cubicBezTo>
                    <a:pt x="99246" y="109428"/>
                    <a:pt x="101991" y="109685"/>
                    <a:pt x="104907" y="110114"/>
                  </a:cubicBezTo>
                  <a:cubicBezTo>
                    <a:pt x="107138" y="100936"/>
                    <a:pt x="110526" y="93516"/>
                    <a:pt x="109368" y="8879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41" name="Freeform: Shape 189">
              <a:extLst>
                <a:ext uri="{FF2B5EF4-FFF2-40B4-BE49-F238E27FC236}">
                  <a16:creationId xmlns:a16="http://schemas.microsoft.com/office/drawing/2014/main" id="{D7862421-F1BE-BCBE-68D0-379FD5584E8F}"/>
                </a:ext>
              </a:extLst>
            </p:cNvPr>
            <p:cNvSpPr/>
            <p:nvPr/>
          </p:nvSpPr>
          <p:spPr>
            <a:xfrm>
              <a:off x="4858879" y="4151374"/>
              <a:ext cx="157456" cy="82008"/>
            </a:xfrm>
            <a:custGeom>
              <a:avLst/>
              <a:gdLst>
                <a:gd name="connsiteX0" fmla="*/ 182194 w 205868"/>
                <a:gd name="connsiteY0" fmla="*/ 37457 h 107223"/>
                <a:gd name="connsiteX1" fmla="*/ 143250 w 205868"/>
                <a:gd name="connsiteY1" fmla="*/ 15198 h 107223"/>
                <a:gd name="connsiteX2" fmla="*/ 140162 w 205868"/>
                <a:gd name="connsiteY2" fmla="*/ 11252 h 107223"/>
                <a:gd name="connsiteX3" fmla="*/ 133815 w 205868"/>
                <a:gd name="connsiteY3" fmla="*/ 8678 h 107223"/>
                <a:gd name="connsiteX4" fmla="*/ 86422 w 205868"/>
                <a:gd name="connsiteY4" fmla="*/ 29265 h 107223"/>
                <a:gd name="connsiteX5" fmla="*/ 33110 w 205868"/>
                <a:gd name="connsiteY5" fmla="*/ 27550 h 107223"/>
                <a:gd name="connsiteX6" fmla="*/ 15955 w 205868"/>
                <a:gd name="connsiteY6" fmla="*/ 9794 h 107223"/>
                <a:gd name="connsiteX7" fmla="*/ 10894 w 205868"/>
                <a:gd name="connsiteY7" fmla="*/ 34326 h 107223"/>
                <a:gd name="connsiteX8" fmla="*/ 6433 w 205868"/>
                <a:gd name="connsiteY8" fmla="*/ 55642 h 107223"/>
                <a:gd name="connsiteX9" fmla="*/ 43447 w 205868"/>
                <a:gd name="connsiteY9" fmla="*/ 71640 h 107223"/>
                <a:gd name="connsiteX10" fmla="*/ 63648 w 205868"/>
                <a:gd name="connsiteY10" fmla="*/ 75671 h 107223"/>
                <a:gd name="connsiteX11" fmla="*/ 93284 w 205868"/>
                <a:gd name="connsiteY11" fmla="*/ 97717 h 107223"/>
                <a:gd name="connsiteX12" fmla="*/ 99804 w 205868"/>
                <a:gd name="connsiteY12" fmla="*/ 89182 h 107223"/>
                <a:gd name="connsiteX13" fmla="*/ 90196 w 205868"/>
                <a:gd name="connsiteY13" fmla="*/ 67780 h 107223"/>
                <a:gd name="connsiteX14" fmla="*/ 107952 w 205868"/>
                <a:gd name="connsiteY14" fmla="*/ 48909 h 107223"/>
                <a:gd name="connsiteX15" fmla="*/ 145009 w 205868"/>
                <a:gd name="connsiteY15" fmla="*/ 35227 h 107223"/>
                <a:gd name="connsiteX16" fmla="*/ 154616 w 205868"/>
                <a:gd name="connsiteY16" fmla="*/ 61775 h 107223"/>
                <a:gd name="connsiteX17" fmla="*/ 174302 w 205868"/>
                <a:gd name="connsiteY17" fmla="*/ 102006 h 107223"/>
                <a:gd name="connsiteX18" fmla="*/ 196819 w 205868"/>
                <a:gd name="connsiteY18" fmla="*/ 76744 h 107223"/>
                <a:gd name="connsiteX19" fmla="*/ 201408 w 205868"/>
                <a:gd name="connsiteY19" fmla="*/ 64649 h 107223"/>
                <a:gd name="connsiteX20" fmla="*/ 182194 w 205868"/>
                <a:gd name="connsiteY20" fmla="*/ 37457 h 10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868" h="107223">
                  <a:moveTo>
                    <a:pt x="182194" y="37457"/>
                  </a:moveTo>
                  <a:cubicBezTo>
                    <a:pt x="167097" y="35098"/>
                    <a:pt x="154187" y="26606"/>
                    <a:pt x="143250" y="15198"/>
                  </a:cubicBezTo>
                  <a:cubicBezTo>
                    <a:pt x="142049" y="13954"/>
                    <a:pt x="141106" y="12581"/>
                    <a:pt x="140162" y="11252"/>
                  </a:cubicBezTo>
                  <a:cubicBezTo>
                    <a:pt x="137932" y="10523"/>
                    <a:pt x="135787" y="9708"/>
                    <a:pt x="133815" y="8678"/>
                  </a:cubicBezTo>
                  <a:cubicBezTo>
                    <a:pt x="120476" y="1816"/>
                    <a:pt x="103449" y="11252"/>
                    <a:pt x="86422" y="29265"/>
                  </a:cubicBezTo>
                  <a:cubicBezTo>
                    <a:pt x="69395" y="47236"/>
                    <a:pt x="47907" y="36943"/>
                    <a:pt x="33110" y="27550"/>
                  </a:cubicBezTo>
                  <a:cubicBezTo>
                    <a:pt x="28736" y="24762"/>
                    <a:pt x="22560" y="18028"/>
                    <a:pt x="15955" y="9794"/>
                  </a:cubicBezTo>
                  <a:cubicBezTo>
                    <a:pt x="10422" y="18500"/>
                    <a:pt x="9779" y="29866"/>
                    <a:pt x="10894" y="34326"/>
                  </a:cubicBezTo>
                  <a:cubicBezTo>
                    <a:pt x="12052" y="39087"/>
                    <a:pt x="8664" y="46507"/>
                    <a:pt x="6433" y="55642"/>
                  </a:cubicBezTo>
                  <a:cubicBezTo>
                    <a:pt x="18442" y="57358"/>
                    <a:pt x="33325" y="62719"/>
                    <a:pt x="43447" y="71640"/>
                  </a:cubicBezTo>
                  <a:cubicBezTo>
                    <a:pt x="49837" y="70997"/>
                    <a:pt x="56657" y="72112"/>
                    <a:pt x="63648" y="75671"/>
                  </a:cubicBezTo>
                  <a:cubicBezTo>
                    <a:pt x="75099" y="81505"/>
                    <a:pt x="84835" y="89053"/>
                    <a:pt x="93284" y="97717"/>
                  </a:cubicBezTo>
                  <a:cubicBezTo>
                    <a:pt x="96244" y="95100"/>
                    <a:pt x="98645" y="91927"/>
                    <a:pt x="99804" y="89182"/>
                  </a:cubicBezTo>
                  <a:cubicBezTo>
                    <a:pt x="103535" y="80604"/>
                    <a:pt x="91654" y="77216"/>
                    <a:pt x="90196" y="67780"/>
                  </a:cubicBezTo>
                  <a:cubicBezTo>
                    <a:pt x="88738" y="58387"/>
                    <a:pt x="104993" y="61775"/>
                    <a:pt x="107952" y="48909"/>
                  </a:cubicBezTo>
                  <a:cubicBezTo>
                    <a:pt x="110912" y="36085"/>
                    <a:pt x="134630" y="30080"/>
                    <a:pt x="145009" y="35227"/>
                  </a:cubicBezTo>
                  <a:cubicBezTo>
                    <a:pt x="155388" y="40374"/>
                    <a:pt x="164266" y="48909"/>
                    <a:pt x="154616" y="61775"/>
                  </a:cubicBezTo>
                  <a:cubicBezTo>
                    <a:pt x="147453" y="71340"/>
                    <a:pt x="162079" y="88538"/>
                    <a:pt x="174302" y="102006"/>
                  </a:cubicBezTo>
                  <a:cubicBezTo>
                    <a:pt x="182880" y="91798"/>
                    <a:pt x="192702" y="80175"/>
                    <a:pt x="196819" y="76744"/>
                  </a:cubicBezTo>
                  <a:cubicBezTo>
                    <a:pt x="199049" y="74814"/>
                    <a:pt x="200465" y="70267"/>
                    <a:pt x="201408" y="64649"/>
                  </a:cubicBezTo>
                  <a:cubicBezTo>
                    <a:pt x="195875" y="61690"/>
                    <a:pt x="189614" y="50453"/>
                    <a:pt x="182194" y="3745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42" name="Freeform: Shape 197">
              <a:extLst>
                <a:ext uri="{FF2B5EF4-FFF2-40B4-BE49-F238E27FC236}">
                  <a16:creationId xmlns:a16="http://schemas.microsoft.com/office/drawing/2014/main" id="{8CC0D2B6-E330-631D-00E9-71BF69F8A680}"/>
                </a:ext>
              </a:extLst>
            </p:cNvPr>
            <p:cNvSpPr/>
            <p:nvPr/>
          </p:nvSpPr>
          <p:spPr>
            <a:xfrm>
              <a:off x="4818833" y="3737900"/>
              <a:ext cx="272268" cy="108251"/>
            </a:xfrm>
            <a:custGeom>
              <a:avLst/>
              <a:gdLst>
                <a:gd name="connsiteX0" fmla="*/ 286878 w 355981"/>
                <a:gd name="connsiteY0" fmla="*/ 85091 h 141534"/>
                <a:gd name="connsiteX1" fmla="*/ 125400 w 355981"/>
                <a:gd name="connsiteY1" fmla="*/ 9691 h 141534"/>
                <a:gd name="connsiteX2" fmla="*/ 6897 w 355981"/>
                <a:gd name="connsiteY2" fmla="*/ 57641 h 141534"/>
                <a:gd name="connsiteX3" fmla="*/ 64669 w 355981"/>
                <a:gd name="connsiteY3" fmla="*/ 26804 h 141534"/>
                <a:gd name="connsiteX4" fmla="*/ 97264 w 355981"/>
                <a:gd name="connsiteY4" fmla="*/ 42244 h 141534"/>
                <a:gd name="connsiteX5" fmla="*/ 153578 w 355981"/>
                <a:gd name="connsiteY5" fmla="*/ 57641 h 141534"/>
                <a:gd name="connsiteX6" fmla="*/ 224689 w 355981"/>
                <a:gd name="connsiteY6" fmla="*/ 100488 h 141534"/>
                <a:gd name="connsiteX7" fmla="*/ 240987 w 355981"/>
                <a:gd name="connsiteY7" fmla="*/ 131325 h 141534"/>
                <a:gd name="connsiteX8" fmla="*/ 349111 w 355981"/>
                <a:gd name="connsiteY8" fmla="*/ 127937 h 141534"/>
                <a:gd name="connsiteX9" fmla="*/ 286878 w 355981"/>
                <a:gd name="connsiteY9" fmla="*/ 85091 h 14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981" h="141534">
                  <a:moveTo>
                    <a:pt x="286878" y="85091"/>
                  </a:moveTo>
                  <a:cubicBezTo>
                    <a:pt x="264661" y="85091"/>
                    <a:pt x="192093" y="26847"/>
                    <a:pt x="125400" y="9691"/>
                  </a:cubicBezTo>
                  <a:cubicBezTo>
                    <a:pt x="58750" y="-7422"/>
                    <a:pt x="635" y="47991"/>
                    <a:pt x="6897" y="57641"/>
                  </a:cubicBezTo>
                  <a:cubicBezTo>
                    <a:pt x="15775" y="71366"/>
                    <a:pt x="48371" y="40528"/>
                    <a:pt x="64669" y="26804"/>
                  </a:cubicBezTo>
                  <a:cubicBezTo>
                    <a:pt x="80967" y="13122"/>
                    <a:pt x="95763" y="33666"/>
                    <a:pt x="97264" y="42244"/>
                  </a:cubicBezTo>
                  <a:cubicBezTo>
                    <a:pt x="98766" y="50779"/>
                    <a:pt x="119481" y="55926"/>
                    <a:pt x="153578" y="57641"/>
                  </a:cubicBezTo>
                  <a:cubicBezTo>
                    <a:pt x="187632" y="59357"/>
                    <a:pt x="192093" y="91910"/>
                    <a:pt x="224689" y="100488"/>
                  </a:cubicBezTo>
                  <a:cubicBezTo>
                    <a:pt x="257284" y="109066"/>
                    <a:pt x="224689" y="124463"/>
                    <a:pt x="240987" y="131325"/>
                  </a:cubicBezTo>
                  <a:cubicBezTo>
                    <a:pt x="257284" y="138188"/>
                    <a:pt x="343192" y="136472"/>
                    <a:pt x="349111" y="127937"/>
                  </a:cubicBezTo>
                  <a:cubicBezTo>
                    <a:pt x="355029" y="119316"/>
                    <a:pt x="309095" y="85091"/>
                    <a:pt x="286878" y="8509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43" name="Freeform: Shape 198">
              <a:extLst>
                <a:ext uri="{FF2B5EF4-FFF2-40B4-BE49-F238E27FC236}">
                  <a16:creationId xmlns:a16="http://schemas.microsoft.com/office/drawing/2014/main" id="{B620588C-61DE-492D-1A94-F7D56E5EACEC}"/>
                </a:ext>
              </a:extLst>
            </p:cNvPr>
            <p:cNvSpPr/>
            <p:nvPr/>
          </p:nvSpPr>
          <p:spPr>
            <a:xfrm>
              <a:off x="4975166" y="3883456"/>
              <a:ext cx="62327" cy="26242"/>
            </a:xfrm>
            <a:custGeom>
              <a:avLst/>
              <a:gdLst>
                <a:gd name="connsiteX0" fmla="*/ 64248 w 81489"/>
                <a:gd name="connsiteY0" fmla="*/ 22634 h 34311"/>
                <a:gd name="connsiteX1" fmla="*/ 75185 w 81489"/>
                <a:gd name="connsiteY1" fmla="*/ 25936 h 34311"/>
                <a:gd name="connsiteX2" fmla="*/ 6906 w 81489"/>
                <a:gd name="connsiteY2" fmla="*/ 12941 h 34311"/>
                <a:gd name="connsiteX3" fmla="*/ 34140 w 81489"/>
                <a:gd name="connsiteY3" fmla="*/ 28124 h 34311"/>
                <a:gd name="connsiteX4" fmla="*/ 64248 w 81489"/>
                <a:gd name="connsiteY4" fmla="*/ 22634 h 34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89" h="34311">
                  <a:moveTo>
                    <a:pt x="64248" y="22634"/>
                  </a:moveTo>
                  <a:cubicBezTo>
                    <a:pt x="68023" y="23449"/>
                    <a:pt x="71626" y="24607"/>
                    <a:pt x="75185" y="25936"/>
                  </a:cubicBezTo>
                  <a:cubicBezTo>
                    <a:pt x="78316" y="10839"/>
                    <a:pt x="-343" y="-1684"/>
                    <a:pt x="6906" y="12941"/>
                  </a:cubicBezTo>
                  <a:cubicBezTo>
                    <a:pt x="9436" y="18045"/>
                    <a:pt x="21102" y="24092"/>
                    <a:pt x="34140" y="28124"/>
                  </a:cubicBezTo>
                  <a:cubicBezTo>
                    <a:pt x="42890" y="22548"/>
                    <a:pt x="53998" y="20489"/>
                    <a:pt x="64248" y="2263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44" name="Freeform: Shape 199">
              <a:extLst>
                <a:ext uri="{FF2B5EF4-FFF2-40B4-BE49-F238E27FC236}">
                  <a16:creationId xmlns:a16="http://schemas.microsoft.com/office/drawing/2014/main" id="{3F2D59BE-78F8-B84D-DACD-BF0E137C515A}"/>
                </a:ext>
              </a:extLst>
            </p:cNvPr>
            <p:cNvSpPr/>
            <p:nvPr/>
          </p:nvSpPr>
          <p:spPr>
            <a:xfrm>
              <a:off x="5265426" y="3879214"/>
              <a:ext cx="52485" cy="26242"/>
            </a:xfrm>
            <a:custGeom>
              <a:avLst/>
              <a:gdLst>
                <a:gd name="connsiteX0" fmla="*/ 13920 w 68622"/>
                <a:gd name="connsiteY0" fmla="*/ 28996 h 34311"/>
                <a:gd name="connsiteX1" fmla="*/ 42870 w 68622"/>
                <a:gd name="connsiteY1" fmla="*/ 24450 h 34311"/>
                <a:gd name="connsiteX2" fmla="*/ 55651 w 68622"/>
                <a:gd name="connsiteY2" fmla="*/ 28867 h 34311"/>
                <a:gd name="connsiteX3" fmla="*/ 62857 w 68622"/>
                <a:gd name="connsiteY3" fmla="*/ 21962 h 34311"/>
                <a:gd name="connsiteX4" fmla="*/ 8044 w 68622"/>
                <a:gd name="connsiteY4" fmla="*/ 21962 h 34311"/>
                <a:gd name="connsiteX5" fmla="*/ 13920 w 68622"/>
                <a:gd name="connsiteY5" fmla="*/ 28996 h 34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22" h="34311">
                  <a:moveTo>
                    <a:pt x="13920" y="28996"/>
                  </a:moveTo>
                  <a:cubicBezTo>
                    <a:pt x="22541" y="23592"/>
                    <a:pt x="33220" y="21576"/>
                    <a:pt x="42870" y="24450"/>
                  </a:cubicBezTo>
                  <a:cubicBezTo>
                    <a:pt x="47202" y="25736"/>
                    <a:pt x="51448" y="27237"/>
                    <a:pt x="55651" y="28867"/>
                  </a:cubicBezTo>
                  <a:cubicBezTo>
                    <a:pt x="59425" y="26680"/>
                    <a:pt x="62084" y="24192"/>
                    <a:pt x="62857" y="21962"/>
                  </a:cubicBezTo>
                  <a:cubicBezTo>
                    <a:pt x="68775" y="4806"/>
                    <a:pt x="-5295" y="-2013"/>
                    <a:pt x="8044" y="21962"/>
                  </a:cubicBezTo>
                  <a:cubicBezTo>
                    <a:pt x="9717" y="24835"/>
                    <a:pt x="11689" y="27152"/>
                    <a:pt x="13920" y="2899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45" name="Freeform: Shape 228">
              <a:extLst>
                <a:ext uri="{FF2B5EF4-FFF2-40B4-BE49-F238E27FC236}">
                  <a16:creationId xmlns:a16="http://schemas.microsoft.com/office/drawing/2014/main" id="{0DCDDE3F-C7C3-49B2-99C4-9C07BDF6666B}"/>
                </a:ext>
              </a:extLst>
            </p:cNvPr>
            <p:cNvSpPr/>
            <p:nvPr/>
          </p:nvSpPr>
          <p:spPr>
            <a:xfrm>
              <a:off x="3572761" y="2650935"/>
              <a:ext cx="42644" cy="65607"/>
            </a:xfrm>
            <a:custGeom>
              <a:avLst/>
              <a:gdLst>
                <a:gd name="connsiteX0" fmla="*/ 51076 w 55756"/>
                <a:gd name="connsiteY0" fmla="*/ 52741 h 85778"/>
                <a:gd name="connsiteX1" fmla="*/ 47816 w 55756"/>
                <a:gd name="connsiteY1" fmla="*/ 37344 h 85778"/>
                <a:gd name="connsiteX2" fmla="*/ 12861 w 55756"/>
                <a:gd name="connsiteY2" fmla="*/ 12254 h 85778"/>
                <a:gd name="connsiteX3" fmla="*/ 35164 w 55756"/>
                <a:gd name="connsiteY3" fmla="*/ 79375 h 85778"/>
                <a:gd name="connsiteX4" fmla="*/ 51076 w 55756"/>
                <a:gd name="connsiteY4" fmla="*/ 52741 h 85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56" h="85778">
                  <a:moveTo>
                    <a:pt x="51076" y="52741"/>
                  </a:moveTo>
                  <a:cubicBezTo>
                    <a:pt x="49146" y="47251"/>
                    <a:pt x="47816" y="41976"/>
                    <a:pt x="47816" y="37344"/>
                  </a:cubicBezTo>
                  <a:cubicBezTo>
                    <a:pt x="47816" y="17100"/>
                    <a:pt x="39496" y="-4087"/>
                    <a:pt x="12861" y="12254"/>
                  </a:cubicBezTo>
                  <a:cubicBezTo>
                    <a:pt x="-3951" y="22590"/>
                    <a:pt x="15306" y="57459"/>
                    <a:pt x="35164" y="79375"/>
                  </a:cubicBezTo>
                  <a:cubicBezTo>
                    <a:pt x="36150" y="68181"/>
                    <a:pt x="42326" y="58703"/>
                    <a:pt x="51076" y="5274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46" name="Freeform: Shape 236">
              <a:extLst>
                <a:ext uri="{FF2B5EF4-FFF2-40B4-BE49-F238E27FC236}">
                  <a16:creationId xmlns:a16="http://schemas.microsoft.com/office/drawing/2014/main" id="{051A2629-3F4B-DD0A-6D51-C681171943B2}"/>
                </a:ext>
              </a:extLst>
            </p:cNvPr>
            <p:cNvSpPr/>
            <p:nvPr/>
          </p:nvSpPr>
          <p:spPr>
            <a:xfrm>
              <a:off x="2693530" y="2384419"/>
              <a:ext cx="52485" cy="36084"/>
            </a:xfrm>
            <a:custGeom>
              <a:avLst/>
              <a:gdLst>
                <a:gd name="connsiteX0" fmla="*/ 49019 w 68622"/>
                <a:gd name="connsiteY0" fmla="*/ 41618 h 47178"/>
                <a:gd name="connsiteX1" fmla="*/ 57726 w 68622"/>
                <a:gd name="connsiteY1" fmla="*/ 38101 h 47178"/>
                <a:gd name="connsiteX2" fmla="*/ 60085 w 68622"/>
                <a:gd name="connsiteY2" fmla="*/ 13998 h 47178"/>
                <a:gd name="connsiteX3" fmla="*/ 36367 w 68622"/>
                <a:gd name="connsiteY3" fmla="*/ 12325 h 47178"/>
                <a:gd name="connsiteX4" fmla="*/ 6730 w 68622"/>
                <a:gd name="connsiteY4" fmla="*/ 24334 h 47178"/>
                <a:gd name="connsiteX5" fmla="*/ 49019 w 68622"/>
                <a:gd name="connsiteY5" fmla="*/ 41618 h 4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22" h="47178">
                  <a:moveTo>
                    <a:pt x="49019" y="41618"/>
                  </a:moveTo>
                  <a:cubicBezTo>
                    <a:pt x="51764" y="40074"/>
                    <a:pt x="54681" y="38916"/>
                    <a:pt x="57726" y="38101"/>
                  </a:cubicBezTo>
                  <a:cubicBezTo>
                    <a:pt x="65317" y="32354"/>
                    <a:pt x="67076" y="21332"/>
                    <a:pt x="60085" y="13998"/>
                  </a:cubicBezTo>
                  <a:cubicBezTo>
                    <a:pt x="51936" y="5420"/>
                    <a:pt x="37868" y="26007"/>
                    <a:pt x="36367" y="12325"/>
                  </a:cubicBezTo>
                  <a:cubicBezTo>
                    <a:pt x="34909" y="-1400"/>
                    <a:pt x="3042" y="11467"/>
                    <a:pt x="6730" y="24334"/>
                  </a:cubicBezTo>
                  <a:cubicBezTo>
                    <a:pt x="10119" y="35785"/>
                    <a:pt x="34694" y="43720"/>
                    <a:pt x="49019" y="4161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47" name="Freeform: Shape 237">
              <a:extLst>
                <a:ext uri="{FF2B5EF4-FFF2-40B4-BE49-F238E27FC236}">
                  <a16:creationId xmlns:a16="http://schemas.microsoft.com/office/drawing/2014/main" id="{E2F0CE86-9B02-9FAB-8FC8-5E3A5BBC5385}"/>
                </a:ext>
              </a:extLst>
            </p:cNvPr>
            <p:cNvSpPr/>
            <p:nvPr/>
          </p:nvSpPr>
          <p:spPr>
            <a:xfrm>
              <a:off x="2753792" y="2619381"/>
              <a:ext cx="49205" cy="29523"/>
            </a:xfrm>
            <a:custGeom>
              <a:avLst/>
              <a:gdLst>
                <a:gd name="connsiteX0" fmla="*/ 53906 w 64333"/>
                <a:gd name="connsiteY0" fmla="*/ 7447 h 38600"/>
                <a:gd name="connsiteX1" fmla="*/ 9473 w 64333"/>
                <a:gd name="connsiteY1" fmla="*/ 33137 h 38600"/>
                <a:gd name="connsiteX2" fmla="*/ 36107 w 64333"/>
                <a:gd name="connsiteY2" fmla="*/ 22844 h 38600"/>
                <a:gd name="connsiteX3" fmla="*/ 53906 w 64333"/>
                <a:gd name="connsiteY3" fmla="*/ 7447 h 38600"/>
              </a:gdLst>
              <a:ahLst/>
              <a:cxnLst>
                <a:cxn ang="0">
                  <a:pos x="connsiteX0" y="connsiteY0"/>
                </a:cxn>
                <a:cxn ang="0">
                  <a:pos x="connsiteX1" y="connsiteY1"/>
                </a:cxn>
                <a:cxn ang="0">
                  <a:pos x="connsiteX2" y="connsiteY2"/>
                </a:cxn>
                <a:cxn ang="0">
                  <a:pos x="connsiteX3" y="connsiteY3"/>
                </a:cxn>
              </a:cxnLst>
              <a:rect l="l" t="t" r="r" b="b"/>
              <a:pathLst>
                <a:path w="64333" h="38600">
                  <a:moveTo>
                    <a:pt x="53906" y="7447"/>
                  </a:moveTo>
                  <a:cubicBezTo>
                    <a:pt x="37608" y="585"/>
                    <a:pt x="-5281" y="30736"/>
                    <a:pt x="9473" y="33137"/>
                  </a:cubicBezTo>
                  <a:cubicBezTo>
                    <a:pt x="19809" y="34853"/>
                    <a:pt x="24270" y="22844"/>
                    <a:pt x="36107" y="22844"/>
                  </a:cubicBezTo>
                  <a:cubicBezTo>
                    <a:pt x="47988" y="22844"/>
                    <a:pt x="70204" y="14266"/>
                    <a:pt x="53906" y="744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48" name="Freeform: Shape 238">
              <a:extLst>
                <a:ext uri="{FF2B5EF4-FFF2-40B4-BE49-F238E27FC236}">
                  <a16:creationId xmlns:a16="http://schemas.microsoft.com/office/drawing/2014/main" id="{6E92740F-DF6A-F1E3-2D77-CD4ABB6AEDC9}"/>
                </a:ext>
              </a:extLst>
            </p:cNvPr>
            <p:cNvSpPr/>
            <p:nvPr/>
          </p:nvSpPr>
          <p:spPr>
            <a:xfrm>
              <a:off x="3014979" y="2461691"/>
              <a:ext cx="78728" cy="75447"/>
            </a:xfrm>
            <a:custGeom>
              <a:avLst/>
              <a:gdLst>
                <a:gd name="connsiteX0" fmla="*/ 16713 w 102934"/>
                <a:gd name="connsiteY0" fmla="*/ 79034 h 98645"/>
                <a:gd name="connsiteX1" fmla="*/ 82463 w 102934"/>
                <a:gd name="connsiteY1" fmla="*/ 56389 h 98645"/>
                <a:gd name="connsiteX2" fmla="*/ 70882 w 102934"/>
                <a:gd name="connsiteY2" fmla="*/ 43994 h 98645"/>
                <a:gd name="connsiteX3" fmla="*/ 94600 w 102934"/>
                <a:gd name="connsiteY3" fmla="*/ 31127 h 98645"/>
                <a:gd name="connsiteX4" fmla="*/ 87952 w 102934"/>
                <a:gd name="connsiteY4" fmla="*/ 12256 h 98645"/>
                <a:gd name="connsiteX5" fmla="*/ 62047 w 102934"/>
                <a:gd name="connsiteY5" fmla="*/ 23407 h 98645"/>
                <a:gd name="connsiteX6" fmla="*/ 32411 w 102934"/>
                <a:gd name="connsiteY6" fmla="*/ 62822 h 98645"/>
                <a:gd name="connsiteX7" fmla="*/ 7964 w 102934"/>
                <a:gd name="connsiteY7" fmla="*/ 73073 h 98645"/>
                <a:gd name="connsiteX8" fmla="*/ 8135 w 102934"/>
                <a:gd name="connsiteY8" fmla="*/ 92888 h 98645"/>
                <a:gd name="connsiteX9" fmla="*/ 16713 w 102934"/>
                <a:gd name="connsiteY9" fmla="*/ 79034 h 98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934" h="98645">
                  <a:moveTo>
                    <a:pt x="16713" y="79034"/>
                  </a:moveTo>
                  <a:cubicBezTo>
                    <a:pt x="35027" y="61450"/>
                    <a:pt x="57801" y="52786"/>
                    <a:pt x="82463" y="56389"/>
                  </a:cubicBezTo>
                  <a:cubicBezTo>
                    <a:pt x="78560" y="51886"/>
                    <a:pt x="71354" y="48755"/>
                    <a:pt x="70882" y="43994"/>
                  </a:cubicBezTo>
                  <a:cubicBezTo>
                    <a:pt x="70153" y="36274"/>
                    <a:pt x="86451" y="36274"/>
                    <a:pt x="94600" y="31127"/>
                  </a:cubicBezTo>
                  <a:cubicBezTo>
                    <a:pt x="102749" y="25980"/>
                    <a:pt x="87180" y="21691"/>
                    <a:pt x="87952" y="12256"/>
                  </a:cubicBezTo>
                  <a:cubicBezTo>
                    <a:pt x="88681" y="2820"/>
                    <a:pt x="76844" y="3721"/>
                    <a:pt x="62047" y="23407"/>
                  </a:cubicBezTo>
                  <a:cubicBezTo>
                    <a:pt x="47250" y="43093"/>
                    <a:pt x="34641" y="53387"/>
                    <a:pt x="32411" y="62822"/>
                  </a:cubicBezTo>
                  <a:cubicBezTo>
                    <a:pt x="30180" y="72215"/>
                    <a:pt x="13153" y="61107"/>
                    <a:pt x="7964" y="73073"/>
                  </a:cubicBezTo>
                  <a:cubicBezTo>
                    <a:pt x="5691" y="78262"/>
                    <a:pt x="6120" y="86240"/>
                    <a:pt x="8135" y="92888"/>
                  </a:cubicBezTo>
                  <a:cubicBezTo>
                    <a:pt x="9765" y="87827"/>
                    <a:pt x="12553" y="83023"/>
                    <a:pt x="16713" y="7903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49" name="Freeform: Shape 239">
              <a:extLst>
                <a:ext uri="{FF2B5EF4-FFF2-40B4-BE49-F238E27FC236}">
                  <a16:creationId xmlns:a16="http://schemas.microsoft.com/office/drawing/2014/main" id="{1F1C30CC-0D9E-2A3C-D464-9A7F2D3F52CC}"/>
                </a:ext>
              </a:extLst>
            </p:cNvPr>
            <p:cNvSpPr/>
            <p:nvPr/>
          </p:nvSpPr>
          <p:spPr>
            <a:xfrm>
              <a:off x="3792704" y="2834435"/>
              <a:ext cx="1485994" cy="852888"/>
            </a:xfrm>
            <a:custGeom>
              <a:avLst/>
              <a:gdLst>
                <a:gd name="connsiteX0" fmla="*/ 1911920 w 1942885"/>
                <a:gd name="connsiteY0" fmla="*/ 117979 h 1115121"/>
                <a:gd name="connsiteX1" fmla="*/ 1867486 w 1942885"/>
                <a:gd name="connsiteY1" fmla="*/ 103139 h 1115121"/>
                <a:gd name="connsiteX2" fmla="*/ 1825026 w 1942885"/>
                <a:gd name="connsiteY2" fmla="*/ 171677 h 1115121"/>
                <a:gd name="connsiteX3" fmla="*/ 1783552 w 1942885"/>
                <a:gd name="connsiteY3" fmla="*/ 221900 h 1115121"/>
                <a:gd name="connsiteX4" fmla="*/ 1668994 w 1942885"/>
                <a:gd name="connsiteY4" fmla="*/ 223058 h 1115121"/>
                <a:gd name="connsiteX5" fmla="*/ 1624304 w 1942885"/>
                <a:gd name="connsiteY5" fmla="*/ 262087 h 1115121"/>
                <a:gd name="connsiteX6" fmla="*/ 1625548 w 1942885"/>
                <a:gd name="connsiteY6" fmla="*/ 264189 h 1115121"/>
                <a:gd name="connsiteX7" fmla="*/ 1560356 w 1942885"/>
                <a:gd name="connsiteY7" fmla="*/ 301889 h 1115121"/>
                <a:gd name="connsiteX8" fmla="*/ 1533807 w 1942885"/>
                <a:gd name="connsiteY8" fmla="*/ 304848 h 1115121"/>
                <a:gd name="connsiteX9" fmla="*/ 1535694 w 1942885"/>
                <a:gd name="connsiteY9" fmla="*/ 320159 h 1115121"/>
                <a:gd name="connsiteX10" fmla="*/ 1525787 w 1942885"/>
                <a:gd name="connsiteY10" fmla="*/ 329767 h 1115121"/>
                <a:gd name="connsiteX11" fmla="*/ 1449273 w 1942885"/>
                <a:gd name="connsiteY11" fmla="*/ 384150 h 1115121"/>
                <a:gd name="connsiteX12" fmla="*/ 1382622 w 1942885"/>
                <a:gd name="connsiteY12" fmla="*/ 366994 h 1115121"/>
                <a:gd name="connsiteX13" fmla="*/ 1407798 w 1942885"/>
                <a:gd name="connsiteY13" fmla="*/ 358417 h 1115121"/>
                <a:gd name="connsiteX14" fmla="*/ 1421266 w 1942885"/>
                <a:gd name="connsiteY14" fmla="*/ 353999 h 1115121"/>
                <a:gd name="connsiteX15" fmla="*/ 1415862 w 1942885"/>
                <a:gd name="connsiteY15" fmla="*/ 323719 h 1115121"/>
                <a:gd name="connsiteX16" fmla="*/ 1403381 w 1942885"/>
                <a:gd name="connsiteY16" fmla="*/ 274482 h 1115121"/>
                <a:gd name="connsiteX17" fmla="*/ 1367826 w 1942885"/>
                <a:gd name="connsiteY17" fmla="*/ 281302 h 1115121"/>
                <a:gd name="connsiteX18" fmla="*/ 1381164 w 1942885"/>
                <a:gd name="connsiteY18" fmla="*/ 211092 h 1115121"/>
                <a:gd name="connsiteX19" fmla="*/ 1329311 w 1942885"/>
                <a:gd name="connsiteY19" fmla="*/ 204229 h 1115121"/>
                <a:gd name="connsiteX20" fmla="*/ 1295257 w 1942885"/>
                <a:gd name="connsiteY20" fmla="*/ 233351 h 1115121"/>
                <a:gd name="connsiteX21" fmla="*/ 1286379 w 1942885"/>
                <a:gd name="connsiteY21" fmla="*/ 315613 h 1115121"/>
                <a:gd name="connsiteX22" fmla="*/ 1262661 w 1942885"/>
                <a:gd name="connsiteY22" fmla="*/ 372141 h 1115121"/>
                <a:gd name="connsiteX23" fmla="*/ 1237485 w 1942885"/>
                <a:gd name="connsiteY23" fmla="*/ 298500 h 1115121"/>
                <a:gd name="connsiteX24" fmla="*/ 1244905 w 1942885"/>
                <a:gd name="connsiteY24" fmla="*/ 231679 h 1115121"/>
                <a:gd name="connsiteX25" fmla="*/ 1295257 w 1942885"/>
                <a:gd name="connsiteY25" fmla="*/ 182013 h 1115121"/>
                <a:gd name="connsiteX26" fmla="*/ 1364866 w 1942885"/>
                <a:gd name="connsiteY26" fmla="*/ 166573 h 1115121"/>
                <a:gd name="connsiteX27" fmla="*/ 1368641 w 1942885"/>
                <a:gd name="connsiteY27" fmla="*/ 162155 h 1115121"/>
                <a:gd name="connsiteX28" fmla="*/ 1349598 w 1942885"/>
                <a:gd name="connsiteY28" fmla="*/ 146844 h 1115121"/>
                <a:gd name="connsiteX29" fmla="*/ 1345609 w 1942885"/>
                <a:gd name="connsiteY29" fmla="*/ 152848 h 1115121"/>
                <a:gd name="connsiteX30" fmla="*/ 1314514 w 1942885"/>
                <a:gd name="connsiteY30" fmla="*/ 137408 h 1115121"/>
                <a:gd name="connsiteX31" fmla="*/ 1252282 w 1942885"/>
                <a:gd name="connsiteY31" fmla="*/ 151132 h 1115121"/>
                <a:gd name="connsiteX32" fmla="*/ 1227106 w 1942885"/>
                <a:gd name="connsiteY32" fmla="*/ 127158 h 1115121"/>
                <a:gd name="connsiteX33" fmla="*/ 1215269 w 1942885"/>
                <a:gd name="connsiteY33" fmla="*/ 106570 h 1115121"/>
                <a:gd name="connsiteX34" fmla="*/ 1139740 w 1942885"/>
                <a:gd name="connsiteY34" fmla="*/ 142555 h 1115121"/>
                <a:gd name="connsiteX35" fmla="*/ 1096765 w 1942885"/>
                <a:gd name="connsiteY35" fmla="*/ 133977 h 1115121"/>
                <a:gd name="connsiteX36" fmla="*/ 1163415 w 1942885"/>
                <a:gd name="connsiteY36" fmla="*/ 84311 h 1115121"/>
                <a:gd name="connsiteX37" fmla="*/ 1180571 w 1942885"/>
                <a:gd name="connsiteY37" fmla="*/ 76677 h 1115121"/>
                <a:gd name="connsiteX38" fmla="*/ 1132792 w 1942885"/>
                <a:gd name="connsiteY38" fmla="*/ 68914 h 1115121"/>
                <a:gd name="connsiteX39" fmla="*/ 1104142 w 1942885"/>
                <a:gd name="connsiteY39" fmla="*/ 63209 h 1115121"/>
                <a:gd name="connsiteX40" fmla="*/ 1076479 w 1942885"/>
                <a:gd name="connsiteY40" fmla="*/ 50643 h 1115121"/>
                <a:gd name="connsiteX41" fmla="*/ 1045856 w 1942885"/>
                <a:gd name="connsiteY41" fmla="*/ 49485 h 1115121"/>
                <a:gd name="connsiteX42" fmla="*/ 1017206 w 1942885"/>
                <a:gd name="connsiteY42" fmla="*/ 38076 h 1115121"/>
                <a:gd name="connsiteX43" fmla="*/ 1003395 w 1942885"/>
                <a:gd name="connsiteY43" fmla="*/ 8354 h 1115121"/>
                <a:gd name="connsiteX44" fmla="*/ 991901 w 1942885"/>
                <a:gd name="connsiteY44" fmla="*/ 25638 h 1115121"/>
                <a:gd name="connsiteX45" fmla="*/ 71368 w 1942885"/>
                <a:gd name="connsiteY45" fmla="*/ 31386 h 1115121"/>
                <a:gd name="connsiteX46" fmla="*/ 74627 w 1942885"/>
                <a:gd name="connsiteY46" fmla="*/ 36361 h 1115121"/>
                <a:gd name="connsiteX47" fmla="*/ 80546 w 1942885"/>
                <a:gd name="connsiteY47" fmla="*/ 76634 h 1115121"/>
                <a:gd name="connsiteX48" fmla="*/ 70167 w 1942885"/>
                <a:gd name="connsiteY48" fmla="*/ 116049 h 1115121"/>
                <a:gd name="connsiteX49" fmla="*/ 65706 w 1942885"/>
                <a:gd name="connsiteY49" fmla="*/ 96363 h 1115121"/>
                <a:gd name="connsiteX50" fmla="*/ 61246 w 1942885"/>
                <a:gd name="connsiteY50" fmla="*/ 72388 h 1115121"/>
                <a:gd name="connsiteX51" fmla="*/ 54770 w 1942885"/>
                <a:gd name="connsiteY51" fmla="*/ 58406 h 1115121"/>
                <a:gd name="connsiteX52" fmla="*/ 6433 w 1942885"/>
                <a:gd name="connsiteY52" fmla="*/ 58835 h 1115121"/>
                <a:gd name="connsiteX53" fmla="*/ 11752 w 1942885"/>
                <a:gd name="connsiteY53" fmla="*/ 85898 h 1115121"/>
                <a:gd name="connsiteX54" fmla="*/ 23889 w 1942885"/>
                <a:gd name="connsiteY54" fmla="*/ 120424 h 1115121"/>
                <a:gd name="connsiteX55" fmla="*/ 34569 w 1942885"/>
                <a:gd name="connsiteY55" fmla="*/ 148645 h 1115121"/>
                <a:gd name="connsiteX56" fmla="*/ 34569 w 1942885"/>
                <a:gd name="connsiteY56" fmla="*/ 161469 h 1115121"/>
                <a:gd name="connsiteX57" fmla="*/ 27921 w 1942885"/>
                <a:gd name="connsiteY57" fmla="*/ 196595 h 1115121"/>
                <a:gd name="connsiteX58" fmla="*/ 24961 w 1942885"/>
                <a:gd name="connsiteY58" fmla="*/ 241886 h 1115121"/>
                <a:gd name="connsiteX59" fmla="*/ 34440 w 1942885"/>
                <a:gd name="connsiteY59" fmla="*/ 282374 h 1115121"/>
                <a:gd name="connsiteX60" fmla="*/ 23804 w 1942885"/>
                <a:gd name="connsiteY60" fmla="*/ 335557 h 1115121"/>
                <a:gd name="connsiteX61" fmla="*/ 25948 w 1942885"/>
                <a:gd name="connsiteY61" fmla="*/ 429527 h 1115121"/>
                <a:gd name="connsiteX62" fmla="*/ 32553 w 1942885"/>
                <a:gd name="connsiteY62" fmla="*/ 471644 h 1115121"/>
                <a:gd name="connsiteX63" fmla="*/ 41774 w 1942885"/>
                <a:gd name="connsiteY63" fmla="*/ 508272 h 1115121"/>
                <a:gd name="connsiteX64" fmla="*/ 79217 w 1942885"/>
                <a:gd name="connsiteY64" fmla="*/ 559825 h 1115121"/>
                <a:gd name="connsiteX65" fmla="*/ 124422 w 1942885"/>
                <a:gd name="connsiteY65" fmla="*/ 611378 h 1115121"/>
                <a:gd name="connsiteX66" fmla="*/ 134329 w 1942885"/>
                <a:gd name="connsiteY66" fmla="*/ 668206 h 1115121"/>
                <a:gd name="connsiteX67" fmla="*/ 144108 w 1942885"/>
                <a:gd name="connsiteY67" fmla="*/ 689308 h 1115121"/>
                <a:gd name="connsiteX68" fmla="*/ 149426 w 1942885"/>
                <a:gd name="connsiteY68" fmla="*/ 695698 h 1115121"/>
                <a:gd name="connsiteX69" fmla="*/ 161821 w 1942885"/>
                <a:gd name="connsiteY69" fmla="*/ 705391 h 1115121"/>
                <a:gd name="connsiteX70" fmla="*/ 190386 w 1942885"/>
                <a:gd name="connsiteY70" fmla="*/ 721861 h 1115121"/>
                <a:gd name="connsiteX71" fmla="*/ 192744 w 1942885"/>
                <a:gd name="connsiteY71" fmla="*/ 723533 h 1115121"/>
                <a:gd name="connsiteX72" fmla="*/ 220494 w 1942885"/>
                <a:gd name="connsiteY72" fmla="*/ 730095 h 1115121"/>
                <a:gd name="connsiteX73" fmla="*/ 251589 w 1942885"/>
                <a:gd name="connsiteY73" fmla="*/ 772942 h 1115121"/>
                <a:gd name="connsiteX74" fmla="*/ 259094 w 1942885"/>
                <a:gd name="connsiteY74" fmla="*/ 797303 h 1115121"/>
                <a:gd name="connsiteX75" fmla="*/ 335909 w 1942885"/>
                <a:gd name="connsiteY75" fmla="*/ 785637 h 1115121"/>
                <a:gd name="connsiteX76" fmla="*/ 373094 w 1942885"/>
                <a:gd name="connsiteY76" fmla="*/ 808540 h 1115121"/>
                <a:gd name="connsiteX77" fmla="*/ 459344 w 1942885"/>
                <a:gd name="connsiteY77" fmla="*/ 843280 h 1115121"/>
                <a:gd name="connsiteX78" fmla="*/ 554301 w 1942885"/>
                <a:gd name="connsiteY78" fmla="*/ 842379 h 1115121"/>
                <a:gd name="connsiteX79" fmla="*/ 565367 w 1942885"/>
                <a:gd name="connsiteY79" fmla="*/ 825910 h 1115121"/>
                <a:gd name="connsiteX80" fmla="*/ 617606 w 1942885"/>
                <a:gd name="connsiteY80" fmla="*/ 825910 h 1115121"/>
                <a:gd name="connsiteX81" fmla="*/ 655563 w 1942885"/>
                <a:gd name="connsiteY81" fmla="*/ 865282 h 1115121"/>
                <a:gd name="connsiteX82" fmla="*/ 676922 w 1942885"/>
                <a:gd name="connsiteY82" fmla="*/ 895476 h 1115121"/>
                <a:gd name="connsiteX83" fmla="*/ 688802 w 1942885"/>
                <a:gd name="connsiteY83" fmla="*/ 920181 h 1115121"/>
                <a:gd name="connsiteX84" fmla="*/ 727574 w 1942885"/>
                <a:gd name="connsiteY84" fmla="*/ 943041 h 1115121"/>
                <a:gd name="connsiteX85" fmla="*/ 753694 w 1942885"/>
                <a:gd name="connsiteY85" fmla="*/ 907357 h 1115121"/>
                <a:gd name="connsiteX86" fmla="*/ 813052 w 1942885"/>
                <a:gd name="connsiteY86" fmla="*/ 946686 h 1115121"/>
                <a:gd name="connsiteX87" fmla="*/ 844705 w 1942885"/>
                <a:gd name="connsiteY87" fmla="*/ 998840 h 1115121"/>
                <a:gd name="connsiteX88" fmla="*/ 852639 w 1942885"/>
                <a:gd name="connsiteY88" fmla="*/ 1028133 h 1115121"/>
                <a:gd name="connsiteX89" fmla="*/ 862118 w 1942885"/>
                <a:gd name="connsiteY89" fmla="*/ 1051937 h 1115121"/>
                <a:gd name="connsiteX90" fmla="*/ 908824 w 1942885"/>
                <a:gd name="connsiteY90" fmla="*/ 1071151 h 1115121"/>
                <a:gd name="connsiteX91" fmla="*/ 922720 w 1942885"/>
                <a:gd name="connsiteY91" fmla="*/ 1077156 h 1115121"/>
                <a:gd name="connsiteX92" fmla="*/ 913027 w 1942885"/>
                <a:gd name="connsiteY92" fmla="*/ 1027361 h 1115121"/>
                <a:gd name="connsiteX93" fmla="*/ 921177 w 1942885"/>
                <a:gd name="connsiteY93" fmla="*/ 990519 h 1115121"/>
                <a:gd name="connsiteX94" fmla="*/ 943736 w 1942885"/>
                <a:gd name="connsiteY94" fmla="*/ 972377 h 1115121"/>
                <a:gd name="connsiteX95" fmla="*/ 945581 w 1942885"/>
                <a:gd name="connsiteY95" fmla="*/ 966630 h 1115121"/>
                <a:gd name="connsiteX96" fmla="*/ 945581 w 1942885"/>
                <a:gd name="connsiteY96" fmla="*/ 966544 h 1115121"/>
                <a:gd name="connsiteX97" fmla="*/ 950599 w 1942885"/>
                <a:gd name="connsiteY97" fmla="*/ 958009 h 1115121"/>
                <a:gd name="connsiteX98" fmla="*/ 955617 w 1942885"/>
                <a:gd name="connsiteY98" fmla="*/ 952862 h 1115121"/>
                <a:gd name="connsiteX99" fmla="*/ 958447 w 1942885"/>
                <a:gd name="connsiteY99" fmla="*/ 946214 h 1115121"/>
                <a:gd name="connsiteX100" fmla="*/ 980235 w 1942885"/>
                <a:gd name="connsiteY100" fmla="*/ 928973 h 1115121"/>
                <a:gd name="connsiteX101" fmla="*/ 992759 w 1942885"/>
                <a:gd name="connsiteY101" fmla="*/ 927815 h 1115121"/>
                <a:gd name="connsiteX102" fmla="*/ 998635 w 1942885"/>
                <a:gd name="connsiteY102" fmla="*/ 919452 h 1115121"/>
                <a:gd name="connsiteX103" fmla="*/ 1000522 w 1942885"/>
                <a:gd name="connsiteY103" fmla="*/ 917607 h 1115121"/>
                <a:gd name="connsiteX104" fmla="*/ 1006741 w 1942885"/>
                <a:gd name="connsiteY104" fmla="*/ 912761 h 1115121"/>
                <a:gd name="connsiteX105" fmla="*/ 1007770 w 1942885"/>
                <a:gd name="connsiteY105" fmla="*/ 912246 h 1115121"/>
                <a:gd name="connsiteX106" fmla="*/ 1008242 w 1942885"/>
                <a:gd name="connsiteY106" fmla="*/ 908901 h 1115121"/>
                <a:gd name="connsiteX107" fmla="*/ 1024969 w 1942885"/>
                <a:gd name="connsiteY107" fmla="*/ 886470 h 1115121"/>
                <a:gd name="connsiteX108" fmla="*/ 1053018 w 1942885"/>
                <a:gd name="connsiteY108" fmla="*/ 882695 h 1115121"/>
                <a:gd name="connsiteX109" fmla="*/ 1062240 w 1942885"/>
                <a:gd name="connsiteY109" fmla="*/ 886941 h 1115121"/>
                <a:gd name="connsiteX110" fmla="*/ 1068844 w 1942885"/>
                <a:gd name="connsiteY110" fmla="*/ 886341 h 1115121"/>
                <a:gd name="connsiteX111" fmla="*/ 1099725 w 1942885"/>
                <a:gd name="connsiteY111" fmla="*/ 905084 h 1115121"/>
                <a:gd name="connsiteX112" fmla="*/ 1118167 w 1942885"/>
                <a:gd name="connsiteY112" fmla="*/ 921982 h 1115121"/>
                <a:gd name="connsiteX113" fmla="*/ 1146302 w 1942885"/>
                <a:gd name="connsiteY113" fmla="*/ 931375 h 1115121"/>
                <a:gd name="connsiteX114" fmla="*/ 1161099 w 1942885"/>
                <a:gd name="connsiteY114" fmla="*/ 917693 h 1115121"/>
                <a:gd name="connsiteX115" fmla="*/ 1179413 w 1942885"/>
                <a:gd name="connsiteY115" fmla="*/ 934935 h 1115121"/>
                <a:gd name="connsiteX116" fmla="*/ 1188205 w 1942885"/>
                <a:gd name="connsiteY116" fmla="*/ 926614 h 1115121"/>
                <a:gd name="connsiteX117" fmla="*/ 1183316 w 1942885"/>
                <a:gd name="connsiteY117" fmla="*/ 921982 h 1115121"/>
                <a:gd name="connsiteX118" fmla="*/ 1176625 w 1942885"/>
                <a:gd name="connsiteY118" fmla="*/ 900580 h 1115121"/>
                <a:gd name="connsiteX119" fmla="*/ 1205533 w 1942885"/>
                <a:gd name="connsiteY119" fmla="*/ 883467 h 1115121"/>
                <a:gd name="connsiteX120" fmla="*/ 1229251 w 1942885"/>
                <a:gd name="connsiteY120" fmla="*/ 877463 h 1115121"/>
                <a:gd name="connsiteX121" fmla="*/ 1242589 w 1942885"/>
                <a:gd name="connsiteY121" fmla="*/ 887713 h 1115121"/>
                <a:gd name="connsiteX122" fmla="*/ 1287022 w 1942885"/>
                <a:gd name="connsiteY122" fmla="*/ 881709 h 1115121"/>
                <a:gd name="connsiteX123" fmla="*/ 1318117 w 1942885"/>
                <a:gd name="connsiteY123" fmla="*/ 907400 h 1115121"/>
                <a:gd name="connsiteX124" fmla="*/ 1341106 w 1942885"/>
                <a:gd name="connsiteY124" fmla="*/ 911689 h 1115121"/>
                <a:gd name="connsiteX125" fmla="*/ 1372200 w 1942885"/>
                <a:gd name="connsiteY125" fmla="*/ 899680 h 1115121"/>
                <a:gd name="connsiteX126" fmla="*/ 1405525 w 1942885"/>
                <a:gd name="connsiteY126" fmla="*/ 942526 h 1115121"/>
                <a:gd name="connsiteX127" fmla="*/ 1406254 w 1942885"/>
                <a:gd name="connsiteY127" fmla="*/ 986187 h 1115121"/>
                <a:gd name="connsiteX128" fmla="*/ 1420322 w 1942885"/>
                <a:gd name="connsiteY128" fmla="*/ 1024745 h 1115121"/>
                <a:gd name="connsiteX129" fmla="*/ 1428128 w 1942885"/>
                <a:gd name="connsiteY129" fmla="*/ 1047390 h 1115121"/>
                <a:gd name="connsiteX130" fmla="*/ 1430873 w 1942885"/>
                <a:gd name="connsiteY130" fmla="*/ 1049921 h 1115121"/>
                <a:gd name="connsiteX131" fmla="*/ 1440823 w 1942885"/>
                <a:gd name="connsiteY131" fmla="*/ 1069435 h 1115121"/>
                <a:gd name="connsiteX132" fmla="*/ 1456649 w 1942885"/>
                <a:gd name="connsiteY132" fmla="*/ 1098386 h 1115121"/>
                <a:gd name="connsiteX133" fmla="*/ 1481825 w 1942885"/>
                <a:gd name="connsiteY133" fmla="*/ 1103532 h 1115121"/>
                <a:gd name="connsiteX134" fmla="*/ 1486972 w 1942885"/>
                <a:gd name="connsiteY134" fmla="*/ 1085905 h 1115121"/>
                <a:gd name="connsiteX135" fmla="*/ 1486458 w 1942885"/>
                <a:gd name="connsiteY135" fmla="*/ 1080158 h 1115121"/>
                <a:gd name="connsiteX136" fmla="*/ 1485257 w 1942885"/>
                <a:gd name="connsiteY136" fmla="*/ 1030149 h 1115121"/>
                <a:gd name="connsiteX137" fmla="*/ 1489503 w 1942885"/>
                <a:gd name="connsiteY137" fmla="*/ 1011578 h 1115121"/>
                <a:gd name="connsiteX138" fmla="*/ 1488216 w 1942885"/>
                <a:gd name="connsiteY138" fmla="*/ 1006689 h 1115121"/>
                <a:gd name="connsiteX139" fmla="*/ 1473119 w 1942885"/>
                <a:gd name="connsiteY139" fmla="*/ 976366 h 1115121"/>
                <a:gd name="connsiteX140" fmla="*/ 1470932 w 1942885"/>
                <a:gd name="connsiteY140" fmla="*/ 947544 h 1115121"/>
                <a:gd name="connsiteX141" fmla="*/ 1468487 w 1942885"/>
                <a:gd name="connsiteY141" fmla="*/ 943384 h 1115121"/>
                <a:gd name="connsiteX142" fmla="*/ 1449959 w 1942885"/>
                <a:gd name="connsiteY142" fmla="*/ 867984 h 1115121"/>
                <a:gd name="connsiteX143" fmla="*/ 1456264 w 1942885"/>
                <a:gd name="connsiteY143" fmla="*/ 842122 h 1115121"/>
                <a:gd name="connsiteX144" fmla="*/ 1474577 w 1942885"/>
                <a:gd name="connsiteY144" fmla="*/ 797174 h 1115121"/>
                <a:gd name="connsiteX145" fmla="*/ 1488688 w 1942885"/>
                <a:gd name="connsiteY145" fmla="*/ 781391 h 1115121"/>
                <a:gd name="connsiteX146" fmla="*/ 1511333 w 1942885"/>
                <a:gd name="connsiteY146" fmla="*/ 776716 h 1115121"/>
                <a:gd name="connsiteX147" fmla="*/ 1518839 w 1942885"/>
                <a:gd name="connsiteY147" fmla="*/ 767795 h 1115121"/>
                <a:gd name="connsiteX148" fmla="*/ 1546245 w 1942885"/>
                <a:gd name="connsiteY148" fmla="*/ 736958 h 1115121"/>
                <a:gd name="connsiteX149" fmla="*/ 1550105 w 1942885"/>
                <a:gd name="connsiteY149" fmla="*/ 737086 h 1115121"/>
                <a:gd name="connsiteX150" fmla="*/ 1578198 w 1942885"/>
                <a:gd name="connsiteY150" fmla="*/ 687849 h 1115121"/>
                <a:gd name="connsiteX151" fmla="*/ 1605089 w 1942885"/>
                <a:gd name="connsiteY151" fmla="*/ 674983 h 1115121"/>
                <a:gd name="connsiteX152" fmla="*/ 1604789 w 1942885"/>
                <a:gd name="connsiteY152" fmla="*/ 674425 h 1115121"/>
                <a:gd name="connsiteX153" fmla="*/ 1612938 w 1942885"/>
                <a:gd name="connsiteY153" fmla="*/ 660700 h 1115121"/>
                <a:gd name="connsiteX154" fmla="*/ 1635884 w 1942885"/>
                <a:gd name="connsiteY154" fmla="*/ 662416 h 1115121"/>
                <a:gd name="connsiteX155" fmla="*/ 1644033 w 1942885"/>
                <a:gd name="connsiteY155" fmla="*/ 639299 h 1115121"/>
                <a:gd name="connsiteX156" fmla="*/ 1633654 w 1942885"/>
                <a:gd name="connsiteY156" fmla="*/ 626432 h 1115121"/>
                <a:gd name="connsiteX157" fmla="*/ 1621816 w 1942885"/>
                <a:gd name="connsiteY157" fmla="*/ 599883 h 1115121"/>
                <a:gd name="connsiteX158" fmla="*/ 1621087 w 1942885"/>
                <a:gd name="connsiteY158" fmla="*/ 581012 h 1115121"/>
                <a:gd name="connsiteX159" fmla="*/ 1599600 w 1942885"/>
                <a:gd name="connsiteY159" fmla="*/ 548459 h 1115121"/>
                <a:gd name="connsiteX160" fmla="*/ 1612938 w 1942885"/>
                <a:gd name="connsiteY160" fmla="*/ 534777 h 1115121"/>
                <a:gd name="connsiteX161" fmla="*/ 1618128 w 1942885"/>
                <a:gd name="connsiteY161" fmla="*/ 484254 h 1115121"/>
                <a:gd name="connsiteX162" fmla="*/ 1629236 w 1942885"/>
                <a:gd name="connsiteY162" fmla="*/ 484254 h 1115121"/>
                <a:gd name="connsiteX163" fmla="*/ 1626277 w 1942885"/>
                <a:gd name="connsiteY163" fmla="*/ 521954 h 1115121"/>
                <a:gd name="connsiteX164" fmla="*/ 1636013 w 1942885"/>
                <a:gd name="connsiteY164" fmla="*/ 544513 h 1115121"/>
                <a:gd name="connsiteX165" fmla="*/ 1637986 w 1942885"/>
                <a:gd name="connsiteY165" fmla="*/ 542112 h 1115121"/>
                <a:gd name="connsiteX166" fmla="*/ 1642103 w 1942885"/>
                <a:gd name="connsiteY166" fmla="*/ 538509 h 1115121"/>
                <a:gd name="connsiteX167" fmla="*/ 1642232 w 1942885"/>
                <a:gd name="connsiteY167" fmla="*/ 538166 h 1115121"/>
                <a:gd name="connsiteX168" fmla="*/ 1641888 w 1942885"/>
                <a:gd name="connsiteY168" fmla="*/ 533619 h 1115121"/>
                <a:gd name="connsiteX169" fmla="*/ 1649394 w 1942885"/>
                <a:gd name="connsiteY169" fmla="*/ 511231 h 1115121"/>
                <a:gd name="connsiteX170" fmla="*/ 1651710 w 1942885"/>
                <a:gd name="connsiteY170" fmla="*/ 507200 h 1115121"/>
                <a:gd name="connsiteX171" fmla="*/ 1652139 w 1942885"/>
                <a:gd name="connsiteY171" fmla="*/ 506428 h 1115121"/>
                <a:gd name="connsiteX172" fmla="*/ 1652868 w 1942885"/>
                <a:gd name="connsiteY172" fmla="*/ 504669 h 1115121"/>
                <a:gd name="connsiteX173" fmla="*/ 1656599 w 1942885"/>
                <a:gd name="connsiteY173" fmla="*/ 490258 h 1115121"/>
                <a:gd name="connsiteX174" fmla="*/ 1659945 w 1942885"/>
                <a:gd name="connsiteY174" fmla="*/ 494762 h 1115121"/>
                <a:gd name="connsiteX175" fmla="*/ 1663505 w 1942885"/>
                <a:gd name="connsiteY175" fmla="*/ 491674 h 1115121"/>
                <a:gd name="connsiteX176" fmla="*/ 1668651 w 1942885"/>
                <a:gd name="connsiteY176" fmla="*/ 487942 h 1115121"/>
                <a:gd name="connsiteX177" fmla="*/ 1669509 w 1942885"/>
                <a:gd name="connsiteY177" fmla="*/ 487127 h 1115121"/>
                <a:gd name="connsiteX178" fmla="*/ 1683191 w 1942885"/>
                <a:gd name="connsiteY178" fmla="*/ 478464 h 1115121"/>
                <a:gd name="connsiteX179" fmla="*/ 1695672 w 1942885"/>
                <a:gd name="connsiteY179" fmla="*/ 450457 h 1115121"/>
                <a:gd name="connsiteX180" fmla="*/ 1699017 w 1942885"/>
                <a:gd name="connsiteY180" fmla="*/ 442222 h 1115121"/>
                <a:gd name="connsiteX181" fmla="*/ 1699103 w 1942885"/>
                <a:gd name="connsiteY181" fmla="*/ 442094 h 1115121"/>
                <a:gd name="connsiteX182" fmla="*/ 1698073 w 1942885"/>
                <a:gd name="connsiteY182" fmla="*/ 440635 h 1115121"/>
                <a:gd name="connsiteX183" fmla="*/ 1711155 w 1942885"/>
                <a:gd name="connsiteY183" fmla="*/ 429484 h 1115121"/>
                <a:gd name="connsiteX184" fmla="*/ 1713213 w 1942885"/>
                <a:gd name="connsiteY184" fmla="*/ 428112 h 1115121"/>
                <a:gd name="connsiteX185" fmla="*/ 1734100 w 1942885"/>
                <a:gd name="connsiteY185" fmla="*/ 421121 h 1115121"/>
                <a:gd name="connsiteX186" fmla="*/ 1739590 w 1942885"/>
                <a:gd name="connsiteY186" fmla="*/ 421464 h 1115121"/>
                <a:gd name="connsiteX187" fmla="*/ 1740019 w 1942885"/>
                <a:gd name="connsiteY187" fmla="*/ 421250 h 1115121"/>
                <a:gd name="connsiteX188" fmla="*/ 1746796 w 1942885"/>
                <a:gd name="connsiteY188" fmla="*/ 418290 h 1115121"/>
                <a:gd name="connsiteX189" fmla="*/ 1765538 w 1942885"/>
                <a:gd name="connsiteY189" fmla="*/ 413787 h 1115121"/>
                <a:gd name="connsiteX190" fmla="*/ 1714371 w 1942885"/>
                <a:gd name="connsiteY190" fmla="*/ 412371 h 1115121"/>
                <a:gd name="connsiteX191" fmla="*/ 1768455 w 1942885"/>
                <a:gd name="connsiteY191" fmla="*/ 392685 h 1115121"/>
                <a:gd name="connsiteX192" fmla="*/ 1784753 w 1942885"/>
                <a:gd name="connsiteY192" fmla="*/ 376387 h 1115121"/>
                <a:gd name="connsiteX193" fmla="*/ 1809328 w 1942885"/>
                <a:gd name="connsiteY193" fmla="*/ 381191 h 1115121"/>
                <a:gd name="connsiteX194" fmla="*/ 1808728 w 1942885"/>
                <a:gd name="connsiteY194" fmla="*/ 376730 h 1115121"/>
                <a:gd name="connsiteX195" fmla="*/ 1803367 w 1942885"/>
                <a:gd name="connsiteY195" fmla="*/ 357344 h 1115121"/>
                <a:gd name="connsiteX196" fmla="*/ 1804267 w 1942885"/>
                <a:gd name="connsiteY196" fmla="*/ 349067 h 1115121"/>
                <a:gd name="connsiteX197" fmla="*/ 1804010 w 1942885"/>
                <a:gd name="connsiteY197" fmla="*/ 348938 h 1115121"/>
                <a:gd name="connsiteX198" fmla="*/ 1806969 w 1942885"/>
                <a:gd name="connsiteY198" fmla="*/ 336286 h 1115121"/>
                <a:gd name="connsiteX199" fmla="*/ 1808899 w 1942885"/>
                <a:gd name="connsiteY199" fmla="*/ 331482 h 1115121"/>
                <a:gd name="connsiteX200" fmla="*/ 1808471 w 1942885"/>
                <a:gd name="connsiteY200" fmla="*/ 329252 h 1115121"/>
                <a:gd name="connsiteX201" fmla="*/ 1808256 w 1942885"/>
                <a:gd name="connsiteY201" fmla="*/ 328566 h 1115121"/>
                <a:gd name="connsiteX202" fmla="*/ 1803367 w 1942885"/>
                <a:gd name="connsiteY202" fmla="*/ 309780 h 1115121"/>
                <a:gd name="connsiteX203" fmla="*/ 1814046 w 1942885"/>
                <a:gd name="connsiteY203" fmla="*/ 283274 h 1115121"/>
                <a:gd name="connsiteX204" fmla="*/ 1838236 w 1942885"/>
                <a:gd name="connsiteY204" fmla="*/ 271523 h 1115121"/>
                <a:gd name="connsiteX205" fmla="*/ 1862511 w 1942885"/>
                <a:gd name="connsiteY205" fmla="*/ 257455 h 1115121"/>
                <a:gd name="connsiteX206" fmla="*/ 1866114 w 1942885"/>
                <a:gd name="connsiteY206" fmla="*/ 256554 h 1115121"/>
                <a:gd name="connsiteX207" fmla="*/ 1873662 w 1942885"/>
                <a:gd name="connsiteY207" fmla="*/ 245275 h 1115121"/>
                <a:gd name="connsiteX208" fmla="*/ 1915136 w 1942885"/>
                <a:gd name="connsiteY208" fmla="*/ 246990 h 1115121"/>
                <a:gd name="connsiteX209" fmla="*/ 1940098 w 1942885"/>
                <a:gd name="connsiteY209" fmla="*/ 225374 h 1115121"/>
                <a:gd name="connsiteX210" fmla="*/ 1911920 w 1942885"/>
                <a:gd name="connsiteY210" fmla="*/ 117979 h 111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942885" h="1115121">
                  <a:moveTo>
                    <a:pt x="1911920" y="117979"/>
                  </a:moveTo>
                  <a:cubicBezTo>
                    <a:pt x="1910933" y="106570"/>
                    <a:pt x="1881296" y="115706"/>
                    <a:pt x="1867486" y="103139"/>
                  </a:cubicBezTo>
                  <a:cubicBezTo>
                    <a:pt x="1853676" y="90573"/>
                    <a:pt x="1829958" y="147701"/>
                    <a:pt x="1825026" y="171677"/>
                  </a:cubicBezTo>
                  <a:cubicBezTo>
                    <a:pt x="1820093" y="195652"/>
                    <a:pt x="1783552" y="221900"/>
                    <a:pt x="1783552" y="221900"/>
                  </a:cubicBezTo>
                  <a:cubicBezTo>
                    <a:pt x="1783552" y="221900"/>
                    <a:pt x="1677873" y="223058"/>
                    <a:pt x="1668994" y="223058"/>
                  </a:cubicBezTo>
                  <a:cubicBezTo>
                    <a:pt x="1662818" y="223058"/>
                    <a:pt x="1638543" y="247290"/>
                    <a:pt x="1624304" y="262087"/>
                  </a:cubicBezTo>
                  <a:cubicBezTo>
                    <a:pt x="1624733" y="262688"/>
                    <a:pt x="1625162" y="263374"/>
                    <a:pt x="1625548" y="264189"/>
                  </a:cubicBezTo>
                  <a:cubicBezTo>
                    <a:pt x="1636227" y="286491"/>
                    <a:pt x="1597412" y="300173"/>
                    <a:pt x="1560356" y="301889"/>
                  </a:cubicBezTo>
                  <a:cubicBezTo>
                    <a:pt x="1548947" y="302403"/>
                    <a:pt x="1540412" y="303733"/>
                    <a:pt x="1533807" y="304848"/>
                  </a:cubicBezTo>
                  <a:cubicBezTo>
                    <a:pt x="1535094" y="310080"/>
                    <a:pt x="1536123" y="315828"/>
                    <a:pt x="1535694" y="320159"/>
                  </a:cubicBezTo>
                  <a:cubicBezTo>
                    <a:pt x="1535437" y="322904"/>
                    <a:pt x="1531448" y="326293"/>
                    <a:pt x="1525787" y="329767"/>
                  </a:cubicBezTo>
                  <a:cubicBezTo>
                    <a:pt x="1520126" y="343062"/>
                    <a:pt x="1474706" y="368710"/>
                    <a:pt x="1449273" y="384150"/>
                  </a:cubicBezTo>
                  <a:cubicBezTo>
                    <a:pt x="1421137" y="401263"/>
                    <a:pt x="1382622" y="392728"/>
                    <a:pt x="1382622" y="366994"/>
                  </a:cubicBezTo>
                  <a:cubicBezTo>
                    <a:pt x="1382622" y="341304"/>
                    <a:pt x="1403381" y="346451"/>
                    <a:pt x="1407798" y="358417"/>
                  </a:cubicBezTo>
                  <a:cubicBezTo>
                    <a:pt x="1409471" y="362920"/>
                    <a:pt x="1414489" y="359660"/>
                    <a:pt x="1421266" y="353999"/>
                  </a:cubicBezTo>
                  <a:cubicBezTo>
                    <a:pt x="1414232" y="346064"/>
                    <a:pt x="1414361" y="333455"/>
                    <a:pt x="1415862" y="323719"/>
                  </a:cubicBezTo>
                  <a:cubicBezTo>
                    <a:pt x="1407370" y="319430"/>
                    <a:pt x="1420580" y="281087"/>
                    <a:pt x="1403381" y="274482"/>
                  </a:cubicBezTo>
                  <a:cubicBezTo>
                    <a:pt x="1385625" y="267620"/>
                    <a:pt x="1364866" y="303604"/>
                    <a:pt x="1367826" y="281302"/>
                  </a:cubicBezTo>
                  <a:cubicBezTo>
                    <a:pt x="1370785" y="259042"/>
                    <a:pt x="1397462" y="240214"/>
                    <a:pt x="1381164" y="211092"/>
                  </a:cubicBezTo>
                  <a:cubicBezTo>
                    <a:pt x="1364866" y="181970"/>
                    <a:pt x="1335230" y="181970"/>
                    <a:pt x="1329311" y="204229"/>
                  </a:cubicBezTo>
                  <a:cubicBezTo>
                    <a:pt x="1323392" y="226532"/>
                    <a:pt x="1302634" y="216238"/>
                    <a:pt x="1295257" y="233351"/>
                  </a:cubicBezTo>
                  <a:cubicBezTo>
                    <a:pt x="1287837" y="250507"/>
                    <a:pt x="1280460" y="288207"/>
                    <a:pt x="1286379" y="315613"/>
                  </a:cubicBezTo>
                  <a:cubicBezTo>
                    <a:pt x="1292298" y="343019"/>
                    <a:pt x="1284878" y="356701"/>
                    <a:pt x="1262661" y="372141"/>
                  </a:cubicBezTo>
                  <a:cubicBezTo>
                    <a:pt x="1240445" y="387538"/>
                    <a:pt x="1228821" y="348595"/>
                    <a:pt x="1237485" y="298500"/>
                  </a:cubicBezTo>
                  <a:cubicBezTo>
                    <a:pt x="1243404" y="264232"/>
                    <a:pt x="1259702" y="231679"/>
                    <a:pt x="1244905" y="231679"/>
                  </a:cubicBezTo>
                  <a:cubicBezTo>
                    <a:pt x="1230108" y="231679"/>
                    <a:pt x="1264162" y="190548"/>
                    <a:pt x="1295257" y="182013"/>
                  </a:cubicBezTo>
                  <a:cubicBezTo>
                    <a:pt x="1326352" y="173435"/>
                    <a:pt x="1364866" y="176866"/>
                    <a:pt x="1364866" y="166573"/>
                  </a:cubicBezTo>
                  <a:cubicBezTo>
                    <a:pt x="1364866" y="164514"/>
                    <a:pt x="1366282" y="163099"/>
                    <a:pt x="1368641" y="162155"/>
                  </a:cubicBezTo>
                  <a:cubicBezTo>
                    <a:pt x="1362293" y="156365"/>
                    <a:pt x="1355259" y="150918"/>
                    <a:pt x="1349598" y="146844"/>
                  </a:cubicBezTo>
                  <a:cubicBezTo>
                    <a:pt x="1348997" y="149031"/>
                    <a:pt x="1347796" y="151047"/>
                    <a:pt x="1345609" y="152848"/>
                  </a:cubicBezTo>
                  <a:cubicBezTo>
                    <a:pt x="1333429" y="162713"/>
                    <a:pt x="1336731" y="137408"/>
                    <a:pt x="1314514" y="137408"/>
                  </a:cubicBezTo>
                  <a:cubicBezTo>
                    <a:pt x="1292298" y="137408"/>
                    <a:pt x="1270081" y="161383"/>
                    <a:pt x="1252282" y="151132"/>
                  </a:cubicBezTo>
                  <a:cubicBezTo>
                    <a:pt x="1234483" y="140839"/>
                    <a:pt x="1243404" y="127158"/>
                    <a:pt x="1227106" y="127158"/>
                  </a:cubicBezTo>
                  <a:cubicBezTo>
                    <a:pt x="1210808" y="127158"/>
                    <a:pt x="1238986" y="91173"/>
                    <a:pt x="1215269" y="106570"/>
                  </a:cubicBezTo>
                  <a:cubicBezTo>
                    <a:pt x="1191551" y="122011"/>
                    <a:pt x="1155996" y="159710"/>
                    <a:pt x="1139740" y="142555"/>
                  </a:cubicBezTo>
                  <a:cubicBezTo>
                    <a:pt x="1123442" y="125442"/>
                    <a:pt x="1108646" y="147744"/>
                    <a:pt x="1096765" y="133977"/>
                  </a:cubicBezTo>
                  <a:cubicBezTo>
                    <a:pt x="1084928" y="120252"/>
                    <a:pt x="1138239" y="82595"/>
                    <a:pt x="1163415" y="84311"/>
                  </a:cubicBezTo>
                  <a:cubicBezTo>
                    <a:pt x="1169591" y="84697"/>
                    <a:pt x="1175253" y="81566"/>
                    <a:pt x="1180571" y="76677"/>
                  </a:cubicBezTo>
                  <a:cubicBezTo>
                    <a:pt x="1167318" y="71058"/>
                    <a:pt x="1139998" y="58706"/>
                    <a:pt x="1132792" y="68914"/>
                  </a:cubicBezTo>
                  <a:cubicBezTo>
                    <a:pt x="1123914" y="81480"/>
                    <a:pt x="1111090" y="73460"/>
                    <a:pt x="1104142" y="63209"/>
                  </a:cubicBezTo>
                  <a:cubicBezTo>
                    <a:pt x="1097237" y="52916"/>
                    <a:pt x="1088359" y="66640"/>
                    <a:pt x="1076479" y="50643"/>
                  </a:cubicBezTo>
                  <a:cubicBezTo>
                    <a:pt x="1064641" y="34645"/>
                    <a:pt x="1052761" y="46054"/>
                    <a:pt x="1045856" y="49485"/>
                  </a:cubicBezTo>
                  <a:cubicBezTo>
                    <a:pt x="1038950" y="52916"/>
                    <a:pt x="1030030" y="43781"/>
                    <a:pt x="1017206" y="38076"/>
                  </a:cubicBezTo>
                  <a:cubicBezTo>
                    <a:pt x="1004339" y="32372"/>
                    <a:pt x="1014246" y="17532"/>
                    <a:pt x="1003395" y="8354"/>
                  </a:cubicBezTo>
                  <a:cubicBezTo>
                    <a:pt x="992544" y="-781"/>
                    <a:pt x="991901" y="25638"/>
                    <a:pt x="991901" y="25638"/>
                  </a:cubicBezTo>
                  <a:lnTo>
                    <a:pt x="71368" y="31386"/>
                  </a:lnTo>
                  <a:cubicBezTo>
                    <a:pt x="72397" y="33187"/>
                    <a:pt x="73469" y="34903"/>
                    <a:pt x="74627" y="36361"/>
                  </a:cubicBezTo>
                  <a:cubicBezTo>
                    <a:pt x="85736" y="50085"/>
                    <a:pt x="76858" y="60336"/>
                    <a:pt x="80546" y="76634"/>
                  </a:cubicBezTo>
                  <a:cubicBezTo>
                    <a:pt x="84235" y="92932"/>
                    <a:pt x="81275" y="116049"/>
                    <a:pt x="70167" y="116049"/>
                  </a:cubicBezTo>
                  <a:cubicBezTo>
                    <a:pt x="59059" y="116049"/>
                    <a:pt x="57600" y="101510"/>
                    <a:pt x="65706" y="96363"/>
                  </a:cubicBezTo>
                  <a:cubicBezTo>
                    <a:pt x="73855" y="91216"/>
                    <a:pt x="69395" y="72388"/>
                    <a:pt x="61246" y="72388"/>
                  </a:cubicBezTo>
                  <a:cubicBezTo>
                    <a:pt x="56485" y="72388"/>
                    <a:pt x="54598" y="65911"/>
                    <a:pt x="54770" y="58406"/>
                  </a:cubicBezTo>
                  <a:cubicBezTo>
                    <a:pt x="40788" y="62866"/>
                    <a:pt x="24790" y="61322"/>
                    <a:pt x="6433" y="58835"/>
                  </a:cubicBezTo>
                  <a:cubicBezTo>
                    <a:pt x="8921" y="67541"/>
                    <a:pt x="10636" y="76720"/>
                    <a:pt x="11752" y="85898"/>
                  </a:cubicBezTo>
                  <a:cubicBezTo>
                    <a:pt x="19686" y="95848"/>
                    <a:pt x="22002" y="107471"/>
                    <a:pt x="23889" y="120424"/>
                  </a:cubicBezTo>
                  <a:cubicBezTo>
                    <a:pt x="29508" y="133934"/>
                    <a:pt x="25133" y="142812"/>
                    <a:pt x="34569" y="148645"/>
                  </a:cubicBezTo>
                  <a:cubicBezTo>
                    <a:pt x="45677" y="155507"/>
                    <a:pt x="44948" y="163184"/>
                    <a:pt x="34569" y="161469"/>
                  </a:cubicBezTo>
                  <a:cubicBezTo>
                    <a:pt x="24190" y="159796"/>
                    <a:pt x="31609" y="170904"/>
                    <a:pt x="27921" y="196595"/>
                  </a:cubicBezTo>
                  <a:cubicBezTo>
                    <a:pt x="26248" y="208133"/>
                    <a:pt x="25476" y="225159"/>
                    <a:pt x="24961" y="241886"/>
                  </a:cubicBezTo>
                  <a:cubicBezTo>
                    <a:pt x="28693" y="255268"/>
                    <a:pt x="33153" y="268521"/>
                    <a:pt x="34440" y="282374"/>
                  </a:cubicBezTo>
                  <a:cubicBezTo>
                    <a:pt x="36499" y="303990"/>
                    <a:pt x="26506" y="316256"/>
                    <a:pt x="23804" y="335557"/>
                  </a:cubicBezTo>
                  <a:cubicBezTo>
                    <a:pt x="27921" y="366651"/>
                    <a:pt x="31995" y="397403"/>
                    <a:pt x="25948" y="429527"/>
                  </a:cubicBezTo>
                  <a:cubicBezTo>
                    <a:pt x="21873" y="451229"/>
                    <a:pt x="22860" y="450028"/>
                    <a:pt x="32553" y="471644"/>
                  </a:cubicBezTo>
                  <a:cubicBezTo>
                    <a:pt x="38686" y="485369"/>
                    <a:pt x="40659" y="495877"/>
                    <a:pt x="41774" y="508272"/>
                  </a:cubicBezTo>
                  <a:cubicBezTo>
                    <a:pt x="55542" y="524527"/>
                    <a:pt x="67765" y="540911"/>
                    <a:pt x="79217" y="559825"/>
                  </a:cubicBezTo>
                  <a:cubicBezTo>
                    <a:pt x="92126" y="581141"/>
                    <a:pt x="101519" y="599583"/>
                    <a:pt x="124422" y="611378"/>
                  </a:cubicBezTo>
                  <a:cubicBezTo>
                    <a:pt x="143722" y="621328"/>
                    <a:pt x="147754" y="651737"/>
                    <a:pt x="134329" y="668206"/>
                  </a:cubicBezTo>
                  <a:cubicBezTo>
                    <a:pt x="141792" y="676098"/>
                    <a:pt x="143636" y="683389"/>
                    <a:pt x="144108" y="689308"/>
                  </a:cubicBezTo>
                  <a:cubicBezTo>
                    <a:pt x="145738" y="691452"/>
                    <a:pt x="147453" y="693597"/>
                    <a:pt x="149426" y="695698"/>
                  </a:cubicBezTo>
                  <a:cubicBezTo>
                    <a:pt x="152943" y="699472"/>
                    <a:pt x="157232" y="702560"/>
                    <a:pt x="161821" y="705391"/>
                  </a:cubicBezTo>
                  <a:cubicBezTo>
                    <a:pt x="171343" y="708393"/>
                    <a:pt x="180693" y="714827"/>
                    <a:pt x="190386" y="721861"/>
                  </a:cubicBezTo>
                  <a:cubicBezTo>
                    <a:pt x="191200" y="722418"/>
                    <a:pt x="191972" y="722976"/>
                    <a:pt x="192744" y="723533"/>
                  </a:cubicBezTo>
                  <a:cubicBezTo>
                    <a:pt x="206469" y="733355"/>
                    <a:pt x="210930" y="727565"/>
                    <a:pt x="220494" y="730095"/>
                  </a:cubicBezTo>
                  <a:cubicBezTo>
                    <a:pt x="230101" y="732669"/>
                    <a:pt x="247900" y="756644"/>
                    <a:pt x="251589" y="772942"/>
                  </a:cubicBezTo>
                  <a:cubicBezTo>
                    <a:pt x="253347" y="780576"/>
                    <a:pt x="255620" y="788639"/>
                    <a:pt x="259094" y="797303"/>
                  </a:cubicBezTo>
                  <a:lnTo>
                    <a:pt x="335909" y="785637"/>
                  </a:lnTo>
                  <a:cubicBezTo>
                    <a:pt x="335909" y="785637"/>
                    <a:pt x="359627" y="804851"/>
                    <a:pt x="373094" y="808540"/>
                  </a:cubicBezTo>
                  <a:cubicBezTo>
                    <a:pt x="386561" y="812185"/>
                    <a:pt x="459344" y="843280"/>
                    <a:pt x="459344" y="843280"/>
                  </a:cubicBezTo>
                  <a:lnTo>
                    <a:pt x="554301" y="842379"/>
                  </a:lnTo>
                  <a:lnTo>
                    <a:pt x="565367" y="825910"/>
                  </a:lnTo>
                  <a:lnTo>
                    <a:pt x="617606" y="825910"/>
                  </a:lnTo>
                  <a:cubicBezTo>
                    <a:pt x="617606" y="825910"/>
                    <a:pt x="650845" y="863438"/>
                    <a:pt x="655563" y="865282"/>
                  </a:cubicBezTo>
                  <a:cubicBezTo>
                    <a:pt x="660324" y="867084"/>
                    <a:pt x="676922" y="884497"/>
                    <a:pt x="676922" y="895476"/>
                  </a:cubicBezTo>
                  <a:cubicBezTo>
                    <a:pt x="676922" y="906456"/>
                    <a:pt x="680868" y="915591"/>
                    <a:pt x="688802" y="920181"/>
                  </a:cubicBezTo>
                  <a:cubicBezTo>
                    <a:pt x="696737" y="924770"/>
                    <a:pt x="723628" y="944885"/>
                    <a:pt x="727574" y="943041"/>
                  </a:cubicBezTo>
                  <a:cubicBezTo>
                    <a:pt x="731520" y="941239"/>
                    <a:pt x="739454" y="906456"/>
                    <a:pt x="753694" y="907357"/>
                  </a:cubicBezTo>
                  <a:cubicBezTo>
                    <a:pt x="767933" y="908258"/>
                    <a:pt x="806705" y="921038"/>
                    <a:pt x="813052" y="946686"/>
                  </a:cubicBezTo>
                  <a:cubicBezTo>
                    <a:pt x="819400" y="972334"/>
                    <a:pt x="838357" y="993350"/>
                    <a:pt x="844705" y="998840"/>
                  </a:cubicBezTo>
                  <a:cubicBezTo>
                    <a:pt x="851052" y="1004329"/>
                    <a:pt x="847879" y="1019898"/>
                    <a:pt x="852639" y="1028133"/>
                  </a:cubicBezTo>
                  <a:cubicBezTo>
                    <a:pt x="857400" y="1036368"/>
                    <a:pt x="856585" y="1051937"/>
                    <a:pt x="862118" y="1051937"/>
                  </a:cubicBezTo>
                  <a:cubicBezTo>
                    <a:pt x="867650" y="1051937"/>
                    <a:pt x="896172" y="1072095"/>
                    <a:pt x="908824" y="1071151"/>
                  </a:cubicBezTo>
                  <a:cubicBezTo>
                    <a:pt x="912599" y="1070894"/>
                    <a:pt x="917617" y="1073510"/>
                    <a:pt x="922720" y="1077156"/>
                  </a:cubicBezTo>
                  <a:cubicBezTo>
                    <a:pt x="924264" y="1046533"/>
                    <a:pt x="897030" y="1041429"/>
                    <a:pt x="913027" y="1027361"/>
                  </a:cubicBezTo>
                  <a:cubicBezTo>
                    <a:pt x="931556" y="1011063"/>
                    <a:pt x="912298" y="997381"/>
                    <a:pt x="921177" y="990519"/>
                  </a:cubicBezTo>
                  <a:cubicBezTo>
                    <a:pt x="928253" y="985072"/>
                    <a:pt x="939447" y="979582"/>
                    <a:pt x="943736" y="972377"/>
                  </a:cubicBezTo>
                  <a:cubicBezTo>
                    <a:pt x="944208" y="970361"/>
                    <a:pt x="944851" y="968431"/>
                    <a:pt x="945581" y="966630"/>
                  </a:cubicBezTo>
                  <a:cubicBezTo>
                    <a:pt x="945581" y="966587"/>
                    <a:pt x="945581" y="966544"/>
                    <a:pt x="945581" y="966544"/>
                  </a:cubicBezTo>
                  <a:cubicBezTo>
                    <a:pt x="945581" y="961697"/>
                    <a:pt x="947425" y="959167"/>
                    <a:pt x="950599" y="958009"/>
                  </a:cubicBezTo>
                  <a:cubicBezTo>
                    <a:pt x="952057" y="956165"/>
                    <a:pt x="953772" y="954449"/>
                    <a:pt x="955617" y="952862"/>
                  </a:cubicBezTo>
                  <a:cubicBezTo>
                    <a:pt x="956431" y="950546"/>
                    <a:pt x="957375" y="948273"/>
                    <a:pt x="958447" y="946214"/>
                  </a:cubicBezTo>
                  <a:cubicBezTo>
                    <a:pt x="962908" y="937551"/>
                    <a:pt x="971400" y="931890"/>
                    <a:pt x="980235" y="928973"/>
                  </a:cubicBezTo>
                  <a:cubicBezTo>
                    <a:pt x="984052" y="927686"/>
                    <a:pt x="988427" y="927386"/>
                    <a:pt x="992759" y="927815"/>
                  </a:cubicBezTo>
                  <a:cubicBezTo>
                    <a:pt x="994346" y="924813"/>
                    <a:pt x="996318" y="921982"/>
                    <a:pt x="998635" y="919452"/>
                  </a:cubicBezTo>
                  <a:cubicBezTo>
                    <a:pt x="999063" y="918637"/>
                    <a:pt x="999621" y="917993"/>
                    <a:pt x="1000522" y="917607"/>
                  </a:cubicBezTo>
                  <a:cubicBezTo>
                    <a:pt x="1002494" y="915720"/>
                    <a:pt x="1004596" y="914047"/>
                    <a:pt x="1006741" y="912761"/>
                  </a:cubicBezTo>
                  <a:cubicBezTo>
                    <a:pt x="1007041" y="912589"/>
                    <a:pt x="1007427" y="912418"/>
                    <a:pt x="1007770" y="912246"/>
                  </a:cubicBezTo>
                  <a:cubicBezTo>
                    <a:pt x="1007942" y="911131"/>
                    <a:pt x="1007984" y="910059"/>
                    <a:pt x="1008242" y="908901"/>
                  </a:cubicBezTo>
                  <a:cubicBezTo>
                    <a:pt x="1010343" y="899336"/>
                    <a:pt x="1017206" y="891659"/>
                    <a:pt x="1024969" y="886470"/>
                  </a:cubicBezTo>
                  <a:cubicBezTo>
                    <a:pt x="1032689" y="881323"/>
                    <a:pt x="1044312" y="880208"/>
                    <a:pt x="1053018" y="882695"/>
                  </a:cubicBezTo>
                  <a:cubicBezTo>
                    <a:pt x="1056021" y="883553"/>
                    <a:pt x="1059194" y="885054"/>
                    <a:pt x="1062240" y="886941"/>
                  </a:cubicBezTo>
                  <a:cubicBezTo>
                    <a:pt x="1064341" y="886599"/>
                    <a:pt x="1066528" y="886341"/>
                    <a:pt x="1068844" y="886341"/>
                  </a:cubicBezTo>
                  <a:cubicBezTo>
                    <a:pt x="1084156" y="886341"/>
                    <a:pt x="1094407" y="894319"/>
                    <a:pt x="1099725" y="905084"/>
                  </a:cubicBezTo>
                  <a:cubicBezTo>
                    <a:pt x="1104099" y="905384"/>
                    <a:pt x="1111519" y="913662"/>
                    <a:pt x="1118167" y="921982"/>
                  </a:cubicBezTo>
                  <a:cubicBezTo>
                    <a:pt x="1127817" y="933948"/>
                    <a:pt x="1132235" y="930517"/>
                    <a:pt x="1146302" y="931375"/>
                  </a:cubicBezTo>
                  <a:cubicBezTo>
                    <a:pt x="1160370" y="932233"/>
                    <a:pt x="1160370" y="927944"/>
                    <a:pt x="1161099" y="917693"/>
                  </a:cubicBezTo>
                  <a:cubicBezTo>
                    <a:pt x="1161657" y="910188"/>
                    <a:pt x="1169677" y="925456"/>
                    <a:pt x="1179413" y="934935"/>
                  </a:cubicBezTo>
                  <a:cubicBezTo>
                    <a:pt x="1181772" y="931675"/>
                    <a:pt x="1184688" y="928844"/>
                    <a:pt x="1188205" y="926614"/>
                  </a:cubicBezTo>
                  <a:cubicBezTo>
                    <a:pt x="1186619" y="925070"/>
                    <a:pt x="1184989" y="923483"/>
                    <a:pt x="1183316" y="921982"/>
                  </a:cubicBezTo>
                  <a:cubicBezTo>
                    <a:pt x="1172937" y="912546"/>
                    <a:pt x="1185546" y="908258"/>
                    <a:pt x="1176625" y="900580"/>
                  </a:cubicBezTo>
                  <a:cubicBezTo>
                    <a:pt x="1167747" y="892860"/>
                    <a:pt x="1187733" y="882567"/>
                    <a:pt x="1205533" y="883467"/>
                  </a:cubicBezTo>
                  <a:cubicBezTo>
                    <a:pt x="1223332" y="884325"/>
                    <a:pt x="1222560" y="889472"/>
                    <a:pt x="1229251" y="877463"/>
                  </a:cubicBezTo>
                  <a:cubicBezTo>
                    <a:pt x="1235898" y="865454"/>
                    <a:pt x="1242589" y="877463"/>
                    <a:pt x="1242589" y="887713"/>
                  </a:cubicBezTo>
                  <a:cubicBezTo>
                    <a:pt x="1242589" y="898007"/>
                    <a:pt x="1271453" y="881709"/>
                    <a:pt x="1287022" y="881709"/>
                  </a:cubicBezTo>
                  <a:cubicBezTo>
                    <a:pt x="1302591" y="881709"/>
                    <a:pt x="1316659" y="897106"/>
                    <a:pt x="1318117" y="907400"/>
                  </a:cubicBezTo>
                  <a:cubicBezTo>
                    <a:pt x="1319618" y="917693"/>
                    <a:pt x="1329997" y="922797"/>
                    <a:pt x="1341106" y="911689"/>
                  </a:cubicBezTo>
                  <a:cubicBezTo>
                    <a:pt x="1352214" y="900580"/>
                    <a:pt x="1361821" y="887713"/>
                    <a:pt x="1372200" y="899680"/>
                  </a:cubicBezTo>
                  <a:cubicBezTo>
                    <a:pt x="1382580" y="911689"/>
                    <a:pt x="1392916" y="927944"/>
                    <a:pt x="1405525" y="942526"/>
                  </a:cubicBezTo>
                  <a:cubicBezTo>
                    <a:pt x="1418135" y="957066"/>
                    <a:pt x="1399607" y="975079"/>
                    <a:pt x="1406254" y="986187"/>
                  </a:cubicBezTo>
                  <a:cubicBezTo>
                    <a:pt x="1412945" y="997338"/>
                    <a:pt x="1405525" y="1012779"/>
                    <a:pt x="1420322" y="1024745"/>
                  </a:cubicBezTo>
                  <a:cubicBezTo>
                    <a:pt x="1427528" y="1030578"/>
                    <a:pt x="1428085" y="1039413"/>
                    <a:pt x="1428128" y="1047390"/>
                  </a:cubicBezTo>
                  <a:cubicBezTo>
                    <a:pt x="1429115" y="1048205"/>
                    <a:pt x="1430015" y="1049020"/>
                    <a:pt x="1430873" y="1049921"/>
                  </a:cubicBezTo>
                  <a:cubicBezTo>
                    <a:pt x="1435891" y="1055068"/>
                    <a:pt x="1439408" y="1062144"/>
                    <a:pt x="1440823" y="1069435"/>
                  </a:cubicBezTo>
                  <a:cubicBezTo>
                    <a:pt x="1449230" y="1077070"/>
                    <a:pt x="1455449" y="1091652"/>
                    <a:pt x="1456649" y="1098386"/>
                  </a:cubicBezTo>
                  <a:cubicBezTo>
                    <a:pt x="1458151" y="1106964"/>
                    <a:pt x="1480367" y="1118115"/>
                    <a:pt x="1481825" y="1103532"/>
                  </a:cubicBezTo>
                  <a:cubicBezTo>
                    <a:pt x="1482383" y="1097914"/>
                    <a:pt x="1484485" y="1091952"/>
                    <a:pt x="1486972" y="1085905"/>
                  </a:cubicBezTo>
                  <a:cubicBezTo>
                    <a:pt x="1486672" y="1084018"/>
                    <a:pt x="1486458" y="1082088"/>
                    <a:pt x="1486458" y="1080158"/>
                  </a:cubicBezTo>
                  <a:cubicBezTo>
                    <a:pt x="1486543" y="1063431"/>
                    <a:pt x="1487315" y="1046790"/>
                    <a:pt x="1485257" y="1030149"/>
                  </a:cubicBezTo>
                  <a:cubicBezTo>
                    <a:pt x="1484399" y="1023287"/>
                    <a:pt x="1486157" y="1016982"/>
                    <a:pt x="1489503" y="1011578"/>
                  </a:cubicBezTo>
                  <a:cubicBezTo>
                    <a:pt x="1489074" y="1009948"/>
                    <a:pt x="1488645" y="1008275"/>
                    <a:pt x="1488216" y="1006689"/>
                  </a:cubicBezTo>
                  <a:cubicBezTo>
                    <a:pt x="1479209" y="999569"/>
                    <a:pt x="1473291" y="988160"/>
                    <a:pt x="1473119" y="976366"/>
                  </a:cubicBezTo>
                  <a:cubicBezTo>
                    <a:pt x="1472947" y="966716"/>
                    <a:pt x="1471489" y="957151"/>
                    <a:pt x="1470932" y="947544"/>
                  </a:cubicBezTo>
                  <a:cubicBezTo>
                    <a:pt x="1470245" y="946257"/>
                    <a:pt x="1469473" y="944885"/>
                    <a:pt x="1468487" y="943384"/>
                  </a:cubicBezTo>
                  <a:cubicBezTo>
                    <a:pt x="1456649" y="925370"/>
                    <a:pt x="1449230" y="893675"/>
                    <a:pt x="1449959" y="867984"/>
                  </a:cubicBezTo>
                  <a:cubicBezTo>
                    <a:pt x="1450173" y="860393"/>
                    <a:pt x="1452618" y="851386"/>
                    <a:pt x="1456264" y="842122"/>
                  </a:cubicBezTo>
                  <a:cubicBezTo>
                    <a:pt x="1451975" y="825138"/>
                    <a:pt x="1458108" y="804980"/>
                    <a:pt x="1474577" y="797174"/>
                  </a:cubicBezTo>
                  <a:cubicBezTo>
                    <a:pt x="1477794" y="790698"/>
                    <a:pt x="1482555" y="785465"/>
                    <a:pt x="1488688" y="781391"/>
                  </a:cubicBezTo>
                  <a:cubicBezTo>
                    <a:pt x="1495379" y="776931"/>
                    <a:pt x="1503527" y="775815"/>
                    <a:pt x="1511333" y="776716"/>
                  </a:cubicBezTo>
                  <a:cubicBezTo>
                    <a:pt x="1514979" y="775215"/>
                    <a:pt x="1517724" y="772985"/>
                    <a:pt x="1518839" y="767795"/>
                  </a:cubicBezTo>
                  <a:cubicBezTo>
                    <a:pt x="1521798" y="754113"/>
                    <a:pt x="1537367" y="736958"/>
                    <a:pt x="1546245" y="736958"/>
                  </a:cubicBezTo>
                  <a:cubicBezTo>
                    <a:pt x="1547532" y="736958"/>
                    <a:pt x="1548819" y="737001"/>
                    <a:pt x="1550105" y="737086"/>
                  </a:cubicBezTo>
                  <a:cubicBezTo>
                    <a:pt x="1544315" y="716757"/>
                    <a:pt x="1553665" y="691152"/>
                    <a:pt x="1578198" y="687849"/>
                  </a:cubicBezTo>
                  <a:cubicBezTo>
                    <a:pt x="1583988" y="680258"/>
                    <a:pt x="1592952" y="675111"/>
                    <a:pt x="1605089" y="674983"/>
                  </a:cubicBezTo>
                  <a:cubicBezTo>
                    <a:pt x="1605004" y="674811"/>
                    <a:pt x="1604875" y="674596"/>
                    <a:pt x="1604789" y="674425"/>
                  </a:cubicBezTo>
                  <a:cubicBezTo>
                    <a:pt x="1599600" y="664131"/>
                    <a:pt x="1609250" y="653881"/>
                    <a:pt x="1612938" y="660700"/>
                  </a:cubicBezTo>
                  <a:cubicBezTo>
                    <a:pt x="1616626" y="667563"/>
                    <a:pt x="1628507" y="668420"/>
                    <a:pt x="1635884" y="662416"/>
                  </a:cubicBezTo>
                  <a:cubicBezTo>
                    <a:pt x="1643304" y="656454"/>
                    <a:pt x="1660331" y="640156"/>
                    <a:pt x="1644033" y="639299"/>
                  </a:cubicBezTo>
                  <a:cubicBezTo>
                    <a:pt x="1627735" y="638441"/>
                    <a:pt x="1624047" y="630721"/>
                    <a:pt x="1633654" y="626432"/>
                  </a:cubicBezTo>
                  <a:cubicBezTo>
                    <a:pt x="1643304" y="622143"/>
                    <a:pt x="1635112" y="601599"/>
                    <a:pt x="1621816" y="599883"/>
                  </a:cubicBezTo>
                  <a:cubicBezTo>
                    <a:pt x="1608478" y="598168"/>
                    <a:pt x="1612938" y="590448"/>
                    <a:pt x="1621087" y="581012"/>
                  </a:cubicBezTo>
                  <a:cubicBezTo>
                    <a:pt x="1629236" y="571576"/>
                    <a:pt x="1609250" y="556179"/>
                    <a:pt x="1599600" y="548459"/>
                  </a:cubicBezTo>
                  <a:cubicBezTo>
                    <a:pt x="1589992" y="540739"/>
                    <a:pt x="1605518" y="536450"/>
                    <a:pt x="1612938" y="534777"/>
                  </a:cubicBezTo>
                  <a:cubicBezTo>
                    <a:pt x="1620358" y="533062"/>
                    <a:pt x="1614439" y="493646"/>
                    <a:pt x="1618128" y="484254"/>
                  </a:cubicBezTo>
                  <a:cubicBezTo>
                    <a:pt x="1621816" y="474861"/>
                    <a:pt x="1634426" y="474861"/>
                    <a:pt x="1629236" y="484254"/>
                  </a:cubicBezTo>
                  <a:cubicBezTo>
                    <a:pt x="1624047" y="493689"/>
                    <a:pt x="1616626" y="509087"/>
                    <a:pt x="1626277" y="521954"/>
                  </a:cubicBezTo>
                  <a:cubicBezTo>
                    <a:pt x="1631509" y="528945"/>
                    <a:pt x="1634683" y="536193"/>
                    <a:pt x="1636013" y="544513"/>
                  </a:cubicBezTo>
                  <a:cubicBezTo>
                    <a:pt x="1636656" y="543698"/>
                    <a:pt x="1637299" y="542884"/>
                    <a:pt x="1637986" y="542112"/>
                  </a:cubicBezTo>
                  <a:cubicBezTo>
                    <a:pt x="1639229" y="540739"/>
                    <a:pt x="1640645" y="539624"/>
                    <a:pt x="1642103" y="538509"/>
                  </a:cubicBezTo>
                  <a:cubicBezTo>
                    <a:pt x="1642146" y="538380"/>
                    <a:pt x="1642189" y="538294"/>
                    <a:pt x="1642232" y="538166"/>
                  </a:cubicBezTo>
                  <a:cubicBezTo>
                    <a:pt x="1642017" y="536622"/>
                    <a:pt x="1641888" y="535078"/>
                    <a:pt x="1641888" y="533619"/>
                  </a:cubicBezTo>
                  <a:cubicBezTo>
                    <a:pt x="1641888" y="525470"/>
                    <a:pt x="1644762" y="517708"/>
                    <a:pt x="1649394" y="511231"/>
                  </a:cubicBezTo>
                  <a:cubicBezTo>
                    <a:pt x="1650209" y="509902"/>
                    <a:pt x="1651024" y="508615"/>
                    <a:pt x="1651710" y="507200"/>
                  </a:cubicBezTo>
                  <a:cubicBezTo>
                    <a:pt x="1651839" y="506942"/>
                    <a:pt x="1652010" y="506685"/>
                    <a:pt x="1652139" y="506428"/>
                  </a:cubicBezTo>
                  <a:cubicBezTo>
                    <a:pt x="1652396" y="505827"/>
                    <a:pt x="1652611" y="505270"/>
                    <a:pt x="1652868" y="504669"/>
                  </a:cubicBezTo>
                  <a:cubicBezTo>
                    <a:pt x="1648021" y="498321"/>
                    <a:pt x="1649437" y="479665"/>
                    <a:pt x="1656599" y="490258"/>
                  </a:cubicBezTo>
                  <a:cubicBezTo>
                    <a:pt x="1657800" y="492060"/>
                    <a:pt x="1658916" y="493475"/>
                    <a:pt x="1659945" y="494762"/>
                  </a:cubicBezTo>
                  <a:cubicBezTo>
                    <a:pt x="1661103" y="493689"/>
                    <a:pt x="1662175" y="492574"/>
                    <a:pt x="1663505" y="491674"/>
                  </a:cubicBezTo>
                  <a:cubicBezTo>
                    <a:pt x="1665092" y="490172"/>
                    <a:pt x="1666850" y="488972"/>
                    <a:pt x="1668651" y="487942"/>
                  </a:cubicBezTo>
                  <a:cubicBezTo>
                    <a:pt x="1668951" y="487642"/>
                    <a:pt x="1669252" y="487385"/>
                    <a:pt x="1669509" y="487127"/>
                  </a:cubicBezTo>
                  <a:cubicBezTo>
                    <a:pt x="1673498" y="483053"/>
                    <a:pt x="1678130" y="480222"/>
                    <a:pt x="1683191" y="478464"/>
                  </a:cubicBezTo>
                  <a:cubicBezTo>
                    <a:pt x="1683534" y="467784"/>
                    <a:pt x="1687737" y="457319"/>
                    <a:pt x="1695672" y="450457"/>
                  </a:cubicBezTo>
                  <a:cubicBezTo>
                    <a:pt x="1696529" y="447498"/>
                    <a:pt x="1697602" y="444667"/>
                    <a:pt x="1699017" y="442222"/>
                  </a:cubicBezTo>
                  <a:cubicBezTo>
                    <a:pt x="1699060" y="442179"/>
                    <a:pt x="1699103" y="442137"/>
                    <a:pt x="1699103" y="442094"/>
                  </a:cubicBezTo>
                  <a:cubicBezTo>
                    <a:pt x="1698760" y="441579"/>
                    <a:pt x="1698545" y="441021"/>
                    <a:pt x="1698073" y="440635"/>
                  </a:cubicBezTo>
                  <a:cubicBezTo>
                    <a:pt x="1690954" y="435403"/>
                    <a:pt x="1699103" y="430127"/>
                    <a:pt x="1711155" y="429484"/>
                  </a:cubicBezTo>
                  <a:cubicBezTo>
                    <a:pt x="1711841" y="429012"/>
                    <a:pt x="1712484" y="428498"/>
                    <a:pt x="1713213" y="428112"/>
                  </a:cubicBezTo>
                  <a:cubicBezTo>
                    <a:pt x="1719346" y="423737"/>
                    <a:pt x="1726509" y="421464"/>
                    <a:pt x="1734100" y="421121"/>
                  </a:cubicBezTo>
                  <a:cubicBezTo>
                    <a:pt x="1735945" y="421035"/>
                    <a:pt x="1737789" y="421207"/>
                    <a:pt x="1739590" y="421464"/>
                  </a:cubicBezTo>
                  <a:cubicBezTo>
                    <a:pt x="1739719" y="421378"/>
                    <a:pt x="1739848" y="421292"/>
                    <a:pt x="1740019" y="421250"/>
                  </a:cubicBezTo>
                  <a:cubicBezTo>
                    <a:pt x="1742292" y="420263"/>
                    <a:pt x="1744522" y="419234"/>
                    <a:pt x="1746796" y="418290"/>
                  </a:cubicBezTo>
                  <a:cubicBezTo>
                    <a:pt x="1752114" y="414601"/>
                    <a:pt x="1758976" y="413444"/>
                    <a:pt x="1765538" y="413787"/>
                  </a:cubicBezTo>
                  <a:cubicBezTo>
                    <a:pt x="1771886" y="397703"/>
                    <a:pt x="1714371" y="421721"/>
                    <a:pt x="1714371" y="412371"/>
                  </a:cubicBezTo>
                  <a:cubicBezTo>
                    <a:pt x="1714371" y="402936"/>
                    <a:pt x="1751385" y="393500"/>
                    <a:pt x="1768455" y="392685"/>
                  </a:cubicBezTo>
                  <a:cubicBezTo>
                    <a:pt x="1785482" y="391827"/>
                    <a:pt x="1777333" y="365279"/>
                    <a:pt x="1784753" y="376387"/>
                  </a:cubicBezTo>
                  <a:cubicBezTo>
                    <a:pt x="1791272" y="386166"/>
                    <a:pt x="1800622" y="386037"/>
                    <a:pt x="1809328" y="381191"/>
                  </a:cubicBezTo>
                  <a:cubicBezTo>
                    <a:pt x="1808985" y="379690"/>
                    <a:pt x="1808856" y="378231"/>
                    <a:pt x="1808728" y="376730"/>
                  </a:cubicBezTo>
                  <a:cubicBezTo>
                    <a:pt x="1805254" y="370812"/>
                    <a:pt x="1803024" y="363735"/>
                    <a:pt x="1803367" y="357344"/>
                  </a:cubicBezTo>
                  <a:cubicBezTo>
                    <a:pt x="1803495" y="354556"/>
                    <a:pt x="1803881" y="351812"/>
                    <a:pt x="1804267" y="349067"/>
                  </a:cubicBezTo>
                  <a:cubicBezTo>
                    <a:pt x="1804182" y="349024"/>
                    <a:pt x="1804096" y="348981"/>
                    <a:pt x="1804010" y="348938"/>
                  </a:cubicBezTo>
                  <a:cubicBezTo>
                    <a:pt x="1796247" y="346536"/>
                    <a:pt x="1803281" y="341647"/>
                    <a:pt x="1806969" y="336286"/>
                  </a:cubicBezTo>
                  <a:cubicBezTo>
                    <a:pt x="1807527" y="334656"/>
                    <a:pt x="1808127" y="333026"/>
                    <a:pt x="1808899" y="331482"/>
                  </a:cubicBezTo>
                  <a:cubicBezTo>
                    <a:pt x="1808899" y="330753"/>
                    <a:pt x="1808813" y="329981"/>
                    <a:pt x="1808471" y="329252"/>
                  </a:cubicBezTo>
                  <a:cubicBezTo>
                    <a:pt x="1808385" y="329038"/>
                    <a:pt x="1808342" y="328780"/>
                    <a:pt x="1808256" y="328566"/>
                  </a:cubicBezTo>
                  <a:cubicBezTo>
                    <a:pt x="1805125" y="322776"/>
                    <a:pt x="1803367" y="315913"/>
                    <a:pt x="1803367" y="309780"/>
                  </a:cubicBezTo>
                  <a:cubicBezTo>
                    <a:pt x="1803367" y="300302"/>
                    <a:pt x="1807398" y="289922"/>
                    <a:pt x="1814046" y="283274"/>
                  </a:cubicBezTo>
                  <a:cubicBezTo>
                    <a:pt x="1820908" y="276369"/>
                    <a:pt x="1828971" y="272638"/>
                    <a:pt x="1838236" y="271523"/>
                  </a:cubicBezTo>
                  <a:cubicBezTo>
                    <a:pt x="1843425" y="263974"/>
                    <a:pt x="1851488" y="258527"/>
                    <a:pt x="1862511" y="257455"/>
                  </a:cubicBezTo>
                  <a:cubicBezTo>
                    <a:pt x="1863712" y="257112"/>
                    <a:pt x="1864870" y="256769"/>
                    <a:pt x="1866114" y="256554"/>
                  </a:cubicBezTo>
                  <a:cubicBezTo>
                    <a:pt x="1868215" y="252780"/>
                    <a:pt x="1870574" y="248834"/>
                    <a:pt x="1873662" y="245275"/>
                  </a:cubicBezTo>
                  <a:cubicBezTo>
                    <a:pt x="1884041" y="233266"/>
                    <a:pt x="1898838" y="264103"/>
                    <a:pt x="1915136" y="246990"/>
                  </a:cubicBezTo>
                  <a:cubicBezTo>
                    <a:pt x="1921784" y="239956"/>
                    <a:pt x="1930834" y="232150"/>
                    <a:pt x="1940098" y="225374"/>
                  </a:cubicBezTo>
                  <a:cubicBezTo>
                    <a:pt x="1902098" y="167345"/>
                    <a:pt x="1912820" y="128530"/>
                    <a:pt x="1911920" y="117979"/>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50" name="Freeform: Shape 240">
              <a:extLst>
                <a:ext uri="{FF2B5EF4-FFF2-40B4-BE49-F238E27FC236}">
                  <a16:creationId xmlns:a16="http://schemas.microsoft.com/office/drawing/2014/main" id="{186DADCD-C6C7-9764-7679-A95A0214F6CE}"/>
                </a:ext>
              </a:extLst>
            </p:cNvPr>
            <p:cNvSpPr/>
            <p:nvPr/>
          </p:nvSpPr>
          <p:spPr>
            <a:xfrm>
              <a:off x="2677542" y="1862102"/>
              <a:ext cx="990662" cy="774160"/>
            </a:xfrm>
            <a:custGeom>
              <a:avLst/>
              <a:gdLst>
                <a:gd name="connsiteX0" fmla="*/ 1277386 w 1295257"/>
                <a:gd name="connsiteY0" fmla="*/ 953043 h 1012187"/>
                <a:gd name="connsiteX1" fmla="*/ 1245777 w 1295257"/>
                <a:gd name="connsiteY1" fmla="*/ 911912 h 1012187"/>
                <a:gd name="connsiteX2" fmla="*/ 1186504 w 1295257"/>
                <a:gd name="connsiteY2" fmla="*/ 830809 h 1012187"/>
                <a:gd name="connsiteX3" fmla="*/ 1114407 w 1295257"/>
                <a:gd name="connsiteY3" fmla="*/ 736066 h 1012187"/>
                <a:gd name="connsiteX4" fmla="*/ 1068987 w 1295257"/>
                <a:gd name="connsiteY4" fmla="*/ 733750 h 1012187"/>
                <a:gd name="connsiteX5" fmla="*/ 1038364 w 1295257"/>
                <a:gd name="connsiteY5" fmla="*/ 761199 h 1012187"/>
                <a:gd name="connsiteX6" fmla="*/ 1012673 w 1295257"/>
                <a:gd name="connsiteY6" fmla="*/ 741771 h 1012187"/>
                <a:gd name="connsiteX7" fmla="*/ 979091 w 1295257"/>
                <a:gd name="connsiteY7" fmla="*/ 702956 h 1012187"/>
                <a:gd name="connsiteX8" fmla="*/ 956403 w 1295257"/>
                <a:gd name="connsiteY8" fmla="*/ 683570 h 1012187"/>
                <a:gd name="connsiteX9" fmla="*/ 925780 w 1295257"/>
                <a:gd name="connsiteY9" fmla="*/ 690432 h 1012187"/>
                <a:gd name="connsiteX10" fmla="*/ 908024 w 1295257"/>
                <a:gd name="connsiteY10" fmla="*/ 686229 h 1012187"/>
                <a:gd name="connsiteX11" fmla="*/ 908024 w 1295257"/>
                <a:gd name="connsiteY11" fmla="*/ 94228 h 1012187"/>
                <a:gd name="connsiteX12" fmla="*/ 892712 w 1295257"/>
                <a:gd name="connsiteY12" fmla="*/ 90582 h 1012187"/>
                <a:gd name="connsiteX13" fmla="*/ 826362 w 1295257"/>
                <a:gd name="connsiteY13" fmla="*/ 67722 h 1012187"/>
                <a:gd name="connsiteX14" fmla="*/ 804060 w 1295257"/>
                <a:gd name="connsiteY14" fmla="*/ 90368 h 1012187"/>
                <a:gd name="connsiteX15" fmla="*/ 737110 w 1295257"/>
                <a:gd name="connsiteY15" fmla="*/ 77630 h 1012187"/>
                <a:gd name="connsiteX16" fmla="*/ 697223 w 1295257"/>
                <a:gd name="connsiteY16" fmla="*/ 112885 h 1012187"/>
                <a:gd name="connsiteX17" fmla="*/ 654205 w 1295257"/>
                <a:gd name="connsiteY17" fmla="*/ 90539 h 1012187"/>
                <a:gd name="connsiteX18" fmla="*/ 632417 w 1295257"/>
                <a:gd name="connsiteY18" fmla="*/ 75357 h 1012187"/>
                <a:gd name="connsiteX19" fmla="*/ 626713 w 1295257"/>
                <a:gd name="connsiteY19" fmla="*/ 69309 h 1012187"/>
                <a:gd name="connsiteX20" fmla="*/ 578333 w 1295257"/>
                <a:gd name="connsiteY20" fmla="*/ 65320 h 1012187"/>
                <a:gd name="connsiteX21" fmla="*/ 554315 w 1295257"/>
                <a:gd name="connsiteY21" fmla="*/ 43790 h 1012187"/>
                <a:gd name="connsiteX22" fmla="*/ 550541 w 1295257"/>
                <a:gd name="connsiteY22" fmla="*/ 45162 h 1012187"/>
                <a:gd name="connsiteX23" fmla="*/ 529054 w 1295257"/>
                <a:gd name="connsiteY23" fmla="*/ 34011 h 1012187"/>
                <a:gd name="connsiteX24" fmla="*/ 518674 w 1295257"/>
                <a:gd name="connsiteY24" fmla="*/ 14325 h 1012187"/>
                <a:gd name="connsiteX25" fmla="*/ 460903 w 1295257"/>
                <a:gd name="connsiteY25" fmla="*/ 15183 h 1012187"/>
                <a:gd name="connsiteX26" fmla="*/ 445205 w 1295257"/>
                <a:gd name="connsiteY26" fmla="*/ 6433 h 1012187"/>
                <a:gd name="connsiteX27" fmla="*/ 421316 w 1295257"/>
                <a:gd name="connsiteY27" fmla="*/ 11452 h 1012187"/>
                <a:gd name="connsiteX28" fmla="*/ 412781 w 1295257"/>
                <a:gd name="connsiteY28" fmla="*/ 14025 h 1012187"/>
                <a:gd name="connsiteX29" fmla="*/ 348704 w 1295257"/>
                <a:gd name="connsiteY29" fmla="*/ 40316 h 1012187"/>
                <a:gd name="connsiteX30" fmla="*/ 311347 w 1295257"/>
                <a:gd name="connsiteY30" fmla="*/ 70296 h 1012187"/>
                <a:gd name="connsiteX31" fmla="*/ 279781 w 1295257"/>
                <a:gd name="connsiteY31" fmla="*/ 72826 h 1012187"/>
                <a:gd name="connsiteX32" fmla="*/ 276650 w 1295257"/>
                <a:gd name="connsiteY32" fmla="*/ 74156 h 1012187"/>
                <a:gd name="connsiteX33" fmla="*/ 153000 w 1295257"/>
                <a:gd name="connsiteY33" fmla="*/ 130126 h 1012187"/>
                <a:gd name="connsiteX34" fmla="*/ 150598 w 1295257"/>
                <a:gd name="connsiteY34" fmla="*/ 133343 h 1012187"/>
                <a:gd name="connsiteX35" fmla="*/ 135887 w 1295257"/>
                <a:gd name="connsiteY35" fmla="*/ 144580 h 1012187"/>
                <a:gd name="connsiteX36" fmla="*/ 115601 w 1295257"/>
                <a:gd name="connsiteY36" fmla="*/ 161221 h 1012187"/>
                <a:gd name="connsiteX37" fmla="*/ 107409 w 1295257"/>
                <a:gd name="connsiteY37" fmla="*/ 167826 h 1012187"/>
                <a:gd name="connsiteX38" fmla="*/ 77215 w 1295257"/>
                <a:gd name="connsiteY38" fmla="*/ 172672 h 1012187"/>
                <a:gd name="connsiteX39" fmla="*/ 63705 w 1295257"/>
                <a:gd name="connsiteY39" fmla="*/ 179106 h 1012187"/>
                <a:gd name="connsiteX40" fmla="*/ 55899 w 1295257"/>
                <a:gd name="connsiteY40" fmla="*/ 182365 h 1012187"/>
                <a:gd name="connsiteX41" fmla="*/ 88495 w 1295257"/>
                <a:gd name="connsiteY41" fmla="*/ 202523 h 1012187"/>
                <a:gd name="connsiteX42" fmla="*/ 112084 w 1295257"/>
                <a:gd name="connsiteY42" fmla="*/ 200550 h 1012187"/>
                <a:gd name="connsiteX43" fmla="*/ 151242 w 1295257"/>
                <a:gd name="connsiteY43" fmla="*/ 224483 h 1012187"/>
                <a:gd name="connsiteX44" fmla="*/ 170885 w 1295257"/>
                <a:gd name="connsiteY44" fmla="*/ 246742 h 1012187"/>
                <a:gd name="connsiteX45" fmla="*/ 204038 w 1295257"/>
                <a:gd name="connsiteY45" fmla="*/ 272862 h 1012187"/>
                <a:gd name="connsiteX46" fmla="*/ 205368 w 1295257"/>
                <a:gd name="connsiteY46" fmla="*/ 272948 h 1012187"/>
                <a:gd name="connsiteX47" fmla="*/ 216476 w 1295257"/>
                <a:gd name="connsiteY47" fmla="*/ 306358 h 1012187"/>
                <a:gd name="connsiteX48" fmla="*/ 252032 w 1295257"/>
                <a:gd name="connsiteY48" fmla="*/ 314936 h 1012187"/>
                <a:gd name="connsiteX49" fmla="*/ 212016 w 1295257"/>
                <a:gd name="connsiteY49" fmla="*/ 327803 h 1012187"/>
                <a:gd name="connsiteX50" fmla="*/ 183880 w 1295257"/>
                <a:gd name="connsiteY50" fmla="*/ 337239 h 1012187"/>
                <a:gd name="connsiteX51" fmla="*/ 140905 w 1295257"/>
                <a:gd name="connsiteY51" fmla="*/ 335523 h 1012187"/>
                <a:gd name="connsiteX52" fmla="*/ 140605 w 1295257"/>
                <a:gd name="connsiteY52" fmla="*/ 310819 h 1012187"/>
                <a:gd name="connsiteX53" fmla="*/ 120747 w 1295257"/>
                <a:gd name="connsiteY53" fmla="*/ 301212 h 1012187"/>
                <a:gd name="connsiteX54" fmla="*/ 99389 w 1295257"/>
                <a:gd name="connsiteY54" fmla="*/ 310690 h 1012187"/>
                <a:gd name="connsiteX55" fmla="*/ 80860 w 1295257"/>
                <a:gd name="connsiteY55" fmla="*/ 333808 h 1012187"/>
                <a:gd name="connsiteX56" fmla="*/ 51996 w 1295257"/>
                <a:gd name="connsiteY56" fmla="*/ 337239 h 1012187"/>
                <a:gd name="connsiteX57" fmla="*/ 6791 w 1295257"/>
                <a:gd name="connsiteY57" fmla="*/ 367218 h 1012187"/>
                <a:gd name="connsiteX58" fmla="*/ 54955 w 1295257"/>
                <a:gd name="connsiteY58" fmla="*/ 389478 h 1012187"/>
                <a:gd name="connsiteX59" fmla="*/ 49036 w 1295257"/>
                <a:gd name="connsiteY59" fmla="*/ 408306 h 1012187"/>
                <a:gd name="connsiteX60" fmla="*/ 74213 w 1295257"/>
                <a:gd name="connsiteY60" fmla="*/ 436570 h 1012187"/>
                <a:gd name="connsiteX61" fmla="*/ 87851 w 1295257"/>
                <a:gd name="connsiteY61" fmla="*/ 440816 h 1012187"/>
                <a:gd name="connsiteX62" fmla="*/ 93727 w 1295257"/>
                <a:gd name="connsiteY62" fmla="*/ 439701 h 1012187"/>
                <a:gd name="connsiteX63" fmla="*/ 111998 w 1295257"/>
                <a:gd name="connsiteY63" fmla="*/ 434340 h 1012187"/>
                <a:gd name="connsiteX64" fmla="*/ 124136 w 1295257"/>
                <a:gd name="connsiteY64" fmla="*/ 434340 h 1012187"/>
                <a:gd name="connsiteX65" fmla="*/ 137946 w 1295257"/>
                <a:gd name="connsiteY65" fmla="*/ 437299 h 1012187"/>
                <a:gd name="connsiteX66" fmla="*/ 145280 w 1295257"/>
                <a:gd name="connsiteY66" fmla="*/ 436570 h 1012187"/>
                <a:gd name="connsiteX67" fmla="*/ 158919 w 1295257"/>
                <a:gd name="connsiteY67" fmla="*/ 441674 h 1012187"/>
                <a:gd name="connsiteX68" fmla="*/ 166039 w 1295257"/>
                <a:gd name="connsiteY68" fmla="*/ 444591 h 1012187"/>
                <a:gd name="connsiteX69" fmla="*/ 175646 w 1295257"/>
                <a:gd name="connsiteY69" fmla="*/ 440816 h 1012187"/>
                <a:gd name="connsiteX70" fmla="*/ 234919 w 1295257"/>
                <a:gd name="connsiteY70" fmla="*/ 416841 h 1012187"/>
                <a:gd name="connsiteX71" fmla="*/ 225269 w 1295257"/>
                <a:gd name="connsiteY71" fmla="*/ 443390 h 1012187"/>
                <a:gd name="connsiteX72" fmla="*/ 228957 w 1295257"/>
                <a:gd name="connsiteY72" fmla="*/ 494771 h 1012187"/>
                <a:gd name="connsiteX73" fmla="*/ 188212 w 1295257"/>
                <a:gd name="connsiteY73" fmla="*/ 498202 h 1012187"/>
                <a:gd name="connsiteX74" fmla="*/ 184824 w 1295257"/>
                <a:gd name="connsiteY74" fmla="*/ 499403 h 1012187"/>
                <a:gd name="connsiteX75" fmla="*/ 181264 w 1295257"/>
                <a:gd name="connsiteY75" fmla="*/ 509010 h 1012187"/>
                <a:gd name="connsiteX76" fmla="*/ 170456 w 1295257"/>
                <a:gd name="connsiteY76" fmla="*/ 529897 h 1012187"/>
                <a:gd name="connsiteX77" fmla="*/ 149355 w 1295257"/>
                <a:gd name="connsiteY77" fmla="*/ 526809 h 1012187"/>
                <a:gd name="connsiteX78" fmla="*/ 126752 w 1295257"/>
                <a:gd name="connsiteY78" fmla="*/ 517459 h 1012187"/>
                <a:gd name="connsiteX79" fmla="*/ 121820 w 1295257"/>
                <a:gd name="connsiteY79" fmla="*/ 517931 h 1012187"/>
                <a:gd name="connsiteX80" fmla="*/ 119332 w 1295257"/>
                <a:gd name="connsiteY80" fmla="*/ 519818 h 1012187"/>
                <a:gd name="connsiteX81" fmla="*/ 126537 w 1295257"/>
                <a:gd name="connsiteY81" fmla="*/ 541906 h 1012187"/>
                <a:gd name="connsiteX82" fmla="*/ 126537 w 1295257"/>
                <a:gd name="connsiteY82" fmla="*/ 546925 h 1012187"/>
                <a:gd name="connsiteX83" fmla="*/ 115858 w 1295257"/>
                <a:gd name="connsiteY83" fmla="*/ 573473 h 1012187"/>
                <a:gd name="connsiteX84" fmla="*/ 96815 w 1295257"/>
                <a:gd name="connsiteY84" fmla="*/ 583638 h 1012187"/>
                <a:gd name="connsiteX85" fmla="*/ 96086 w 1295257"/>
                <a:gd name="connsiteY85" fmla="*/ 599421 h 1012187"/>
                <a:gd name="connsiteX86" fmla="*/ 79359 w 1295257"/>
                <a:gd name="connsiteY86" fmla="*/ 621852 h 1012187"/>
                <a:gd name="connsiteX87" fmla="*/ 70953 w 1295257"/>
                <a:gd name="connsiteY87" fmla="*/ 626784 h 1012187"/>
                <a:gd name="connsiteX88" fmla="*/ 95657 w 1295257"/>
                <a:gd name="connsiteY88" fmla="*/ 641324 h 1012187"/>
                <a:gd name="connsiteX89" fmla="*/ 94156 w 1295257"/>
                <a:gd name="connsiteY89" fmla="*/ 678166 h 1012187"/>
                <a:gd name="connsiteX90" fmla="*/ 121648 w 1295257"/>
                <a:gd name="connsiteY90" fmla="*/ 704929 h 1012187"/>
                <a:gd name="connsiteX91" fmla="*/ 136230 w 1295257"/>
                <a:gd name="connsiteY91" fmla="*/ 702012 h 1012187"/>
                <a:gd name="connsiteX92" fmla="*/ 166081 w 1295257"/>
                <a:gd name="connsiteY92" fmla="*/ 718739 h 1012187"/>
                <a:gd name="connsiteX93" fmla="*/ 174874 w 1295257"/>
                <a:gd name="connsiteY93" fmla="*/ 716680 h 1012187"/>
                <a:gd name="connsiteX94" fmla="*/ 191901 w 1295257"/>
                <a:gd name="connsiteY94" fmla="*/ 700425 h 1012187"/>
                <a:gd name="connsiteX95" fmla="*/ 205239 w 1295257"/>
                <a:gd name="connsiteY95" fmla="*/ 744087 h 1012187"/>
                <a:gd name="connsiteX96" fmla="*/ 202366 w 1295257"/>
                <a:gd name="connsiteY96" fmla="*/ 780457 h 1012187"/>
                <a:gd name="connsiteX97" fmla="*/ 209056 w 1295257"/>
                <a:gd name="connsiteY97" fmla="*/ 779513 h 1012187"/>
                <a:gd name="connsiteX98" fmla="*/ 213474 w 1295257"/>
                <a:gd name="connsiteY98" fmla="*/ 779685 h 1012187"/>
                <a:gd name="connsiteX99" fmla="*/ 217420 w 1295257"/>
                <a:gd name="connsiteY99" fmla="*/ 777111 h 1012187"/>
                <a:gd name="connsiteX100" fmla="*/ 229257 w 1295257"/>
                <a:gd name="connsiteY100" fmla="*/ 772136 h 1012187"/>
                <a:gd name="connsiteX101" fmla="*/ 236763 w 1295257"/>
                <a:gd name="connsiteY101" fmla="*/ 767976 h 1012187"/>
                <a:gd name="connsiteX102" fmla="*/ 282354 w 1295257"/>
                <a:gd name="connsiteY102" fmla="*/ 763601 h 1012187"/>
                <a:gd name="connsiteX103" fmla="*/ 284156 w 1295257"/>
                <a:gd name="connsiteY103" fmla="*/ 763087 h 1012187"/>
                <a:gd name="connsiteX104" fmla="*/ 313492 w 1295257"/>
                <a:gd name="connsiteY104" fmla="*/ 746960 h 1012187"/>
                <a:gd name="connsiteX105" fmla="*/ 339268 w 1295257"/>
                <a:gd name="connsiteY105" fmla="*/ 757940 h 1012187"/>
                <a:gd name="connsiteX106" fmla="*/ 349219 w 1295257"/>
                <a:gd name="connsiteY106" fmla="*/ 776983 h 1012187"/>
                <a:gd name="connsiteX107" fmla="*/ 355609 w 1295257"/>
                <a:gd name="connsiteY107" fmla="*/ 773980 h 1012187"/>
                <a:gd name="connsiteX108" fmla="*/ 356338 w 1295257"/>
                <a:gd name="connsiteY108" fmla="*/ 791951 h 1012187"/>
                <a:gd name="connsiteX109" fmla="*/ 344501 w 1295257"/>
                <a:gd name="connsiteY109" fmla="*/ 853626 h 1012187"/>
                <a:gd name="connsiteX110" fmla="*/ 303756 w 1295257"/>
                <a:gd name="connsiteY110" fmla="*/ 894757 h 1012187"/>
                <a:gd name="connsiteX111" fmla="*/ 247485 w 1295257"/>
                <a:gd name="connsiteY111" fmla="*/ 946181 h 1012187"/>
                <a:gd name="connsiteX112" fmla="*/ 195632 w 1295257"/>
                <a:gd name="connsiteY112" fmla="*/ 952186 h 1012187"/>
                <a:gd name="connsiteX113" fmla="*/ 171185 w 1295257"/>
                <a:gd name="connsiteY113" fmla="*/ 994174 h 1012187"/>
                <a:gd name="connsiteX114" fmla="*/ 211158 w 1295257"/>
                <a:gd name="connsiteY114" fmla="*/ 969298 h 1012187"/>
                <a:gd name="connsiteX115" fmla="*/ 222996 w 1295257"/>
                <a:gd name="connsiteY115" fmla="*/ 968441 h 1012187"/>
                <a:gd name="connsiteX116" fmla="*/ 250402 w 1295257"/>
                <a:gd name="connsiteY116" fmla="*/ 958147 h 1012187"/>
                <a:gd name="connsiteX117" fmla="*/ 274849 w 1295257"/>
                <a:gd name="connsiteY117" fmla="*/ 954716 h 1012187"/>
                <a:gd name="connsiteX118" fmla="*/ 304485 w 1295257"/>
                <a:gd name="connsiteY118" fmla="*/ 940991 h 1012187"/>
                <a:gd name="connsiteX119" fmla="*/ 324472 w 1295257"/>
                <a:gd name="connsiteY119" fmla="*/ 917874 h 1012187"/>
                <a:gd name="connsiteX120" fmla="*/ 385203 w 1295257"/>
                <a:gd name="connsiteY120" fmla="*/ 877601 h 1012187"/>
                <a:gd name="connsiteX121" fmla="*/ 398541 w 1295257"/>
                <a:gd name="connsiteY121" fmla="*/ 857014 h 1012187"/>
                <a:gd name="connsiteX122" fmla="*/ 435555 w 1295257"/>
                <a:gd name="connsiteY122" fmla="*/ 830466 h 1012187"/>
                <a:gd name="connsiteX123" fmla="*/ 460731 w 1295257"/>
                <a:gd name="connsiteY123" fmla="*/ 819314 h 1012187"/>
                <a:gd name="connsiteX124" fmla="*/ 472568 w 1295257"/>
                <a:gd name="connsiteY124" fmla="*/ 791050 h 1012187"/>
                <a:gd name="connsiteX125" fmla="*/ 489595 w 1295257"/>
                <a:gd name="connsiteY125" fmla="*/ 771364 h 1012187"/>
                <a:gd name="connsiteX126" fmla="*/ 462918 w 1295257"/>
                <a:gd name="connsiteY126" fmla="*/ 755967 h 1012187"/>
                <a:gd name="connsiteX127" fmla="*/ 490325 w 1295257"/>
                <a:gd name="connsiteY127" fmla="*/ 728518 h 1012187"/>
                <a:gd name="connsiteX128" fmla="*/ 512541 w 1295257"/>
                <a:gd name="connsiteY128" fmla="*/ 705400 h 1012187"/>
                <a:gd name="connsiteX129" fmla="*/ 534758 w 1295257"/>
                <a:gd name="connsiteY129" fmla="*/ 677136 h 1012187"/>
                <a:gd name="connsiteX130" fmla="*/ 551785 w 1295257"/>
                <a:gd name="connsiteY130" fmla="*/ 654019 h 1012187"/>
                <a:gd name="connsiteX131" fmla="*/ 580649 w 1295257"/>
                <a:gd name="connsiteY131" fmla="*/ 630902 h 1012187"/>
                <a:gd name="connsiteX132" fmla="*/ 600636 w 1295257"/>
                <a:gd name="connsiteY132" fmla="*/ 640337 h 1012187"/>
                <a:gd name="connsiteX133" fmla="*/ 601365 w 1295257"/>
                <a:gd name="connsiteY133" fmla="*/ 654877 h 1012187"/>
                <a:gd name="connsiteX134" fmla="*/ 566582 w 1295257"/>
                <a:gd name="connsiteY134" fmla="*/ 662554 h 1012187"/>
                <a:gd name="connsiteX135" fmla="*/ 553243 w 1295257"/>
                <a:gd name="connsiteY135" fmla="*/ 697680 h 1012187"/>
                <a:gd name="connsiteX136" fmla="*/ 555473 w 1295257"/>
                <a:gd name="connsiteY136" fmla="*/ 725944 h 1012187"/>
                <a:gd name="connsiteX137" fmla="*/ 543636 w 1295257"/>
                <a:gd name="connsiteY137" fmla="*/ 743057 h 1012187"/>
                <a:gd name="connsiteX138" fmla="*/ 556975 w 1295257"/>
                <a:gd name="connsiteY138" fmla="*/ 755924 h 1012187"/>
                <a:gd name="connsiteX139" fmla="*/ 622895 w 1295257"/>
                <a:gd name="connsiteY139" fmla="*/ 713935 h 1012187"/>
                <a:gd name="connsiteX140" fmla="*/ 671060 w 1295257"/>
                <a:gd name="connsiteY140" fmla="*/ 711362 h 1012187"/>
                <a:gd name="connsiteX141" fmla="*/ 671789 w 1295257"/>
                <a:gd name="connsiteY141" fmla="*/ 691676 h 1012187"/>
                <a:gd name="connsiteX142" fmla="*/ 656992 w 1295257"/>
                <a:gd name="connsiteY142" fmla="*/ 668559 h 1012187"/>
                <a:gd name="connsiteX143" fmla="*/ 668101 w 1295257"/>
                <a:gd name="connsiteY143" fmla="*/ 649730 h 1012187"/>
                <a:gd name="connsiteX144" fmla="*/ 686629 w 1295257"/>
                <a:gd name="connsiteY144" fmla="*/ 648015 h 1012187"/>
                <a:gd name="connsiteX145" fmla="*/ 711076 w 1295257"/>
                <a:gd name="connsiteY145" fmla="*/ 658308 h 1012187"/>
                <a:gd name="connsiteX146" fmla="*/ 736981 w 1295257"/>
                <a:gd name="connsiteY146" fmla="*/ 665127 h 1012187"/>
                <a:gd name="connsiteX147" fmla="*/ 722184 w 1295257"/>
                <a:gd name="connsiteY147" fmla="*/ 677994 h 1012187"/>
                <a:gd name="connsiteX148" fmla="*/ 725873 w 1295257"/>
                <a:gd name="connsiteY148" fmla="*/ 691719 h 1012187"/>
                <a:gd name="connsiteX149" fmla="*/ 752550 w 1295257"/>
                <a:gd name="connsiteY149" fmla="*/ 685714 h 1012187"/>
                <a:gd name="connsiteX150" fmla="*/ 772536 w 1295257"/>
                <a:gd name="connsiteY150" fmla="*/ 682283 h 1012187"/>
                <a:gd name="connsiteX151" fmla="*/ 779956 w 1295257"/>
                <a:gd name="connsiteY151" fmla="*/ 689531 h 1012187"/>
                <a:gd name="connsiteX152" fmla="*/ 787891 w 1295257"/>
                <a:gd name="connsiteY152" fmla="*/ 677179 h 1012187"/>
                <a:gd name="connsiteX153" fmla="*/ 813624 w 1295257"/>
                <a:gd name="connsiteY153" fmla="*/ 666200 h 1012187"/>
                <a:gd name="connsiteX154" fmla="*/ 839358 w 1295257"/>
                <a:gd name="connsiteY154" fmla="*/ 677179 h 1012187"/>
                <a:gd name="connsiteX155" fmla="*/ 853769 w 1295257"/>
                <a:gd name="connsiteY155" fmla="*/ 696780 h 1012187"/>
                <a:gd name="connsiteX156" fmla="*/ 854841 w 1295257"/>
                <a:gd name="connsiteY156" fmla="*/ 698023 h 1012187"/>
                <a:gd name="connsiteX157" fmla="*/ 873712 w 1295257"/>
                <a:gd name="connsiteY157" fmla="*/ 692448 h 1012187"/>
                <a:gd name="connsiteX158" fmla="*/ 886322 w 1295257"/>
                <a:gd name="connsiteY158" fmla="*/ 694549 h 1012187"/>
                <a:gd name="connsiteX159" fmla="*/ 900561 w 1295257"/>
                <a:gd name="connsiteY159" fmla="*/ 702484 h 1012187"/>
                <a:gd name="connsiteX160" fmla="*/ 912698 w 1295257"/>
                <a:gd name="connsiteY160" fmla="*/ 715994 h 1012187"/>
                <a:gd name="connsiteX161" fmla="*/ 919947 w 1295257"/>
                <a:gd name="connsiteY161" fmla="*/ 723757 h 1012187"/>
                <a:gd name="connsiteX162" fmla="*/ 920376 w 1295257"/>
                <a:gd name="connsiteY162" fmla="*/ 724315 h 1012187"/>
                <a:gd name="connsiteX163" fmla="*/ 960606 w 1295257"/>
                <a:gd name="connsiteY163" fmla="*/ 708832 h 1012187"/>
                <a:gd name="connsiteX164" fmla="*/ 953958 w 1295257"/>
                <a:gd name="connsiteY164" fmla="*/ 732807 h 1012187"/>
                <a:gd name="connsiteX165" fmla="*/ 967297 w 1295257"/>
                <a:gd name="connsiteY165" fmla="*/ 745288 h 1012187"/>
                <a:gd name="connsiteX166" fmla="*/ 983123 w 1295257"/>
                <a:gd name="connsiteY166" fmla="*/ 750134 h 1012187"/>
                <a:gd name="connsiteX167" fmla="*/ 997662 w 1295257"/>
                <a:gd name="connsiteY167" fmla="*/ 759484 h 1012187"/>
                <a:gd name="connsiteX168" fmla="*/ 1004482 w 1295257"/>
                <a:gd name="connsiteY168" fmla="*/ 764116 h 1012187"/>
                <a:gd name="connsiteX169" fmla="*/ 1028714 w 1295257"/>
                <a:gd name="connsiteY169" fmla="*/ 774753 h 1012187"/>
                <a:gd name="connsiteX170" fmla="*/ 1043983 w 1295257"/>
                <a:gd name="connsiteY170" fmla="*/ 793838 h 1012187"/>
                <a:gd name="connsiteX171" fmla="*/ 1050716 w 1295257"/>
                <a:gd name="connsiteY171" fmla="*/ 806534 h 1012187"/>
                <a:gd name="connsiteX172" fmla="*/ 1068001 w 1295257"/>
                <a:gd name="connsiteY172" fmla="*/ 786761 h 1012187"/>
                <a:gd name="connsiteX173" fmla="*/ 1094678 w 1295257"/>
                <a:gd name="connsiteY173" fmla="*/ 803017 h 1012187"/>
                <a:gd name="connsiteX174" fmla="*/ 1097637 w 1295257"/>
                <a:gd name="connsiteY174" fmla="*/ 770464 h 1012187"/>
                <a:gd name="connsiteX175" fmla="*/ 1110976 w 1295257"/>
                <a:gd name="connsiteY175" fmla="*/ 773895 h 1012187"/>
                <a:gd name="connsiteX176" fmla="*/ 1113206 w 1295257"/>
                <a:gd name="connsiteY176" fmla="*/ 824418 h 1012187"/>
                <a:gd name="connsiteX177" fmla="*/ 1088759 w 1295257"/>
                <a:gd name="connsiteY177" fmla="*/ 818457 h 1012187"/>
                <a:gd name="connsiteX178" fmla="*/ 1065813 w 1295257"/>
                <a:gd name="connsiteY178" fmla="*/ 825276 h 1012187"/>
                <a:gd name="connsiteX179" fmla="*/ 1093220 w 1295257"/>
                <a:gd name="connsiteY179" fmla="*/ 862976 h 1012187"/>
                <a:gd name="connsiteX180" fmla="*/ 1103599 w 1295257"/>
                <a:gd name="connsiteY180" fmla="*/ 889524 h 1012187"/>
                <a:gd name="connsiteX181" fmla="*/ 1119168 w 1295257"/>
                <a:gd name="connsiteY181" fmla="*/ 911784 h 1012187"/>
                <a:gd name="connsiteX182" fmla="*/ 1116208 w 1295257"/>
                <a:gd name="connsiteY182" fmla="*/ 869838 h 1012187"/>
                <a:gd name="connsiteX183" fmla="*/ 1121398 w 1295257"/>
                <a:gd name="connsiteY183" fmla="*/ 844104 h 1012187"/>
                <a:gd name="connsiteX184" fmla="*/ 1125858 w 1295257"/>
                <a:gd name="connsiteY184" fmla="*/ 871511 h 1012187"/>
                <a:gd name="connsiteX185" fmla="*/ 1145845 w 1295257"/>
                <a:gd name="connsiteY185" fmla="*/ 858687 h 1012187"/>
                <a:gd name="connsiteX186" fmla="*/ 1145116 w 1295257"/>
                <a:gd name="connsiteY186" fmla="*/ 821845 h 1012187"/>
                <a:gd name="connsiteX187" fmla="*/ 1165102 w 1295257"/>
                <a:gd name="connsiteY187" fmla="*/ 848393 h 1012187"/>
                <a:gd name="connsiteX188" fmla="*/ 1153994 w 1295257"/>
                <a:gd name="connsiteY188" fmla="*/ 874985 h 1012187"/>
                <a:gd name="connsiteX189" fmla="*/ 1135466 w 1295257"/>
                <a:gd name="connsiteY189" fmla="*/ 885278 h 1012187"/>
                <a:gd name="connsiteX190" fmla="*/ 1139197 w 1295257"/>
                <a:gd name="connsiteY190" fmla="*/ 925551 h 1012187"/>
                <a:gd name="connsiteX191" fmla="*/ 1152536 w 1295257"/>
                <a:gd name="connsiteY191" fmla="*/ 911827 h 1012187"/>
                <a:gd name="connsiteX192" fmla="*/ 1174023 w 1295257"/>
                <a:gd name="connsiteY192" fmla="*/ 906680 h 1012187"/>
                <a:gd name="connsiteX193" fmla="*/ 1202158 w 1295257"/>
                <a:gd name="connsiteY193" fmla="*/ 932371 h 1012187"/>
                <a:gd name="connsiteX194" fmla="*/ 1188820 w 1295257"/>
                <a:gd name="connsiteY194" fmla="*/ 913542 h 1012187"/>
                <a:gd name="connsiteX195" fmla="*/ 1189549 w 1295257"/>
                <a:gd name="connsiteY195" fmla="*/ 892098 h 1012187"/>
                <a:gd name="connsiteX196" fmla="*/ 1215497 w 1295257"/>
                <a:gd name="connsiteY196" fmla="*/ 930655 h 1012187"/>
                <a:gd name="connsiteX197" fmla="*/ 1198470 w 1295257"/>
                <a:gd name="connsiteY197" fmla="*/ 950384 h 1012187"/>
                <a:gd name="connsiteX198" fmla="*/ 1169605 w 1295257"/>
                <a:gd name="connsiteY198" fmla="*/ 934086 h 1012187"/>
                <a:gd name="connsiteX199" fmla="*/ 1174066 w 1295257"/>
                <a:gd name="connsiteY199" fmla="*/ 964066 h 1012187"/>
                <a:gd name="connsiteX200" fmla="*/ 1174795 w 1295257"/>
                <a:gd name="connsiteY200" fmla="*/ 1001766 h 1012187"/>
                <a:gd name="connsiteX201" fmla="*/ 1185903 w 1295257"/>
                <a:gd name="connsiteY201" fmla="*/ 988899 h 1012187"/>
                <a:gd name="connsiteX202" fmla="*/ 1204432 w 1295257"/>
                <a:gd name="connsiteY202" fmla="*/ 996619 h 1012187"/>
                <a:gd name="connsiteX203" fmla="*/ 1211851 w 1295257"/>
                <a:gd name="connsiteY203" fmla="*/ 975217 h 1012187"/>
                <a:gd name="connsiteX204" fmla="*/ 1228878 w 1295257"/>
                <a:gd name="connsiteY204" fmla="*/ 982079 h 1012187"/>
                <a:gd name="connsiteX205" fmla="*/ 1244447 w 1295257"/>
                <a:gd name="connsiteY205" fmla="*/ 972644 h 1012187"/>
                <a:gd name="connsiteX206" fmla="*/ 1247407 w 1295257"/>
                <a:gd name="connsiteY206" fmla="*/ 1000050 h 1012187"/>
                <a:gd name="connsiteX207" fmla="*/ 1261474 w 1295257"/>
                <a:gd name="connsiteY207" fmla="*/ 1002623 h 1012187"/>
                <a:gd name="connsiteX208" fmla="*/ 1261431 w 1295257"/>
                <a:gd name="connsiteY208" fmla="*/ 1006955 h 1012187"/>
                <a:gd name="connsiteX209" fmla="*/ 1284206 w 1295257"/>
                <a:gd name="connsiteY209" fmla="*/ 988341 h 1012187"/>
                <a:gd name="connsiteX210" fmla="*/ 1277386 w 1295257"/>
                <a:gd name="connsiteY210" fmla="*/ 953043 h 101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295257" h="1012187">
                  <a:moveTo>
                    <a:pt x="1277386" y="953043"/>
                  </a:moveTo>
                  <a:cubicBezTo>
                    <a:pt x="1282319" y="938161"/>
                    <a:pt x="1283305" y="929068"/>
                    <a:pt x="1245777" y="911912"/>
                  </a:cubicBezTo>
                  <a:cubicBezTo>
                    <a:pt x="1208249" y="894800"/>
                    <a:pt x="1212195" y="883348"/>
                    <a:pt x="1186504" y="830809"/>
                  </a:cubicBezTo>
                  <a:cubicBezTo>
                    <a:pt x="1160813" y="778312"/>
                    <a:pt x="1114407" y="755452"/>
                    <a:pt x="1114407" y="736066"/>
                  </a:cubicBezTo>
                  <a:cubicBezTo>
                    <a:pt x="1114407" y="716637"/>
                    <a:pt x="1068987" y="718911"/>
                    <a:pt x="1068987" y="733750"/>
                  </a:cubicBezTo>
                  <a:cubicBezTo>
                    <a:pt x="1068987" y="748633"/>
                    <a:pt x="1049215" y="753222"/>
                    <a:pt x="1038364" y="761199"/>
                  </a:cubicBezTo>
                  <a:cubicBezTo>
                    <a:pt x="1027513" y="769177"/>
                    <a:pt x="1022538" y="756653"/>
                    <a:pt x="1012673" y="741771"/>
                  </a:cubicBezTo>
                  <a:cubicBezTo>
                    <a:pt x="1002809" y="726931"/>
                    <a:pt x="979091" y="712091"/>
                    <a:pt x="979091" y="702956"/>
                  </a:cubicBezTo>
                  <a:cubicBezTo>
                    <a:pt x="979091" y="693820"/>
                    <a:pt x="973172" y="674434"/>
                    <a:pt x="956403" y="683570"/>
                  </a:cubicBezTo>
                  <a:cubicBezTo>
                    <a:pt x="939590" y="692705"/>
                    <a:pt x="930712" y="683570"/>
                    <a:pt x="925780" y="690432"/>
                  </a:cubicBezTo>
                  <a:cubicBezTo>
                    <a:pt x="920847" y="697294"/>
                    <a:pt x="908024" y="686229"/>
                    <a:pt x="908024" y="686229"/>
                  </a:cubicBezTo>
                  <a:lnTo>
                    <a:pt x="908024" y="94228"/>
                  </a:lnTo>
                  <a:cubicBezTo>
                    <a:pt x="902105" y="93499"/>
                    <a:pt x="896787" y="92341"/>
                    <a:pt x="892712" y="90582"/>
                  </a:cubicBezTo>
                  <a:cubicBezTo>
                    <a:pt x="872811" y="81833"/>
                    <a:pt x="844033" y="66521"/>
                    <a:pt x="826362" y="67722"/>
                  </a:cubicBezTo>
                  <a:cubicBezTo>
                    <a:pt x="822931" y="77415"/>
                    <a:pt x="815769" y="85907"/>
                    <a:pt x="804060" y="90368"/>
                  </a:cubicBezTo>
                  <a:cubicBezTo>
                    <a:pt x="779742" y="99632"/>
                    <a:pt x="755766" y="92727"/>
                    <a:pt x="737110" y="77630"/>
                  </a:cubicBezTo>
                  <a:cubicBezTo>
                    <a:pt x="729390" y="93842"/>
                    <a:pt x="716651" y="106837"/>
                    <a:pt x="697223" y="112885"/>
                  </a:cubicBezTo>
                  <a:cubicBezTo>
                    <a:pt x="678266" y="118803"/>
                    <a:pt x="660895" y="107223"/>
                    <a:pt x="654205" y="90539"/>
                  </a:cubicBezTo>
                  <a:cubicBezTo>
                    <a:pt x="646313" y="86980"/>
                    <a:pt x="638936" y="81962"/>
                    <a:pt x="632417" y="75357"/>
                  </a:cubicBezTo>
                  <a:cubicBezTo>
                    <a:pt x="630787" y="73727"/>
                    <a:pt x="628771" y="71625"/>
                    <a:pt x="626713" y="69309"/>
                  </a:cubicBezTo>
                  <a:cubicBezTo>
                    <a:pt x="610629" y="69095"/>
                    <a:pt x="594674" y="68151"/>
                    <a:pt x="578333" y="65320"/>
                  </a:cubicBezTo>
                  <a:cubicBezTo>
                    <a:pt x="564995" y="63004"/>
                    <a:pt x="557361" y="54384"/>
                    <a:pt x="554315" y="43790"/>
                  </a:cubicBezTo>
                  <a:cubicBezTo>
                    <a:pt x="552814" y="44305"/>
                    <a:pt x="551485" y="44734"/>
                    <a:pt x="550541" y="45162"/>
                  </a:cubicBezTo>
                  <a:cubicBezTo>
                    <a:pt x="540162" y="49451"/>
                    <a:pt x="542392" y="32296"/>
                    <a:pt x="529054" y="34011"/>
                  </a:cubicBezTo>
                  <a:cubicBezTo>
                    <a:pt x="515715" y="35727"/>
                    <a:pt x="526094" y="27149"/>
                    <a:pt x="518674" y="14325"/>
                  </a:cubicBezTo>
                  <a:cubicBezTo>
                    <a:pt x="511255" y="1458"/>
                    <a:pt x="474241" y="13467"/>
                    <a:pt x="460903" y="15183"/>
                  </a:cubicBezTo>
                  <a:cubicBezTo>
                    <a:pt x="451338" y="16427"/>
                    <a:pt x="446792" y="11923"/>
                    <a:pt x="445205" y="6433"/>
                  </a:cubicBezTo>
                  <a:cubicBezTo>
                    <a:pt x="437142" y="7677"/>
                    <a:pt x="429164" y="9307"/>
                    <a:pt x="421316" y="11452"/>
                  </a:cubicBezTo>
                  <a:cubicBezTo>
                    <a:pt x="418699" y="13038"/>
                    <a:pt x="415740" y="13853"/>
                    <a:pt x="412781" y="14025"/>
                  </a:cubicBezTo>
                  <a:cubicBezTo>
                    <a:pt x="390950" y="20758"/>
                    <a:pt x="369720" y="30194"/>
                    <a:pt x="348704" y="40316"/>
                  </a:cubicBezTo>
                  <a:cubicBezTo>
                    <a:pt x="336481" y="50609"/>
                    <a:pt x="324171" y="60774"/>
                    <a:pt x="311347" y="70296"/>
                  </a:cubicBezTo>
                  <a:cubicBezTo>
                    <a:pt x="301483" y="77630"/>
                    <a:pt x="289817" y="77501"/>
                    <a:pt x="279781" y="72826"/>
                  </a:cubicBezTo>
                  <a:cubicBezTo>
                    <a:pt x="278752" y="73255"/>
                    <a:pt x="277679" y="73727"/>
                    <a:pt x="276650" y="74156"/>
                  </a:cubicBezTo>
                  <a:cubicBezTo>
                    <a:pt x="234704" y="91311"/>
                    <a:pt x="193445" y="109840"/>
                    <a:pt x="153000" y="130126"/>
                  </a:cubicBezTo>
                  <a:cubicBezTo>
                    <a:pt x="152228" y="131156"/>
                    <a:pt x="151456" y="132228"/>
                    <a:pt x="150598" y="133343"/>
                  </a:cubicBezTo>
                  <a:cubicBezTo>
                    <a:pt x="146738" y="138104"/>
                    <a:pt x="141677" y="141749"/>
                    <a:pt x="135887" y="144580"/>
                  </a:cubicBezTo>
                  <a:cubicBezTo>
                    <a:pt x="129154" y="150198"/>
                    <a:pt x="122420" y="155731"/>
                    <a:pt x="115601" y="161221"/>
                  </a:cubicBezTo>
                  <a:cubicBezTo>
                    <a:pt x="113027" y="163408"/>
                    <a:pt x="110368" y="165553"/>
                    <a:pt x="107409" y="167826"/>
                  </a:cubicBezTo>
                  <a:cubicBezTo>
                    <a:pt x="96687" y="176103"/>
                    <a:pt x="86050" y="176704"/>
                    <a:pt x="77215" y="172672"/>
                  </a:cubicBezTo>
                  <a:cubicBezTo>
                    <a:pt x="72669" y="174602"/>
                    <a:pt x="68122" y="176704"/>
                    <a:pt x="63705" y="179106"/>
                  </a:cubicBezTo>
                  <a:cubicBezTo>
                    <a:pt x="61088" y="180521"/>
                    <a:pt x="58472" y="181593"/>
                    <a:pt x="55899" y="182365"/>
                  </a:cubicBezTo>
                  <a:cubicBezTo>
                    <a:pt x="56714" y="189142"/>
                    <a:pt x="67779" y="195661"/>
                    <a:pt x="88495" y="202523"/>
                  </a:cubicBezTo>
                  <a:cubicBezTo>
                    <a:pt x="95957" y="199435"/>
                    <a:pt x="104278" y="198492"/>
                    <a:pt x="112084" y="200550"/>
                  </a:cubicBezTo>
                  <a:cubicBezTo>
                    <a:pt x="127138" y="204496"/>
                    <a:pt x="140519" y="213031"/>
                    <a:pt x="151242" y="224483"/>
                  </a:cubicBezTo>
                  <a:cubicBezTo>
                    <a:pt x="158018" y="231731"/>
                    <a:pt x="163637" y="239966"/>
                    <a:pt x="170885" y="246742"/>
                  </a:cubicBezTo>
                  <a:cubicBezTo>
                    <a:pt x="189242" y="246957"/>
                    <a:pt x="200264" y="258708"/>
                    <a:pt x="204038" y="272862"/>
                  </a:cubicBezTo>
                  <a:cubicBezTo>
                    <a:pt x="204467" y="272905"/>
                    <a:pt x="204982" y="272905"/>
                    <a:pt x="205368" y="272948"/>
                  </a:cubicBezTo>
                  <a:cubicBezTo>
                    <a:pt x="220165" y="275521"/>
                    <a:pt x="203867" y="299496"/>
                    <a:pt x="216476" y="306358"/>
                  </a:cubicBezTo>
                  <a:cubicBezTo>
                    <a:pt x="229086" y="313221"/>
                    <a:pt x="248343" y="302884"/>
                    <a:pt x="252032" y="314936"/>
                  </a:cubicBezTo>
                  <a:cubicBezTo>
                    <a:pt x="255720" y="326902"/>
                    <a:pt x="226856" y="314936"/>
                    <a:pt x="212016" y="327803"/>
                  </a:cubicBezTo>
                  <a:cubicBezTo>
                    <a:pt x="197219" y="340627"/>
                    <a:pt x="189799" y="346674"/>
                    <a:pt x="183880" y="337239"/>
                  </a:cubicBezTo>
                  <a:cubicBezTo>
                    <a:pt x="177962" y="327803"/>
                    <a:pt x="153515" y="333808"/>
                    <a:pt x="140905" y="335523"/>
                  </a:cubicBezTo>
                  <a:cubicBezTo>
                    <a:pt x="129154" y="337110"/>
                    <a:pt x="138675" y="320083"/>
                    <a:pt x="140605" y="310819"/>
                  </a:cubicBezTo>
                  <a:cubicBezTo>
                    <a:pt x="133400" y="309489"/>
                    <a:pt x="126452" y="306101"/>
                    <a:pt x="120747" y="301212"/>
                  </a:cubicBezTo>
                  <a:cubicBezTo>
                    <a:pt x="114614" y="302455"/>
                    <a:pt x="107366" y="305372"/>
                    <a:pt x="99389" y="310690"/>
                  </a:cubicBezTo>
                  <a:cubicBezTo>
                    <a:pt x="74942" y="326945"/>
                    <a:pt x="83820" y="320984"/>
                    <a:pt x="80860" y="333808"/>
                  </a:cubicBezTo>
                  <a:cubicBezTo>
                    <a:pt x="77901" y="346674"/>
                    <a:pt x="67522" y="326087"/>
                    <a:pt x="51996" y="337239"/>
                  </a:cubicBezTo>
                  <a:cubicBezTo>
                    <a:pt x="36427" y="348347"/>
                    <a:pt x="11251" y="356067"/>
                    <a:pt x="6791" y="367218"/>
                  </a:cubicBezTo>
                  <a:cubicBezTo>
                    <a:pt x="2373" y="378369"/>
                    <a:pt x="40116" y="386047"/>
                    <a:pt x="54955" y="389478"/>
                  </a:cubicBezTo>
                  <a:cubicBezTo>
                    <a:pt x="69752" y="392909"/>
                    <a:pt x="37199" y="404017"/>
                    <a:pt x="49036" y="408306"/>
                  </a:cubicBezTo>
                  <a:cubicBezTo>
                    <a:pt x="60874" y="412595"/>
                    <a:pt x="55684" y="425462"/>
                    <a:pt x="74213" y="436570"/>
                  </a:cubicBezTo>
                  <a:cubicBezTo>
                    <a:pt x="77944" y="438800"/>
                    <a:pt x="82662" y="440130"/>
                    <a:pt x="87851" y="440816"/>
                  </a:cubicBezTo>
                  <a:cubicBezTo>
                    <a:pt x="89824" y="440430"/>
                    <a:pt x="91754" y="440044"/>
                    <a:pt x="93727" y="439701"/>
                  </a:cubicBezTo>
                  <a:cubicBezTo>
                    <a:pt x="99303" y="436356"/>
                    <a:pt x="105693" y="434340"/>
                    <a:pt x="111998" y="434340"/>
                  </a:cubicBezTo>
                  <a:lnTo>
                    <a:pt x="124136" y="434340"/>
                  </a:lnTo>
                  <a:cubicBezTo>
                    <a:pt x="129025" y="434340"/>
                    <a:pt x="133657" y="435412"/>
                    <a:pt x="137946" y="437299"/>
                  </a:cubicBezTo>
                  <a:cubicBezTo>
                    <a:pt x="140991" y="436871"/>
                    <a:pt x="143522" y="436570"/>
                    <a:pt x="145280" y="436570"/>
                  </a:cubicBezTo>
                  <a:cubicBezTo>
                    <a:pt x="149998" y="436570"/>
                    <a:pt x="154544" y="439315"/>
                    <a:pt x="158919" y="441674"/>
                  </a:cubicBezTo>
                  <a:cubicBezTo>
                    <a:pt x="161406" y="442403"/>
                    <a:pt x="163765" y="443390"/>
                    <a:pt x="166039" y="444591"/>
                  </a:cubicBezTo>
                  <a:cubicBezTo>
                    <a:pt x="169384" y="445320"/>
                    <a:pt x="172601" y="444634"/>
                    <a:pt x="175646" y="440816"/>
                  </a:cubicBezTo>
                  <a:cubicBezTo>
                    <a:pt x="184524" y="429665"/>
                    <a:pt x="217849" y="398871"/>
                    <a:pt x="234919" y="416841"/>
                  </a:cubicBezTo>
                  <a:cubicBezTo>
                    <a:pt x="251946" y="434812"/>
                    <a:pt x="216391" y="432238"/>
                    <a:pt x="225269" y="443390"/>
                  </a:cubicBezTo>
                  <a:cubicBezTo>
                    <a:pt x="234147" y="454541"/>
                    <a:pt x="245255" y="481089"/>
                    <a:pt x="228957" y="494771"/>
                  </a:cubicBezTo>
                  <a:cubicBezTo>
                    <a:pt x="212659" y="508453"/>
                    <a:pt x="197133" y="499060"/>
                    <a:pt x="188212" y="498202"/>
                  </a:cubicBezTo>
                  <a:cubicBezTo>
                    <a:pt x="186754" y="498074"/>
                    <a:pt x="185682" y="498545"/>
                    <a:pt x="184824" y="499403"/>
                  </a:cubicBezTo>
                  <a:cubicBezTo>
                    <a:pt x="184052" y="502748"/>
                    <a:pt x="182851" y="506008"/>
                    <a:pt x="181264" y="509010"/>
                  </a:cubicBezTo>
                  <a:cubicBezTo>
                    <a:pt x="179677" y="515401"/>
                    <a:pt x="177447" y="523507"/>
                    <a:pt x="170456" y="529897"/>
                  </a:cubicBezTo>
                  <a:cubicBezTo>
                    <a:pt x="162908" y="536803"/>
                    <a:pt x="156431" y="532385"/>
                    <a:pt x="149355" y="526809"/>
                  </a:cubicBezTo>
                  <a:cubicBezTo>
                    <a:pt x="139705" y="526466"/>
                    <a:pt x="132242" y="522864"/>
                    <a:pt x="126752" y="517459"/>
                  </a:cubicBezTo>
                  <a:cubicBezTo>
                    <a:pt x="125122" y="517588"/>
                    <a:pt x="123492" y="517846"/>
                    <a:pt x="121820" y="517931"/>
                  </a:cubicBezTo>
                  <a:cubicBezTo>
                    <a:pt x="120919" y="518446"/>
                    <a:pt x="120061" y="519089"/>
                    <a:pt x="119332" y="519818"/>
                  </a:cubicBezTo>
                  <a:cubicBezTo>
                    <a:pt x="123793" y="526209"/>
                    <a:pt x="126537" y="534186"/>
                    <a:pt x="126537" y="541906"/>
                  </a:cubicBezTo>
                  <a:lnTo>
                    <a:pt x="126537" y="546925"/>
                  </a:lnTo>
                  <a:cubicBezTo>
                    <a:pt x="126537" y="557089"/>
                    <a:pt x="122420" y="566139"/>
                    <a:pt x="115858" y="573473"/>
                  </a:cubicBezTo>
                  <a:cubicBezTo>
                    <a:pt x="110840" y="579092"/>
                    <a:pt x="103978" y="582265"/>
                    <a:pt x="96815" y="583638"/>
                  </a:cubicBezTo>
                  <a:cubicBezTo>
                    <a:pt x="97587" y="589042"/>
                    <a:pt x="97373" y="594660"/>
                    <a:pt x="96086" y="599421"/>
                  </a:cubicBezTo>
                  <a:cubicBezTo>
                    <a:pt x="93770" y="607999"/>
                    <a:pt x="87208" y="617692"/>
                    <a:pt x="79359" y="621852"/>
                  </a:cubicBezTo>
                  <a:cubicBezTo>
                    <a:pt x="76486" y="623353"/>
                    <a:pt x="73698" y="625069"/>
                    <a:pt x="70953" y="626784"/>
                  </a:cubicBezTo>
                  <a:cubicBezTo>
                    <a:pt x="83305" y="644112"/>
                    <a:pt x="82576" y="630730"/>
                    <a:pt x="95657" y="641324"/>
                  </a:cubicBezTo>
                  <a:cubicBezTo>
                    <a:pt x="110454" y="653290"/>
                    <a:pt x="79359" y="674735"/>
                    <a:pt x="94156" y="678166"/>
                  </a:cubicBezTo>
                  <a:cubicBezTo>
                    <a:pt x="103334" y="680310"/>
                    <a:pt x="113070" y="692963"/>
                    <a:pt x="121648" y="704929"/>
                  </a:cubicBezTo>
                  <a:cubicBezTo>
                    <a:pt x="125894" y="703084"/>
                    <a:pt x="130698" y="702012"/>
                    <a:pt x="136230" y="702012"/>
                  </a:cubicBezTo>
                  <a:cubicBezTo>
                    <a:pt x="150555" y="702012"/>
                    <a:pt x="160506" y="709046"/>
                    <a:pt x="166081" y="718739"/>
                  </a:cubicBezTo>
                  <a:cubicBezTo>
                    <a:pt x="168912" y="717667"/>
                    <a:pt x="171871" y="716852"/>
                    <a:pt x="174874" y="716680"/>
                  </a:cubicBezTo>
                  <a:cubicBezTo>
                    <a:pt x="190443" y="715823"/>
                    <a:pt x="183023" y="690990"/>
                    <a:pt x="191901" y="700425"/>
                  </a:cubicBezTo>
                  <a:cubicBezTo>
                    <a:pt x="200779" y="709861"/>
                    <a:pt x="213388" y="737224"/>
                    <a:pt x="205239" y="744087"/>
                  </a:cubicBezTo>
                  <a:cubicBezTo>
                    <a:pt x="197605" y="750520"/>
                    <a:pt x="202923" y="769649"/>
                    <a:pt x="202366" y="780457"/>
                  </a:cubicBezTo>
                  <a:cubicBezTo>
                    <a:pt x="204510" y="779985"/>
                    <a:pt x="206740" y="779642"/>
                    <a:pt x="209056" y="779513"/>
                  </a:cubicBezTo>
                  <a:cubicBezTo>
                    <a:pt x="210515" y="779427"/>
                    <a:pt x="212016" y="779556"/>
                    <a:pt x="213474" y="779685"/>
                  </a:cubicBezTo>
                  <a:cubicBezTo>
                    <a:pt x="214804" y="778870"/>
                    <a:pt x="216133" y="778055"/>
                    <a:pt x="217420" y="777111"/>
                  </a:cubicBezTo>
                  <a:cubicBezTo>
                    <a:pt x="221108" y="774409"/>
                    <a:pt x="225140" y="772865"/>
                    <a:pt x="229257" y="772136"/>
                  </a:cubicBezTo>
                  <a:cubicBezTo>
                    <a:pt x="232689" y="770378"/>
                    <a:pt x="235819" y="768791"/>
                    <a:pt x="236763" y="767976"/>
                  </a:cubicBezTo>
                  <a:cubicBezTo>
                    <a:pt x="250102" y="755967"/>
                    <a:pt x="267686" y="753780"/>
                    <a:pt x="282354" y="763601"/>
                  </a:cubicBezTo>
                  <a:cubicBezTo>
                    <a:pt x="282955" y="763430"/>
                    <a:pt x="283555" y="763258"/>
                    <a:pt x="284156" y="763087"/>
                  </a:cubicBezTo>
                  <a:cubicBezTo>
                    <a:pt x="290632" y="753651"/>
                    <a:pt x="301011" y="747518"/>
                    <a:pt x="313492" y="746960"/>
                  </a:cubicBezTo>
                  <a:cubicBezTo>
                    <a:pt x="322585" y="746531"/>
                    <a:pt x="332921" y="751421"/>
                    <a:pt x="339268" y="757940"/>
                  </a:cubicBezTo>
                  <a:cubicBezTo>
                    <a:pt x="343943" y="762743"/>
                    <a:pt x="347718" y="769820"/>
                    <a:pt x="349219" y="776983"/>
                  </a:cubicBezTo>
                  <a:cubicBezTo>
                    <a:pt x="351235" y="776125"/>
                    <a:pt x="353379" y="775139"/>
                    <a:pt x="355609" y="773980"/>
                  </a:cubicBezTo>
                  <a:cubicBezTo>
                    <a:pt x="378555" y="761971"/>
                    <a:pt x="368219" y="774881"/>
                    <a:pt x="356338" y="791951"/>
                  </a:cubicBezTo>
                  <a:cubicBezTo>
                    <a:pt x="339998" y="815626"/>
                    <a:pt x="356338" y="850195"/>
                    <a:pt x="344501" y="853626"/>
                  </a:cubicBezTo>
                  <a:cubicBezTo>
                    <a:pt x="332663" y="857057"/>
                    <a:pt x="323013" y="892183"/>
                    <a:pt x="303756" y="894757"/>
                  </a:cubicBezTo>
                  <a:cubicBezTo>
                    <a:pt x="284499" y="897330"/>
                    <a:pt x="251903" y="939319"/>
                    <a:pt x="247485" y="946181"/>
                  </a:cubicBezTo>
                  <a:cubicBezTo>
                    <a:pt x="243025" y="953043"/>
                    <a:pt x="201551" y="932456"/>
                    <a:pt x="195632" y="952186"/>
                  </a:cubicBezTo>
                  <a:cubicBezTo>
                    <a:pt x="189713" y="971872"/>
                    <a:pt x="164623" y="986540"/>
                    <a:pt x="171185" y="994174"/>
                  </a:cubicBezTo>
                  <a:cubicBezTo>
                    <a:pt x="175603" y="999321"/>
                    <a:pt x="209700" y="979635"/>
                    <a:pt x="211158" y="969298"/>
                  </a:cubicBezTo>
                  <a:cubicBezTo>
                    <a:pt x="212659" y="959048"/>
                    <a:pt x="217077" y="960720"/>
                    <a:pt x="222996" y="968441"/>
                  </a:cubicBezTo>
                  <a:cubicBezTo>
                    <a:pt x="228914" y="976161"/>
                    <a:pt x="243754" y="965009"/>
                    <a:pt x="250402" y="958147"/>
                  </a:cubicBezTo>
                  <a:cubicBezTo>
                    <a:pt x="257050" y="951285"/>
                    <a:pt x="268201" y="953858"/>
                    <a:pt x="274849" y="954716"/>
                  </a:cubicBezTo>
                  <a:cubicBezTo>
                    <a:pt x="281539" y="955574"/>
                    <a:pt x="284499" y="945323"/>
                    <a:pt x="304485" y="940991"/>
                  </a:cubicBezTo>
                  <a:cubicBezTo>
                    <a:pt x="324472" y="936745"/>
                    <a:pt x="320054" y="929883"/>
                    <a:pt x="324472" y="917874"/>
                  </a:cubicBezTo>
                  <a:cubicBezTo>
                    <a:pt x="328932" y="905908"/>
                    <a:pt x="376325" y="880174"/>
                    <a:pt x="385203" y="877601"/>
                  </a:cubicBezTo>
                  <a:cubicBezTo>
                    <a:pt x="394081" y="875028"/>
                    <a:pt x="388891" y="857915"/>
                    <a:pt x="398541" y="857014"/>
                  </a:cubicBezTo>
                  <a:cubicBezTo>
                    <a:pt x="408149" y="856156"/>
                    <a:pt x="422988" y="842432"/>
                    <a:pt x="435555" y="830466"/>
                  </a:cubicBezTo>
                  <a:cubicBezTo>
                    <a:pt x="448164" y="818500"/>
                    <a:pt x="451124" y="823603"/>
                    <a:pt x="460731" y="819314"/>
                  </a:cubicBezTo>
                  <a:cubicBezTo>
                    <a:pt x="470338" y="815026"/>
                    <a:pt x="462961" y="792766"/>
                    <a:pt x="472568" y="791050"/>
                  </a:cubicBezTo>
                  <a:cubicBezTo>
                    <a:pt x="482176" y="789378"/>
                    <a:pt x="489595" y="780800"/>
                    <a:pt x="489595" y="771364"/>
                  </a:cubicBezTo>
                  <a:cubicBezTo>
                    <a:pt x="489595" y="761971"/>
                    <a:pt x="465149" y="761971"/>
                    <a:pt x="462918" y="755967"/>
                  </a:cubicBezTo>
                  <a:cubicBezTo>
                    <a:pt x="460688" y="749963"/>
                    <a:pt x="482176" y="727703"/>
                    <a:pt x="490325" y="728518"/>
                  </a:cubicBezTo>
                  <a:cubicBezTo>
                    <a:pt x="498474" y="729418"/>
                    <a:pt x="511812" y="719082"/>
                    <a:pt x="512541" y="705400"/>
                  </a:cubicBezTo>
                  <a:cubicBezTo>
                    <a:pt x="513270" y="691719"/>
                    <a:pt x="525151" y="689145"/>
                    <a:pt x="534758" y="677136"/>
                  </a:cubicBezTo>
                  <a:cubicBezTo>
                    <a:pt x="544365" y="665127"/>
                    <a:pt x="542178" y="654877"/>
                    <a:pt x="551785" y="654019"/>
                  </a:cubicBezTo>
                  <a:cubicBezTo>
                    <a:pt x="561435" y="653161"/>
                    <a:pt x="570313" y="637721"/>
                    <a:pt x="580649" y="630902"/>
                  </a:cubicBezTo>
                  <a:cubicBezTo>
                    <a:pt x="591029" y="624039"/>
                    <a:pt x="580649" y="639437"/>
                    <a:pt x="600636" y="640337"/>
                  </a:cubicBezTo>
                  <a:cubicBezTo>
                    <a:pt x="620622" y="641195"/>
                    <a:pt x="616205" y="662597"/>
                    <a:pt x="601365" y="654877"/>
                  </a:cubicBezTo>
                  <a:cubicBezTo>
                    <a:pt x="586568" y="647157"/>
                    <a:pt x="579877" y="648015"/>
                    <a:pt x="566582" y="662554"/>
                  </a:cubicBezTo>
                  <a:cubicBezTo>
                    <a:pt x="553243" y="677136"/>
                    <a:pt x="563622" y="681425"/>
                    <a:pt x="553243" y="697680"/>
                  </a:cubicBezTo>
                  <a:cubicBezTo>
                    <a:pt x="542864" y="713935"/>
                    <a:pt x="542135" y="724229"/>
                    <a:pt x="555473" y="725944"/>
                  </a:cubicBezTo>
                  <a:cubicBezTo>
                    <a:pt x="568812" y="727660"/>
                    <a:pt x="556203" y="738768"/>
                    <a:pt x="543636" y="743057"/>
                  </a:cubicBezTo>
                  <a:cubicBezTo>
                    <a:pt x="531027" y="747346"/>
                    <a:pt x="539948" y="755924"/>
                    <a:pt x="556975" y="755924"/>
                  </a:cubicBezTo>
                  <a:cubicBezTo>
                    <a:pt x="574002" y="755924"/>
                    <a:pt x="599178" y="727660"/>
                    <a:pt x="622895" y="713935"/>
                  </a:cubicBezTo>
                  <a:cubicBezTo>
                    <a:pt x="646613" y="700254"/>
                    <a:pt x="664369" y="713935"/>
                    <a:pt x="671060" y="711362"/>
                  </a:cubicBezTo>
                  <a:cubicBezTo>
                    <a:pt x="677708" y="708832"/>
                    <a:pt x="663640" y="695965"/>
                    <a:pt x="671789" y="691676"/>
                  </a:cubicBezTo>
                  <a:cubicBezTo>
                    <a:pt x="679938" y="687387"/>
                    <a:pt x="662139" y="684814"/>
                    <a:pt x="656992" y="668559"/>
                  </a:cubicBezTo>
                  <a:cubicBezTo>
                    <a:pt x="651803" y="652303"/>
                    <a:pt x="665141" y="662554"/>
                    <a:pt x="668101" y="649730"/>
                  </a:cubicBezTo>
                  <a:cubicBezTo>
                    <a:pt x="671060" y="636863"/>
                    <a:pt x="679209" y="642010"/>
                    <a:pt x="686629" y="648015"/>
                  </a:cubicBezTo>
                  <a:cubicBezTo>
                    <a:pt x="694006" y="654019"/>
                    <a:pt x="704385" y="642010"/>
                    <a:pt x="711076" y="658308"/>
                  </a:cubicBezTo>
                  <a:cubicBezTo>
                    <a:pt x="717724" y="674606"/>
                    <a:pt x="725144" y="654019"/>
                    <a:pt x="736981" y="665127"/>
                  </a:cubicBezTo>
                  <a:cubicBezTo>
                    <a:pt x="748818" y="676279"/>
                    <a:pt x="734751" y="674563"/>
                    <a:pt x="722184" y="677994"/>
                  </a:cubicBezTo>
                  <a:cubicBezTo>
                    <a:pt x="709575" y="681425"/>
                    <a:pt x="716265" y="701112"/>
                    <a:pt x="725873" y="691719"/>
                  </a:cubicBezTo>
                  <a:cubicBezTo>
                    <a:pt x="735480" y="682283"/>
                    <a:pt x="743629" y="676279"/>
                    <a:pt x="752550" y="685714"/>
                  </a:cubicBezTo>
                  <a:cubicBezTo>
                    <a:pt x="761428" y="695150"/>
                    <a:pt x="765159" y="690818"/>
                    <a:pt x="772536" y="682283"/>
                  </a:cubicBezTo>
                  <a:cubicBezTo>
                    <a:pt x="779785" y="673920"/>
                    <a:pt x="779956" y="682755"/>
                    <a:pt x="779956" y="689531"/>
                  </a:cubicBezTo>
                  <a:cubicBezTo>
                    <a:pt x="781886" y="684985"/>
                    <a:pt x="784674" y="680825"/>
                    <a:pt x="787891" y="677179"/>
                  </a:cubicBezTo>
                  <a:cubicBezTo>
                    <a:pt x="794024" y="670274"/>
                    <a:pt x="804703" y="666200"/>
                    <a:pt x="813624" y="666200"/>
                  </a:cubicBezTo>
                  <a:cubicBezTo>
                    <a:pt x="821859" y="666200"/>
                    <a:pt x="833997" y="670145"/>
                    <a:pt x="839358" y="677179"/>
                  </a:cubicBezTo>
                  <a:cubicBezTo>
                    <a:pt x="844290" y="683613"/>
                    <a:pt x="849008" y="690218"/>
                    <a:pt x="853769" y="696780"/>
                  </a:cubicBezTo>
                  <a:cubicBezTo>
                    <a:pt x="854112" y="697209"/>
                    <a:pt x="854498" y="697595"/>
                    <a:pt x="854841" y="698023"/>
                  </a:cubicBezTo>
                  <a:cubicBezTo>
                    <a:pt x="860631" y="694378"/>
                    <a:pt x="867665" y="691890"/>
                    <a:pt x="873712" y="692448"/>
                  </a:cubicBezTo>
                  <a:cubicBezTo>
                    <a:pt x="878001" y="692834"/>
                    <a:pt x="882290" y="693134"/>
                    <a:pt x="886322" y="694549"/>
                  </a:cubicBezTo>
                  <a:cubicBezTo>
                    <a:pt x="893441" y="697037"/>
                    <a:pt x="895371" y="698367"/>
                    <a:pt x="900561" y="702484"/>
                  </a:cubicBezTo>
                  <a:cubicBezTo>
                    <a:pt x="905364" y="706301"/>
                    <a:pt x="909439" y="710719"/>
                    <a:pt x="912698" y="715994"/>
                  </a:cubicBezTo>
                  <a:cubicBezTo>
                    <a:pt x="915615" y="718053"/>
                    <a:pt x="917974" y="720712"/>
                    <a:pt x="919947" y="723757"/>
                  </a:cubicBezTo>
                  <a:cubicBezTo>
                    <a:pt x="920075" y="723929"/>
                    <a:pt x="920247" y="724100"/>
                    <a:pt x="920376" y="724315"/>
                  </a:cubicBezTo>
                  <a:cubicBezTo>
                    <a:pt x="942935" y="728904"/>
                    <a:pt x="948854" y="697809"/>
                    <a:pt x="960606" y="708832"/>
                  </a:cubicBezTo>
                  <a:cubicBezTo>
                    <a:pt x="972443" y="719940"/>
                    <a:pt x="960606" y="724229"/>
                    <a:pt x="953958" y="732807"/>
                  </a:cubicBezTo>
                  <a:cubicBezTo>
                    <a:pt x="947996" y="740484"/>
                    <a:pt x="958633" y="741942"/>
                    <a:pt x="967297" y="745288"/>
                  </a:cubicBezTo>
                  <a:cubicBezTo>
                    <a:pt x="972744" y="745802"/>
                    <a:pt x="978105" y="747518"/>
                    <a:pt x="983123" y="750134"/>
                  </a:cubicBezTo>
                  <a:cubicBezTo>
                    <a:pt x="988184" y="752793"/>
                    <a:pt x="993073" y="755967"/>
                    <a:pt x="997662" y="759484"/>
                  </a:cubicBezTo>
                  <a:cubicBezTo>
                    <a:pt x="1000064" y="760942"/>
                    <a:pt x="1002380" y="762486"/>
                    <a:pt x="1004482" y="764116"/>
                  </a:cubicBezTo>
                  <a:cubicBezTo>
                    <a:pt x="1013488" y="764588"/>
                    <a:pt x="1022409" y="768148"/>
                    <a:pt x="1028714" y="774753"/>
                  </a:cubicBezTo>
                  <a:cubicBezTo>
                    <a:pt x="1034333" y="780628"/>
                    <a:pt x="1039351" y="787105"/>
                    <a:pt x="1043983" y="793838"/>
                  </a:cubicBezTo>
                  <a:cubicBezTo>
                    <a:pt x="1046728" y="797827"/>
                    <a:pt x="1048829" y="802116"/>
                    <a:pt x="1050716" y="806534"/>
                  </a:cubicBezTo>
                  <a:cubicBezTo>
                    <a:pt x="1070917" y="816184"/>
                    <a:pt x="1050073" y="771836"/>
                    <a:pt x="1068001" y="786761"/>
                  </a:cubicBezTo>
                  <a:cubicBezTo>
                    <a:pt x="1086529" y="802202"/>
                    <a:pt x="1079838" y="787619"/>
                    <a:pt x="1094678" y="803017"/>
                  </a:cubicBezTo>
                  <a:cubicBezTo>
                    <a:pt x="1109475" y="818457"/>
                    <a:pt x="1104285" y="796154"/>
                    <a:pt x="1097637" y="770464"/>
                  </a:cubicBezTo>
                  <a:cubicBezTo>
                    <a:pt x="1090989" y="744773"/>
                    <a:pt x="1104328" y="761886"/>
                    <a:pt x="1110976" y="773895"/>
                  </a:cubicBezTo>
                  <a:cubicBezTo>
                    <a:pt x="1117624" y="785861"/>
                    <a:pt x="1117624" y="809021"/>
                    <a:pt x="1113206" y="824418"/>
                  </a:cubicBezTo>
                  <a:cubicBezTo>
                    <a:pt x="1108746" y="839858"/>
                    <a:pt x="1086529" y="826992"/>
                    <a:pt x="1088759" y="818457"/>
                  </a:cubicBezTo>
                  <a:cubicBezTo>
                    <a:pt x="1090989" y="809879"/>
                    <a:pt x="1066542" y="813310"/>
                    <a:pt x="1065813" y="825276"/>
                  </a:cubicBezTo>
                  <a:cubicBezTo>
                    <a:pt x="1065084" y="837285"/>
                    <a:pt x="1081382" y="860402"/>
                    <a:pt x="1093220" y="862976"/>
                  </a:cubicBezTo>
                  <a:cubicBezTo>
                    <a:pt x="1105057" y="865549"/>
                    <a:pt x="1096179" y="886994"/>
                    <a:pt x="1103599" y="889524"/>
                  </a:cubicBezTo>
                  <a:cubicBezTo>
                    <a:pt x="1113764" y="893041"/>
                    <a:pt x="1113206" y="915215"/>
                    <a:pt x="1119168" y="911784"/>
                  </a:cubicBezTo>
                  <a:cubicBezTo>
                    <a:pt x="1125086" y="908353"/>
                    <a:pt x="1122856" y="881804"/>
                    <a:pt x="1116208" y="869838"/>
                  </a:cubicBezTo>
                  <a:cubicBezTo>
                    <a:pt x="1109518" y="857829"/>
                    <a:pt x="1112477" y="840673"/>
                    <a:pt x="1121398" y="844104"/>
                  </a:cubicBezTo>
                  <a:cubicBezTo>
                    <a:pt x="1130276" y="847536"/>
                    <a:pt x="1121398" y="865549"/>
                    <a:pt x="1125858" y="871511"/>
                  </a:cubicBezTo>
                  <a:cubicBezTo>
                    <a:pt x="1130319" y="877515"/>
                    <a:pt x="1135466" y="865506"/>
                    <a:pt x="1145845" y="858687"/>
                  </a:cubicBezTo>
                  <a:cubicBezTo>
                    <a:pt x="1156224" y="851825"/>
                    <a:pt x="1141384" y="832095"/>
                    <a:pt x="1145116" y="821845"/>
                  </a:cubicBezTo>
                  <a:cubicBezTo>
                    <a:pt x="1148804" y="811551"/>
                    <a:pt x="1160684" y="830423"/>
                    <a:pt x="1165102" y="848393"/>
                  </a:cubicBezTo>
                  <a:cubicBezTo>
                    <a:pt x="1169520" y="866407"/>
                    <a:pt x="1153994" y="865549"/>
                    <a:pt x="1153994" y="874985"/>
                  </a:cubicBezTo>
                  <a:cubicBezTo>
                    <a:pt x="1153994" y="884420"/>
                    <a:pt x="1139926" y="880131"/>
                    <a:pt x="1135466" y="885278"/>
                  </a:cubicBezTo>
                  <a:cubicBezTo>
                    <a:pt x="1131048" y="890425"/>
                    <a:pt x="1133235" y="924693"/>
                    <a:pt x="1139197" y="925551"/>
                  </a:cubicBezTo>
                  <a:cubicBezTo>
                    <a:pt x="1145116" y="926409"/>
                    <a:pt x="1148804" y="897287"/>
                    <a:pt x="1152536" y="911827"/>
                  </a:cubicBezTo>
                  <a:cubicBezTo>
                    <a:pt x="1156224" y="926366"/>
                    <a:pt x="1170292" y="892998"/>
                    <a:pt x="1174023" y="906680"/>
                  </a:cubicBezTo>
                  <a:cubicBezTo>
                    <a:pt x="1177712" y="920405"/>
                    <a:pt x="1195511" y="935802"/>
                    <a:pt x="1202158" y="932371"/>
                  </a:cubicBezTo>
                  <a:cubicBezTo>
                    <a:pt x="1208806" y="928939"/>
                    <a:pt x="1199199" y="914357"/>
                    <a:pt x="1188820" y="913542"/>
                  </a:cubicBezTo>
                  <a:cubicBezTo>
                    <a:pt x="1178441" y="912685"/>
                    <a:pt x="1179942" y="892955"/>
                    <a:pt x="1189549" y="892098"/>
                  </a:cubicBezTo>
                  <a:cubicBezTo>
                    <a:pt x="1199199" y="891240"/>
                    <a:pt x="1216226" y="920362"/>
                    <a:pt x="1215497" y="930655"/>
                  </a:cubicBezTo>
                  <a:cubicBezTo>
                    <a:pt x="1214768" y="940906"/>
                    <a:pt x="1206619" y="940091"/>
                    <a:pt x="1198470" y="950384"/>
                  </a:cubicBezTo>
                  <a:cubicBezTo>
                    <a:pt x="1190321" y="960635"/>
                    <a:pt x="1179213" y="933228"/>
                    <a:pt x="1169605" y="934086"/>
                  </a:cubicBezTo>
                  <a:cubicBezTo>
                    <a:pt x="1159998" y="934944"/>
                    <a:pt x="1169605" y="952057"/>
                    <a:pt x="1174066" y="964066"/>
                  </a:cubicBezTo>
                  <a:cubicBezTo>
                    <a:pt x="1178483" y="976075"/>
                    <a:pt x="1162186" y="992330"/>
                    <a:pt x="1174795" y="1001766"/>
                  </a:cubicBezTo>
                  <a:cubicBezTo>
                    <a:pt x="1187405" y="1011201"/>
                    <a:pt x="1183716" y="995761"/>
                    <a:pt x="1185903" y="988899"/>
                  </a:cubicBezTo>
                  <a:cubicBezTo>
                    <a:pt x="1188134" y="982036"/>
                    <a:pt x="1197741" y="990614"/>
                    <a:pt x="1204432" y="996619"/>
                  </a:cubicBezTo>
                  <a:cubicBezTo>
                    <a:pt x="1210650" y="1002194"/>
                    <a:pt x="1211851" y="982894"/>
                    <a:pt x="1211851" y="975217"/>
                  </a:cubicBezTo>
                  <a:cubicBezTo>
                    <a:pt x="1211851" y="967540"/>
                    <a:pt x="1222960" y="971786"/>
                    <a:pt x="1228878" y="982079"/>
                  </a:cubicBezTo>
                  <a:cubicBezTo>
                    <a:pt x="1234797" y="992330"/>
                    <a:pt x="1235526" y="970928"/>
                    <a:pt x="1244447" y="972644"/>
                  </a:cubicBezTo>
                  <a:cubicBezTo>
                    <a:pt x="1253325" y="974359"/>
                    <a:pt x="1247407" y="990614"/>
                    <a:pt x="1247407" y="1000050"/>
                  </a:cubicBezTo>
                  <a:cubicBezTo>
                    <a:pt x="1247407" y="1009443"/>
                    <a:pt x="1262933" y="992330"/>
                    <a:pt x="1261474" y="1002623"/>
                  </a:cubicBezTo>
                  <a:cubicBezTo>
                    <a:pt x="1261260" y="1004167"/>
                    <a:pt x="1261260" y="1005626"/>
                    <a:pt x="1261431" y="1006955"/>
                  </a:cubicBezTo>
                  <a:cubicBezTo>
                    <a:pt x="1269623" y="1000179"/>
                    <a:pt x="1278158" y="993145"/>
                    <a:pt x="1284206" y="988341"/>
                  </a:cubicBezTo>
                  <a:cubicBezTo>
                    <a:pt x="1300118" y="975860"/>
                    <a:pt x="1272454" y="967840"/>
                    <a:pt x="1277386" y="95304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51" name="Freeform: Shape 354">
              <a:extLst>
                <a:ext uri="{FF2B5EF4-FFF2-40B4-BE49-F238E27FC236}">
                  <a16:creationId xmlns:a16="http://schemas.microsoft.com/office/drawing/2014/main" id="{BD0AAAA6-AC6C-86A1-C0F6-42684833A9F0}"/>
                </a:ext>
              </a:extLst>
            </p:cNvPr>
            <p:cNvSpPr/>
            <p:nvPr/>
          </p:nvSpPr>
          <p:spPr>
            <a:xfrm>
              <a:off x="4978283" y="3674687"/>
              <a:ext cx="26242" cy="52485"/>
            </a:xfrm>
            <a:custGeom>
              <a:avLst/>
              <a:gdLst>
                <a:gd name="connsiteX0" fmla="*/ 18700 w 34311"/>
                <a:gd name="connsiteY0" fmla="*/ 9221 h 68622"/>
                <a:gd name="connsiteX1" fmla="*/ 17070 w 34311"/>
                <a:gd name="connsiteY1" fmla="*/ 6433 h 68622"/>
                <a:gd name="connsiteX2" fmla="*/ 12867 w 34311"/>
                <a:gd name="connsiteY2" fmla="*/ 6648 h 68622"/>
                <a:gd name="connsiteX3" fmla="*/ 8578 w 34311"/>
                <a:gd name="connsiteY3" fmla="*/ 6433 h 68622"/>
                <a:gd name="connsiteX4" fmla="*/ 6433 w 34311"/>
                <a:gd name="connsiteY4" fmla="*/ 20458 h 68622"/>
                <a:gd name="connsiteX5" fmla="*/ 17842 w 34311"/>
                <a:gd name="connsiteY5" fmla="*/ 46492 h 68622"/>
                <a:gd name="connsiteX6" fmla="*/ 31266 w 34311"/>
                <a:gd name="connsiteY6" fmla="*/ 61975 h 68622"/>
                <a:gd name="connsiteX7" fmla="*/ 22131 w 34311"/>
                <a:gd name="connsiteY7" fmla="*/ 38257 h 68622"/>
                <a:gd name="connsiteX8" fmla="*/ 18700 w 34311"/>
                <a:gd name="connsiteY8" fmla="*/ 9221 h 68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11" h="68622">
                  <a:moveTo>
                    <a:pt x="18700" y="9221"/>
                  </a:moveTo>
                  <a:cubicBezTo>
                    <a:pt x="18142" y="8149"/>
                    <a:pt x="17627" y="7248"/>
                    <a:pt x="17070" y="6433"/>
                  </a:cubicBezTo>
                  <a:cubicBezTo>
                    <a:pt x="15697" y="6562"/>
                    <a:pt x="14325" y="6648"/>
                    <a:pt x="12867" y="6648"/>
                  </a:cubicBezTo>
                  <a:cubicBezTo>
                    <a:pt x="11408" y="6648"/>
                    <a:pt x="9950" y="6562"/>
                    <a:pt x="8578" y="6433"/>
                  </a:cubicBezTo>
                  <a:cubicBezTo>
                    <a:pt x="7248" y="9607"/>
                    <a:pt x="6433" y="14582"/>
                    <a:pt x="6433" y="20458"/>
                  </a:cubicBezTo>
                  <a:cubicBezTo>
                    <a:pt x="6433" y="35941"/>
                    <a:pt x="17542" y="37571"/>
                    <a:pt x="17842" y="46492"/>
                  </a:cubicBezTo>
                  <a:cubicBezTo>
                    <a:pt x="18142" y="55413"/>
                    <a:pt x="29122" y="67036"/>
                    <a:pt x="31266" y="61975"/>
                  </a:cubicBezTo>
                  <a:cubicBezTo>
                    <a:pt x="34998" y="53097"/>
                    <a:pt x="23289" y="44819"/>
                    <a:pt x="22131" y="38257"/>
                  </a:cubicBezTo>
                  <a:cubicBezTo>
                    <a:pt x="20973" y="31652"/>
                    <a:pt x="25519" y="22731"/>
                    <a:pt x="18700" y="9221"/>
                  </a:cubicBezTo>
                  <a:close/>
                </a:path>
              </a:pathLst>
            </a:custGeom>
            <a:grpFill/>
            <a:ln w="1905" cap="flat">
              <a:solidFill>
                <a:schemeClr val="bg1"/>
              </a:solidFill>
              <a:prstDash val="solid"/>
              <a:miter/>
            </a:ln>
          </p:spPr>
          <p:txBody>
            <a:bodyPr rtlCol="0" anchor="ctr"/>
            <a:lstStyle/>
            <a:p>
              <a:endParaRPr lang="en-US" dirty="0">
                <a:sym typeface="+mn-lt"/>
              </a:endParaRPr>
            </a:p>
          </p:txBody>
        </p:sp>
      </p:grpSp>
      <p:grpSp>
        <p:nvGrpSpPr>
          <p:cNvPr id="52" name="Group 22">
            <a:extLst>
              <a:ext uri="{FF2B5EF4-FFF2-40B4-BE49-F238E27FC236}">
                <a16:creationId xmlns:a16="http://schemas.microsoft.com/office/drawing/2014/main" id="{842C41D7-B9B7-C1F9-3B7A-20AB24691447}"/>
              </a:ext>
            </a:extLst>
          </p:cNvPr>
          <p:cNvGrpSpPr/>
          <p:nvPr/>
        </p:nvGrpSpPr>
        <p:grpSpPr>
          <a:xfrm>
            <a:off x="3366949" y="1396885"/>
            <a:ext cx="2280675" cy="1712626"/>
            <a:chOff x="3366949" y="1396885"/>
            <a:chExt cx="2280675" cy="1712626"/>
          </a:xfrm>
          <a:solidFill>
            <a:schemeClr val="accent3">
              <a:alpha val="50000"/>
            </a:schemeClr>
          </a:solidFill>
        </p:grpSpPr>
        <p:sp>
          <p:nvSpPr>
            <p:cNvPr id="53" name="Freeform: Shape 205">
              <a:extLst>
                <a:ext uri="{FF2B5EF4-FFF2-40B4-BE49-F238E27FC236}">
                  <a16:creationId xmlns:a16="http://schemas.microsoft.com/office/drawing/2014/main" id="{BF9AEDE5-6D07-14AB-9080-6486C994598B}"/>
                </a:ext>
              </a:extLst>
            </p:cNvPr>
            <p:cNvSpPr/>
            <p:nvPr/>
          </p:nvSpPr>
          <p:spPr>
            <a:xfrm>
              <a:off x="4357327" y="1675386"/>
              <a:ext cx="170577" cy="170577"/>
            </a:xfrm>
            <a:custGeom>
              <a:avLst/>
              <a:gdLst>
                <a:gd name="connsiteX0" fmla="*/ 114071 w 223024"/>
                <a:gd name="connsiteY0" fmla="*/ 212087 h 223024"/>
                <a:gd name="connsiteX1" fmla="*/ 173344 w 223024"/>
                <a:gd name="connsiteY1" fmla="*/ 193259 h 223024"/>
                <a:gd name="connsiteX2" fmla="*/ 217777 w 223024"/>
                <a:gd name="connsiteY2" fmla="*/ 99031 h 223024"/>
                <a:gd name="connsiteX3" fmla="*/ 197018 w 223024"/>
                <a:gd name="connsiteY3" fmla="*/ 93884 h 223024"/>
                <a:gd name="connsiteX4" fmla="*/ 192558 w 223024"/>
                <a:gd name="connsiteY4" fmla="*/ 109282 h 223024"/>
                <a:gd name="connsiteX5" fmla="*/ 151084 w 223024"/>
                <a:gd name="connsiteY5" fmla="*/ 90453 h 223024"/>
                <a:gd name="connsiteX6" fmla="*/ 194059 w 223024"/>
                <a:gd name="connsiteY6" fmla="*/ 49322 h 223024"/>
                <a:gd name="connsiteX7" fmla="*/ 170341 w 223024"/>
                <a:gd name="connsiteY7" fmla="*/ 13338 h 223024"/>
                <a:gd name="connsiteX8" fmla="*/ 127366 w 223024"/>
                <a:gd name="connsiteY8" fmla="*/ 25347 h 223024"/>
                <a:gd name="connsiteX9" fmla="*/ 108109 w 223024"/>
                <a:gd name="connsiteY9" fmla="*/ 32210 h 223024"/>
                <a:gd name="connsiteX10" fmla="*/ 50337 w 223024"/>
                <a:gd name="connsiteY10" fmla="*/ 63047 h 223024"/>
                <a:gd name="connsiteX11" fmla="*/ 87393 w 223024"/>
                <a:gd name="connsiteY11" fmla="*/ 97316 h 223024"/>
                <a:gd name="connsiteX12" fmla="*/ 20743 w 223024"/>
                <a:gd name="connsiteY12" fmla="*/ 90453 h 223024"/>
                <a:gd name="connsiteX13" fmla="*/ 45919 w 223024"/>
                <a:gd name="connsiteY13" fmla="*/ 146981 h 223024"/>
                <a:gd name="connsiteX14" fmla="*/ 114071 w 223024"/>
                <a:gd name="connsiteY14" fmla="*/ 212087 h 22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3024" h="223024">
                  <a:moveTo>
                    <a:pt x="114071" y="212087"/>
                  </a:moveTo>
                  <a:cubicBezTo>
                    <a:pt x="146666" y="237778"/>
                    <a:pt x="136287" y="191543"/>
                    <a:pt x="173344" y="193259"/>
                  </a:cubicBezTo>
                  <a:cubicBezTo>
                    <a:pt x="210400" y="194975"/>
                    <a:pt x="211858" y="124722"/>
                    <a:pt x="217777" y="99031"/>
                  </a:cubicBezTo>
                  <a:cubicBezTo>
                    <a:pt x="223696" y="73340"/>
                    <a:pt x="188140" y="75056"/>
                    <a:pt x="197018" y="93884"/>
                  </a:cubicBezTo>
                  <a:cubicBezTo>
                    <a:pt x="205896" y="112713"/>
                    <a:pt x="195517" y="131584"/>
                    <a:pt x="192558" y="109282"/>
                  </a:cubicBezTo>
                  <a:cubicBezTo>
                    <a:pt x="189599" y="87022"/>
                    <a:pt x="161463" y="107566"/>
                    <a:pt x="151084" y="90453"/>
                  </a:cubicBezTo>
                  <a:cubicBezTo>
                    <a:pt x="140705" y="73298"/>
                    <a:pt x="183680" y="71582"/>
                    <a:pt x="194059" y="49322"/>
                  </a:cubicBezTo>
                  <a:cubicBezTo>
                    <a:pt x="204438" y="27063"/>
                    <a:pt x="160005" y="30494"/>
                    <a:pt x="170341" y="13338"/>
                  </a:cubicBezTo>
                  <a:cubicBezTo>
                    <a:pt x="180720" y="-3774"/>
                    <a:pt x="105150" y="15054"/>
                    <a:pt x="127366" y="25347"/>
                  </a:cubicBezTo>
                  <a:cubicBezTo>
                    <a:pt x="149583" y="35641"/>
                    <a:pt x="128867" y="49322"/>
                    <a:pt x="108109" y="32210"/>
                  </a:cubicBezTo>
                  <a:cubicBezTo>
                    <a:pt x="87350" y="15097"/>
                    <a:pt x="29922" y="43747"/>
                    <a:pt x="50337" y="63047"/>
                  </a:cubicBezTo>
                  <a:cubicBezTo>
                    <a:pt x="66635" y="78444"/>
                    <a:pt x="115529" y="52754"/>
                    <a:pt x="87393" y="97316"/>
                  </a:cubicBezTo>
                  <a:cubicBezTo>
                    <a:pt x="59258" y="141878"/>
                    <a:pt x="47378" y="85307"/>
                    <a:pt x="20743" y="90453"/>
                  </a:cubicBezTo>
                  <a:cubicBezTo>
                    <a:pt x="-5934" y="95600"/>
                    <a:pt x="5947" y="133257"/>
                    <a:pt x="45919" y="146981"/>
                  </a:cubicBezTo>
                  <a:cubicBezTo>
                    <a:pt x="85935" y="160706"/>
                    <a:pt x="81475" y="186397"/>
                    <a:pt x="114071" y="21208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54" name="Freeform: Shape 206">
              <a:extLst>
                <a:ext uri="{FF2B5EF4-FFF2-40B4-BE49-F238E27FC236}">
                  <a16:creationId xmlns:a16="http://schemas.microsoft.com/office/drawing/2014/main" id="{CA6DBB38-32EF-61C5-7310-683F40127173}"/>
                </a:ext>
              </a:extLst>
            </p:cNvPr>
            <p:cNvSpPr/>
            <p:nvPr/>
          </p:nvSpPr>
          <p:spPr>
            <a:xfrm>
              <a:off x="4304709" y="1599035"/>
              <a:ext cx="36084" cy="36084"/>
            </a:xfrm>
            <a:custGeom>
              <a:avLst/>
              <a:gdLst>
                <a:gd name="connsiteX0" fmla="*/ 39187 w 47178"/>
                <a:gd name="connsiteY0" fmla="*/ 34420 h 47178"/>
                <a:gd name="connsiteX1" fmla="*/ 8093 w 47178"/>
                <a:gd name="connsiteY1" fmla="*/ 15592 h 47178"/>
                <a:gd name="connsiteX2" fmla="*/ 39187 w 47178"/>
                <a:gd name="connsiteY2" fmla="*/ 34420 h 47178"/>
              </a:gdLst>
              <a:ahLst/>
              <a:cxnLst>
                <a:cxn ang="0">
                  <a:pos x="connsiteX0" y="connsiteY0"/>
                </a:cxn>
                <a:cxn ang="0">
                  <a:pos x="connsiteX1" y="connsiteY1"/>
                </a:cxn>
                <a:cxn ang="0">
                  <a:pos x="connsiteX2" y="connsiteY2"/>
                </a:cxn>
              </a:cxnLst>
              <a:rect l="l" t="t" r="r" b="b"/>
              <a:pathLst>
                <a:path w="47178" h="47178">
                  <a:moveTo>
                    <a:pt x="39187" y="34420"/>
                  </a:moveTo>
                  <a:cubicBezTo>
                    <a:pt x="49566" y="20739"/>
                    <a:pt x="16971" y="-8383"/>
                    <a:pt x="8093" y="15592"/>
                  </a:cubicBezTo>
                  <a:cubicBezTo>
                    <a:pt x="-829" y="39524"/>
                    <a:pt x="28636" y="48359"/>
                    <a:pt x="39187" y="3442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55" name="Freeform: Shape 207">
              <a:extLst>
                <a:ext uri="{FF2B5EF4-FFF2-40B4-BE49-F238E27FC236}">
                  <a16:creationId xmlns:a16="http://schemas.microsoft.com/office/drawing/2014/main" id="{CDD79926-1E0C-96F5-797C-F843B4C3FE57}"/>
                </a:ext>
              </a:extLst>
            </p:cNvPr>
            <p:cNvSpPr/>
            <p:nvPr/>
          </p:nvSpPr>
          <p:spPr>
            <a:xfrm>
              <a:off x="4506594" y="1594146"/>
              <a:ext cx="98410" cy="62327"/>
            </a:xfrm>
            <a:custGeom>
              <a:avLst/>
              <a:gdLst>
                <a:gd name="connsiteX0" fmla="*/ 108523 w 128667"/>
                <a:gd name="connsiteY0" fmla="*/ 78511 h 81489"/>
                <a:gd name="connsiteX1" fmla="*/ 92225 w 128667"/>
                <a:gd name="connsiteY1" fmla="*/ 13405 h 81489"/>
                <a:gd name="connsiteX2" fmla="*/ 7819 w 128667"/>
                <a:gd name="connsiteY2" fmla="*/ 51105 h 81489"/>
                <a:gd name="connsiteX3" fmla="*/ 108523 w 128667"/>
                <a:gd name="connsiteY3" fmla="*/ 78511 h 81489"/>
              </a:gdLst>
              <a:ahLst/>
              <a:cxnLst>
                <a:cxn ang="0">
                  <a:pos x="connsiteX0" y="connsiteY0"/>
                </a:cxn>
                <a:cxn ang="0">
                  <a:pos x="connsiteX1" y="connsiteY1"/>
                </a:cxn>
                <a:cxn ang="0">
                  <a:pos x="connsiteX2" y="connsiteY2"/>
                </a:cxn>
                <a:cxn ang="0">
                  <a:pos x="connsiteX3" y="connsiteY3"/>
                </a:cxn>
              </a:cxnLst>
              <a:rect l="l" t="t" r="r" b="b"/>
              <a:pathLst>
                <a:path w="128667" h="81489">
                  <a:moveTo>
                    <a:pt x="108523" y="78511"/>
                  </a:moveTo>
                  <a:cubicBezTo>
                    <a:pt x="135157" y="76796"/>
                    <a:pt x="121861" y="39096"/>
                    <a:pt x="92225" y="13405"/>
                  </a:cubicBezTo>
                  <a:cubicBezTo>
                    <a:pt x="62588" y="-12285"/>
                    <a:pt x="-3976" y="40511"/>
                    <a:pt x="7819" y="51105"/>
                  </a:cubicBezTo>
                  <a:cubicBezTo>
                    <a:pt x="21114" y="63071"/>
                    <a:pt x="81846" y="80184"/>
                    <a:pt x="108523" y="7851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56" name="Freeform: Shape 208">
              <a:extLst>
                <a:ext uri="{FF2B5EF4-FFF2-40B4-BE49-F238E27FC236}">
                  <a16:creationId xmlns:a16="http://schemas.microsoft.com/office/drawing/2014/main" id="{EDA7AFBF-0947-A864-8FCD-503F83E09444}"/>
                </a:ext>
              </a:extLst>
            </p:cNvPr>
            <p:cNvSpPr/>
            <p:nvPr/>
          </p:nvSpPr>
          <p:spPr>
            <a:xfrm>
              <a:off x="3935471" y="1699038"/>
              <a:ext cx="472369" cy="295231"/>
            </a:xfrm>
            <a:custGeom>
              <a:avLst/>
              <a:gdLst>
                <a:gd name="connsiteX0" fmla="*/ 566387 w 617605"/>
                <a:gd name="connsiteY0" fmla="*/ 290830 h 386003"/>
                <a:gd name="connsiteX1" fmla="*/ 613780 w 617605"/>
                <a:gd name="connsiteY1" fmla="*/ 289115 h 386003"/>
                <a:gd name="connsiteX2" fmla="*/ 554550 w 617605"/>
                <a:gd name="connsiteY2" fmla="*/ 237733 h 386003"/>
                <a:gd name="connsiteX3" fmla="*/ 501238 w 617605"/>
                <a:gd name="connsiteY3" fmla="*/ 206896 h 386003"/>
                <a:gd name="connsiteX4" fmla="*/ 487900 w 617605"/>
                <a:gd name="connsiteY4" fmla="*/ 152083 h 386003"/>
                <a:gd name="connsiteX5" fmla="*/ 474561 w 617605"/>
                <a:gd name="connsiteY5" fmla="*/ 64718 h 386003"/>
                <a:gd name="connsiteX6" fmla="*/ 479022 w 617605"/>
                <a:gd name="connsiteY6" fmla="*/ 9905 h 386003"/>
                <a:gd name="connsiteX7" fmla="*/ 413830 w 617605"/>
                <a:gd name="connsiteY7" fmla="*/ 27018 h 386003"/>
                <a:gd name="connsiteX8" fmla="*/ 455304 w 617605"/>
                <a:gd name="connsiteY8" fmla="*/ 68149 h 386003"/>
                <a:gd name="connsiteX9" fmla="*/ 409369 w 617605"/>
                <a:gd name="connsiteY9" fmla="*/ 47562 h 386003"/>
                <a:gd name="connsiteX10" fmla="*/ 373814 w 617605"/>
                <a:gd name="connsiteY10" fmla="*/ 47562 h 386003"/>
                <a:gd name="connsiteX11" fmla="*/ 396031 w 617605"/>
                <a:gd name="connsiteY11" fmla="*/ 141790 h 386003"/>
                <a:gd name="connsiteX12" fmla="*/ 375315 w 617605"/>
                <a:gd name="connsiteY12" fmla="*/ 162334 h 386003"/>
                <a:gd name="connsiteX13" fmla="*/ 350139 w 617605"/>
                <a:gd name="connsiteY13" fmla="*/ 95513 h 386003"/>
                <a:gd name="connsiteX14" fmla="*/ 287950 w 617605"/>
                <a:gd name="connsiteY14" fmla="*/ 68106 h 386003"/>
                <a:gd name="connsiteX15" fmla="*/ 313126 w 617605"/>
                <a:gd name="connsiteY15" fmla="*/ 100659 h 386003"/>
                <a:gd name="connsiteX16" fmla="*/ 274611 w 617605"/>
                <a:gd name="connsiteY16" fmla="*/ 104090 h 386003"/>
                <a:gd name="connsiteX17" fmla="*/ 264232 w 617605"/>
                <a:gd name="connsiteY17" fmla="*/ 93797 h 386003"/>
                <a:gd name="connsiteX18" fmla="*/ 210878 w 617605"/>
                <a:gd name="connsiteY18" fmla="*/ 64675 h 386003"/>
                <a:gd name="connsiteX19" fmla="*/ 188661 w 617605"/>
                <a:gd name="connsiteY19" fmla="*/ 100616 h 386003"/>
                <a:gd name="connsiteX20" fmla="*/ 163485 w 617605"/>
                <a:gd name="connsiteY20" fmla="*/ 88650 h 386003"/>
                <a:gd name="connsiteX21" fmla="*/ 169404 w 617605"/>
                <a:gd name="connsiteY21" fmla="*/ 44088 h 386003"/>
                <a:gd name="connsiteX22" fmla="*/ 84955 w 617605"/>
                <a:gd name="connsiteY22" fmla="*/ 66348 h 386003"/>
                <a:gd name="connsiteX23" fmla="*/ 24223 w 617605"/>
                <a:gd name="connsiteY23" fmla="*/ 107479 h 386003"/>
                <a:gd name="connsiteX24" fmla="*/ 13844 w 617605"/>
                <a:gd name="connsiteY24" fmla="*/ 134885 h 386003"/>
                <a:gd name="connsiteX25" fmla="*/ 30142 w 617605"/>
                <a:gd name="connsiteY25" fmla="*/ 167438 h 386003"/>
                <a:gd name="connsiteX26" fmla="*/ 43481 w 617605"/>
                <a:gd name="connsiteY26" fmla="*/ 186266 h 386003"/>
                <a:gd name="connsiteX27" fmla="*/ 122011 w 617605"/>
                <a:gd name="connsiteY27" fmla="*/ 174300 h 386003"/>
                <a:gd name="connsiteX28" fmla="*/ 34603 w 617605"/>
                <a:gd name="connsiteY28" fmla="*/ 213715 h 386003"/>
                <a:gd name="connsiteX29" fmla="*/ 132347 w 617605"/>
                <a:gd name="connsiteY29" fmla="*/ 237691 h 386003"/>
                <a:gd name="connsiteX30" fmla="*/ 246433 w 617605"/>
                <a:gd name="connsiteY30" fmla="*/ 256562 h 386003"/>
                <a:gd name="connsiteX31" fmla="*/ 160526 w 617605"/>
                <a:gd name="connsiteY31" fmla="*/ 263424 h 386003"/>
                <a:gd name="connsiteX32" fmla="*/ 62781 w 617605"/>
                <a:gd name="connsiteY32" fmla="*/ 289115 h 386003"/>
                <a:gd name="connsiteX33" fmla="*/ 108715 w 617605"/>
                <a:gd name="connsiteY33" fmla="*/ 325099 h 386003"/>
                <a:gd name="connsiteX34" fmla="*/ 185745 w 617605"/>
                <a:gd name="connsiteY34" fmla="*/ 343970 h 386003"/>
                <a:gd name="connsiteX35" fmla="*/ 258313 w 617605"/>
                <a:gd name="connsiteY35" fmla="*/ 381627 h 386003"/>
                <a:gd name="connsiteX36" fmla="*/ 359060 w 617605"/>
                <a:gd name="connsiteY36" fmla="*/ 355936 h 386003"/>
                <a:gd name="connsiteX37" fmla="*/ 407954 w 617605"/>
                <a:gd name="connsiteY37" fmla="*/ 331961 h 386003"/>
                <a:gd name="connsiteX38" fmla="*/ 433130 w 617605"/>
                <a:gd name="connsiteY38" fmla="*/ 333677 h 386003"/>
                <a:gd name="connsiteX39" fmla="*/ 476105 w 617605"/>
                <a:gd name="connsiteY39" fmla="*/ 350790 h 386003"/>
                <a:gd name="connsiteX40" fmla="*/ 581270 w 617605"/>
                <a:gd name="connsiteY40" fmla="*/ 352505 h 386003"/>
                <a:gd name="connsiteX41" fmla="*/ 559053 w 617605"/>
                <a:gd name="connsiteY41" fmla="*/ 318237 h 386003"/>
                <a:gd name="connsiteX42" fmla="*/ 533877 w 617605"/>
                <a:gd name="connsiteY42" fmla="*/ 316521 h 386003"/>
                <a:gd name="connsiteX43" fmla="*/ 566387 w 617605"/>
                <a:gd name="connsiteY43" fmla="*/ 290830 h 38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17605" h="386003">
                  <a:moveTo>
                    <a:pt x="566387" y="290830"/>
                  </a:moveTo>
                  <a:cubicBezTo>
                    <a:pt x="575265" y="278821"/>
                    <a:pt x="612322" y="314806"/>
                    <a:pt x="613780" y="289115"/>
                  </a:cubicBezTo>
                  <a:cubicBezTo>
                    <a:pt x="615281" y="263424"/>
                    <a:pt x="572306" y="251415"/>
                    <a:pt x="554550" y="237733"/>
                  </a:cubicBezTo>
                  <a:cubicBezTo>
                    <a:pt x="536794" y="224009"/>
                    <a:pt x="529374" y="230871"/>
                    <a:pt x="501238" y="206896"/>
                  </a:cubicBezTo>
                  <a:cubicBezTo>
                    <a:pt x="473103" y="182921"/>
                    <a:pt x="508658" y="170912"/>
                    <a:pt x="487900" y="152083"/>
                  </a:cubicBezTo>
                  <a:cubicBezTo>
                    <a:pt x="467184" y="133212"/>
                    <a:pt x="459764" y="81831"/>
                    <a:pt x="474561" y="64718"/>
                  </a:cubicBezTo>
                  <a:cubicBezTo>
                    <a:pt x="489358" y="47562"/>
                    <a:pt x="505656" y="21872"/>
                    <a:pt x="479022" y="9905"/>
                  </a:cubicBezTo>
                  <a:cubicBezTo>
                    <a:pt x="452345" y="-2061"/>
                    <a:pt x="409412" y="20199"/>
                    <a:pt x="413830" y="27018"/>
                  </a:cubicBezTo>
                  <a:cubicBezTo>
                    <a:pt x="418247" y="33881"/>
                    <a:pt x="455304" y="57856"/>
                    <a:pt x="455304" y="68149"/>
                  </a:cubicBezTo>
                  <a:cubicBezTo>
                    <a:pt x="455304" y="78400"/>
                    <a:pt x="421250" y="39027"/>
                    <a:pt x="409369" y="47562"/>
                  </a:cubicBezTo>
                  <a:cubicBezTo>
                    <a:pt x="397489" y="56140"/>
                    <a:pt x="384193" y="30449"/>
                    <a:pt x="373814" y="47562"/>
                  </a:cubicBezTo>
                  <a:cubicBezTo>
                    <a:pt x="363435" y="64718"/>
                    <a:pt x="387153" y="124634"/>
                    <a:pt x="396031" y="141790"/>
                  </a:cubicBezTo>
                  <a:cubicBezTo>
                    <a:pt x="404952" y="158946"/>
                    <a:pt x="387153" y="158946"/>
                    <a:pt x="375315" y="162334"/>
                  </a:cubicBezTo>
                  <a:cubicBezTo>
                    <a:pt x="363478" y="165765"/>
                    <a:pt x="361977" y="114384"/>
                    <a:pt x="350139" y="95513"/>
                  </a:cubicBezTo>
                  <a:cubicBezTo>
                    <a:pt x="338302" y="76684"/>
                    <a:pt x="290909" y="54382"/>
                    <a:pt x="287950" y="68106"/>
                  </a:cubicBezTo>
                  <a:cubicBezTo>
                    <a:pt x="284990" y="81788"/>
                    <a:pt x="317586" y="81788"/>
                    <a:pt x="313126" y="100659"/>
                  </a:cubicBezTo>
                  <a:cubicBezTo>
                    <a:pt x="308665" y="119530"/>
                    <a:pt x="290909" y="88693"/>
                    <a:pt x="274611" y="104090"/>
                  </a:cubicBezTo>
                  <a:cubicBezTo>
                    <a:pt x="258313" y="119530"/>
                    <a:pt x="261273" y="109237"/>
                    <a:pt x="264232" y="93797"/>
                  </a:cubicBezTo>
                  <a:cubicBezTo>
                    <a:pt x="267191" y="78357"/>
                    <a:pt x="240514" y="61244"/>
                    <a:pt x="210878" y="64675"/>
                  </a:cubicBezTo>
                  <a:cubicBezTo>
                    <a:pt x="181241" y="68106"/>
                    <a:pt x="197539" y="92081"/>
                    <a:pt x="188661" y="100616"/>
                  </a:cubicBezTo>
                  <a:cubicBezTo>
                    <a:pt x="179783" y="109194"/>
                    <a:pt x="135350" y="95470"/>
                    <a:pt x="163485" y="88650"/>
                  </a:cubicBezTo>
                  <a:cubicBezTo>
                    <a:pt x="191620" y="81788"/>
                    <a:pt x="179783" y="62959"/>
                    <a:pt x="169404" y="44088"/>
                  </a:cubicBezTo>
                  <a:cubicBezTo>
                    <a:pt x="159024" y="25260"/>
                    <a:pt x="130889" y="47519"/>
                    <a:pt x="84955" y="66348"/>
                  </a:cubicBezTo>
                  <a:cubicBezTo>
                    <a:pt x="39020" y="85176"/>
                    <a:pt x="18305" y="105720"/>
                    <a:pt x="24223" y="107479"/>
                  </a:cubicBezTo>
                  <a:cubicBezTo>
                    <a:pt x="30142" y="109194"/>
                    <a:pt x="31643" y="117729"/>
                    <a:pt x="13844" y="134885"/>
                  </a:cubicBezTo>
                  <a:cubicBezTo>
                    <a:pt x="-3955" y="151998"/>
                    <a:pt x="13844" y="167438"/>
                    <a:pt x="30142" y="167438"/>
                  </a:cubicBezTo>
                  <a:cubicBezTo>
                    <a:pt x="46440" y="167438"/>
                    <a:pt x="32072" y="182535"/>
                    <a:pt x="43481" y="186266"/>
                  </a:cubicBezTo>
                  <a:cubicBezTo>
                    <a:pt x="53860" y="189697"/>
                    <a:pt x="107171" y="162291"/>
                    <a:pt x="122011" y="174300"/>
                  </a:cubicBezTo>
                  <a:cubicBezTo>
                    <a:pt x="136808" y="186266"/>
                    <a:pt x="34603" y="193129"/>
                    <a:pt x="34603" y="213715"/>
                  </a:cubicBezTo>
                  <a:cubicBezTo>
                    <a:pt x="34603" y="234259"/>
                    <a:pt x="90873" y="246268"/>
                    <a:pt x="132347" y="237691"/>
                  </a:cubicBezTo>
                  <a:cubicBezTo>
                    <a:pt x="173821" y="229113"/>
                    <a:pt x="246433" y="244553"/>
                    <a:pt x="246433" y="256562"/>
                  </a:cubicBezTo>
                  <a:cubicBezTo>
                    <a:pt x="246433" y="268528"/>
                    <a:pt x="197539" y="265097"/>
                    <a:pt x="160526" y="263424"/>
                  </a:cubicBezTo>
                  <a:cubicBezTo>
                    <a:pt x="123512" y="261709"/>
                    <a:pt x="59822" y="275433"/>
                    <a:pt x="62781" y="289115"/>
                  </a:cubicBezTo>
                  <a:cubicBezTo>
                    <a:pt x="66083" y="304426"/>
                    <a:pt x="70201" y="304512"/>
                    <a:pt x="108715" y="325099"/>
                  </a:cubicBezTo>
                  <a:cubicBezTo>
                    <a:pt x="147230" y="345643"/>
                    <a:pt x="187203" y="314806"/>
                    <a:pt x="185745" y="343970"/>
                  </a:cubicBezTo>
                  <a:cubicBezTo>
                    <a:pt x="184243" y="373092"/>
                    <a:pt x="206503" y="379954"/>
                    <a:pt x="258313" y="381627"/>
                  </a:cubicBezTo>
                  <a:cubicBezTo>
                    <a:pt x="310166" y="383343"/>
                    <a:pt x="333841" y="354221"/>
                    <a:pt x="359060" y="355936"/>
                  </a:cubicBezTo>
                  <a:cubicBezTo>
                    <a:pt x="384236" y="357652"/>
                    <a:pt x="396074" y="352505"/>
                    <a:pt x="407954" y="331961"/>
                  </a:cubicBezTo>
                  <a:cubicBezTo>
                    <a:pt x="419792" y="311417"/>
                    <a:pt x="430171" y="323383"/>
                    <a:pt x="433130" y="333677"/>
                  </a:cubicBezTo>
                  <a:cubicBezTo>
                    <a:pt x="436089" y="343970"/>
                    <a:pt x="468685" y="342212"/>
                    <a:pt x="476105" y="350790"/>
                  </a:cubicBezTo>
                  <a:cubicBezTo>
                    <a:pt x="494976" y="372620"/>
                    <a:pt x="557595" y="366230"/>
                    <a:pt x="581270" y="352505"/>
                  </a:cubicBezTo>
                  <a:cubicBezTo>
                    <a:pt x="604988" y="338824"/>
                    <a:pt x="570890" y="301124"/>
                    <a:pt x="559053" y="318237"/>
                  </a:cubicBezTo>
                  <a:cubicBezTo>
                    <a:pt x="547216" y="335350"/>
                    <a:pt x="536836" y="325099"/>
                    <a:pt x="533877" y="316521"/>
                  </a:cubicBezTo>
                  <a:cubicBezTo>
                    <a:pt x="530832" y="307943"/>
                    <a:pt x="557509" y="302797"/>
                    <a:pt x="566387" y="29083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57" name="Freeform: Shape 210">
              <a:extLst>
                <a:ext uri="{FF2B5EF4-FFF2-40B4-BE49-F238E27FC236}">
                  <a16:creationId xmlns:a16="http://schemas.microsoft.com/office/drawing/2014/main" id="{7A2084C3-3925-A37A-B95B-2A890116DB97}"/>
                </a:ext>
              </a:extLst>
            </p:cNvPr>
            <p:cNvSpPr/>
            <p:nvPr/>
          </p:nvSpPr>
          <p:spPr>
            <a:xfrm>
              <a:off x="4911912" y="1696724"/>
              <a:ext cx="124653" cy="72167"/>
            </a:xfrm>
            <a:custGeom>
              <a:avLst/>
              <a:gdLst>
                <a:gd name="connsiteX0" fmla="*/ 8162 w 162979"/>
                <a:gd name="connsiteY0" fmla="*/ 14605 h 94356"/>
                <a:gd name="connsiteX1" fmla="*/ 28878 w 162979"/>
                <a:gd name="connsiteY1" fmla="*/ 62598 h 94356"/>
                <a:gd name="connsiteX2" fmla="*/ 79230 w 162979"/>
                <a:gd name="connsiteY2" fmla="*/ 81426 h 94356"/>
                <a:gd name="connsiteX3" fmla="*/ 159218 w 162979"/>
                <a:gd name="connsiteY3" fmla="*/ 66029 h 94356"/>
                <a:gd name="connsiteX4" fmla="*/ 74769 w 162979"/>
                <a:gd name="connsiteY4" fmla="*/ 18036 h 94356"/>
                <a:gd name="connsiteX5" fmla="*/ 8162 w 162979"/>
                <a:gd name="connsiteY5" fmla="*/ 14605 h 94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979" h="94356">
                  <a:moveTo>
                    <a:pt x="8162" y="14605"/>
                  </a:moveTo>
                  <a:cubicBezTo>
                    <a:pt x="-716" y="36864"/>
                    <a:pt x="27419" y="36864"/>
                    <a:pt x="28878" y="62598"/>
                  </a:cubicBezTo>
                  <a:cubicBezTo>
                    <a:pt x="30336" y="88289"/>
                    <a:pt x="58514" y="96867"/>
                    <a:pt x="79230" y="81426"/>
                  </a:cubicBezTo>
                  <a:cubicBezTo>
                    <a:pt x="99945" y="66029"/>
                    <a:pt x="159218" y="86016"/>
                    <a:pt x="159218" y="66029"/>
                  </a:cubicBezTo>
                  <a:cubicBezTo>
                    <a:pt x="159218" y="47201"/>
                    <a:pt x="96986" y="12932"/>
                    <a:pt x="74769" y="18036"/>
                  </a:cubicBezTo>
                  <a:cubicBezTo>
                    <a:pt x="52595" y="23183"/>
                    <a:pt x="17040" y="-7655"/>
                    <a:pt x="8162" y="1460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58" name="Freeform: Shape 213">
              <a:extLst>
                <a:ext uri="{FF2B5EF4-FFF2-40B4-BE49-F238E27FC236}">
                  <a16:creationId xmlns:a16="http://schemas.microsoft.com/office/drawing/2014/main" id="{AB4FAA73-96B6-0A4F-51EB-79DF24706DC1}"/>
                </a:ext>
              </a:extLst>
            </p:cNvPr>
            <p:cNvSpPr/>
            <p:nvPr/>
          </p:nvSpPr>
          <p:spPr>
            <a:xfrm>
              <a:off x="4679771" y="1695684"/>
              <a:ext cx="731516" cy="619984"/>
            </a:xfrm>
            <a:custGeom>
              <a:avLst/>
              <a:gdLst>
                <a:gd name="connsiteX0" fmla="*/ 943524 w 956431"/>
                <a:gd name="connsiteY0" fmla="*/ 510520 h 810607"/>
                <a:gd name="connsiteX1" fmla="*/ 942752 w 956431"/>
                <a:gd name="connsiteY1" fmla="*/ 506531 h 810607"/>
                <a:gd name="connsiteX2" fmla="*/ 937305 w 956431"/>
                <a:gd name="connsiteY2" fmla="*/ 497739 h 810607"/>
                <a:gd name="connsiteX3" fmla="*/ 931987 w 956431"/>
                <a:gd name="connsiteY3" fmla="*/ 488775 h 810607"/>
                <a:gd name="connsiteX4" fmla="*/ 904195 w 956431"/>
                <a:gd name="connsiteY4" fmla="*/ 459653 h 810607"/>
                <a:gd name="connsiteX5" fmla="*/ 844922 w 956431"/>
                <a:gd name="connsiteY5" fmla="*/ 423712 h 810607"/>
                <a:gd name="connsiteX6" fmla="*/ 785692 w 956431"/>
                <a:gd name="connsiteY6" fmla="*/ 399694 h 810607"/>
                <a:gd name="connsiteX7" fmla="*/ 741258 w 956431"/>
                <a:gd name="connsiteY7" fmla="*/ 356848 h 810607"/>
                <a:gd name="connsiteX8" fmla="*/ 787193 w 956431"/>
                <a:gd name="connsiteY8" fmla="*/ 344839 h 810607"/>
                <a:gd name="connsiteX9" fmla="*/ 748678 w 956431"/>
                <a:gd name="connsiteY9" fmla="*/ 322579 h 810607"/>
                <a:gd name="connsiteX10" fmla="*/ 767935 w 956431"/>
                <a:gd name="connsiteY10" fmla="*/ 305466 h 810607"/>
                <a:gd name="connsiteX11" fmla="*/ 750179 w 956431"/>
                <a:gd name="connsiteY11" fmla="*/ 272913 h 810607"/>
                <a:gd name="connsiteX12" fmla="*/ 726461 w 956431"/>
                <a:gd name="connsiteY12" fmla="*/ 286595 h 810607"/>
                <a:gd name="connsiteX13" fmla="*/ 732380 w 956431"/>
                <a:gd name="connsiteY13" fmla="*/ 255758 h 810607"/>
                <a:gd name="connsiteX14" fmla="*/ 680527 w 956431"/>
                <a:gd name="connsiteY14" fmla="*/ 236886 h 810607"/>
                <a:gd name="connsiteX15" fmla="*/ 656809 w 956431"/>
                <a:gd name="connsiteY15" fmla="*/ 218058 h 810607"/>
                <a:gd name="connsiteX16" fmla="*/ 613834 w 956431"/>
                <a:gd name="connsiteY16" fmla="*/ 228308 h 810607"/>
                <a:gd name="connsiteX17" fmla="*/ 601997 w 956431"/>
                <a:gd name="connsiteY17" fmla="*/ 216300 h 810607"/>
                <a:gd name="connsiteX18" fmla="*/ 630132 w 956431"/>
                <a:gd name="connsiteY18" fmla="*/ 185462 h 810607"/>
                <a:gd name="connsiteX19" fmla="*/ 579780 w 956431"/>
                <a:gd name="connsiteY19" fmla="*/ 187178 h 810607"/>
                <a:gd name="connsiteX20" fmla="*/ 541265 w 956431"/>
                <a:gd name="connsiteY20" fmla="*/ 151194 h 810607"/>
                <a:gd name="connsiteX21" fmla="*/ 499791 w 956431"/>
                <a:gd name="connsiteY21" fmla="*/ 123787 h 810607"/>
                <a:gd name="connsiteX22" fmla="*/ 428681 w 956431"/>
                <a:gd name="connsiteY22" fmla="*/ 91234 h 810607"/>
                <a:gd name="connsiteX23" fmla="*/ 391625 w 956431"/>
                <a:gd name="connsiteY23" fmla="*/ 123787 h 810607"/>
                <a:gd name="connsiteX24" fmla="*/ 370866 w 956431"/>
                <a:gd name="connsiteY24" fmla="*/ 115209 h 810607"/>
                <a:gd name="connsiteX25" fmla="*/ 316054 w 956431"/>
                <a:gd name="connsiteY25" fmla="*/ 135753 h 810607"/>
                <a:gd name="connsiteX26" fmla="*/ 317512 w 956431"/>
                <a:gd name="connsiteY26" fmla="*/ 70647 h 810607"/>
                <a:gd name="connsiteX27" fmla="*/ 293837 w 956431"/>
                <a:gd name="connsiteY27" fmla="*/ 24413 h 810607"/>
                <a:gd name="connsiteX28" fmla="*/ 228645 w 956431"/>
                <a:gd name="connsiteY28" fmla="*/ 24413 h 810607"/>
                <a:gd name="connsiteX29" fmla="*/ 157535 w 956431"/>
                <a:gd name="connsiteY29" fmla="*/ 56966 h 810607"/>
                <a:gd name="connsiteX30" fmla="*/ 167871 w 956431"/>
                <a:gd name="connsiteY30" fmla="*/ 113494 h 810607"/>
                <a:gd name="connsiteX31" fmla="*/ 150072 w 956431"/>
                <a:gd name="connsiteY31" fmla="*/ 149478 h 810607"/>
                <a:gd name="connsiteX32" fmla="*/ 185627 w 956431"/>
                <a:gd name="connsiteY32" fmla="*/ 178600 h 810607"/>
                <a:gd name="connsiteX33" fmla="*/ 129356 w 956431"/>
                <a:gd name="connsiteY33" fmla="*/ 152909 h 810607"/>
                <a:gd name="connsiteX34" fmla="*/ 121937 w 956431"/>
                <a:gd name="connsiteY34" fmla="*/ 103243 h 810607"/>
                <a:gd name="connsiteX35" fmla="*/ 139693 w 956431"/>
                <a:gd name="connsiteY35" fmla="*/ 48431 h 810607"/>
                <a:gd name="connsiteX36" fmla="*/ 173790 w 956431"/>
                <a:gd name="connsiteY36" fmla="*/ 14162 h 810607"/>
                <a:gd name="connsiteX37" fmla="*/ 41948 w 956431"/>
                <a:gd name="connsiteY37" fmla="*/ 51862 h 810607"/>
                <a:gd name="connsiteX38" fmla="*/ 10853 w 956431"/>
                <a:gd name="connsiteY38" fmla="*/ 185505 h 810607"/>
                <a:gd name="connsiteX39" fmla="*/ 81964 w 956431"/>
                <a:gd name="connsiteY39" fmla="*/ 200902 h 810607"/>
                <a:gd name="connsiteX40" fmla="*/ 74544 w 956431"/>
                <a:gd name="connsiteY40" fmla="*/ 218058 h 810607"/>
                <a:gd name="connsiteX41" fmla="*/ 24192 w 956431"/>
                <a:gd name="connsiteY41" fmla="*/ 223205 h 810607"/>
                <a:gd name="connsiteX42" fmla="*/ 89384 w 956431"/>
                <a:gd name="connsiteY42" fmla="*/ 260904 h 810607"/>
                <a:gd name="connsiteX43" fmla="*/ 123438 w 956431"/>
                <a:gd name="connsiteY43" fmla="*/ 269439 h 810607"/>
                <a:gd name="connsiteX44" fmla="*/ 190088 w 956431"/>
                <a:gd name="connsiteY44" fmla="*/ 281448 h 810607"/>
                <a:gd name="connsiteX45" fmla="*/ 264158 w 956431"/>
                <a:gd name="connsiteY45" fmla="*/ 296846 h 810607"/>
                <a:gd name="connsiteX46" fmla="*/ 298212 w 956431"/>
                <a:gd name="connsiteY46" fmla="*/ 279733 h 810607"/>
                <a:gd name="connsiteX47" fmla="*/ 318241 w 956431"/>
                <a:gd name="connsiteY47" fmla="*/ 279904 h 810607"/>
                <a:gd name="connsiteX48" fmla="*/ 368078 w 956431"/>
                <a:gd name="connsiteY48" fmla="*/ 281363 h 810607"/>
                <a:gd name="connsiteX49" fmla="*/ 375284 w 956431"/>
                <a:gd name="connsiteY49" fmla="*/ 289211 h 810607"/>
                <a:gd name="connsiteX50" fmla="*/ 381245 w 956431"/>
                <a:gd name="connsiteY50" fmla="*/ 288139 h 810607"/>
                <a:gd name="connsiteX51" fmla="*/ 369279 w 956431"/>
                <a:gd name="connsiteY51" fmla="*/ 267767 h 810607"/>
                <a:gd name="connsiteX52" fmla="*/ 376699 w 956431"/>
                <a:gd name="connsiteY52" fmla="*/ 248938 h 810607"/>
                <a:gd name="connsiteX53" fmla="*/ 416715 w 956431"/>
                <a:gd name="connsiteY53" fmla="*/ 278060 h 810607"/>
                <a:gd name="connsiteX54" fmla="*/ 434514 w 956431"/>
                <a:gd name="connsiteY54" fmla="*/ 296889 h 810607"/>
                <a:gd name="connsiteX55" fmla="*/ 484866 w 956431"/>
                <a:gd name="connsiteY55" fmla="*/ 336304 h 810607"/>
                <a:gd name="connsiteX56" fmla="*/ 452270 w 956431"/>
                <a:gd name="connsiteY56" fmla="*/ 368857 h 810607"/>
                <a:gd name="connsiteX57" fmla="*/ 504123 w 956431"/>
                <a:gd name="connsiteY57" fmla="*/ 351744 h 810607"/>
                <a:gd name="connsiteX58" fmla="*/ 535218 w 956431"/>
                <a:gd name="connsiteY58" fmla="*/ 389444 h 810607"/>
                <a:gd name="connsiteX59" fmla="*/ 585570 w 956431"/>
                <a:gd name="connsiteY59" fmla="*/ 427100 h 810607"/>
                <a:gd name="connsiteX60" fmla="*/ 585570 w 956431"/>
                <a:gd name="connsiteY60" fmla="*/ 493922 h 810607"/>
                <a:gd name="connsiteX61" fmla="*/ 640383 w 956431"/>
                <a:gd name="connsiteY61" fmla="*/ 488775 h 810607"/>
                <a:gd name="connsiteX62" fmla="*/ 692236 w 956431"/>
                <a:gd name="connsiteY62" fmla="*/ 517897 h 810607"/>
                <a:gd name="connsiteX63" fmla="*/ 643342 w 956431"/>
                <a:gd name="connsiteY63" fmla="*/ 545346 h 810607"/>
                <a:gd name="connsiteX64" fmla="*/ 558893 w 956431"/>
                <a:gd name="connsiteY64" fmla="*/ 509362 h 810607"/>
                <a:gd name="connsiteX65" fmla="*/ 550015 w 956431"/>
                <a:gd name="connsiteY65" fmla="*/ 574468 h 810607"/>
                <a:gd name="connsiteX66" fmla="*/ 471528 w 956431"/>
                <a:gd name="connsiteY66" fmla="*/ 593339 h 810607"/>
                <a:gd name="connsiteX67" fmla="*/ 427094 w 956431"/>
                <a:gd name="connsiteY67" fmla="*/ 603590 h 810607"/>
                <a:gd name="connsiteX68" fmla="*/ 407837 w 956431"/>
                <a:gd name="connsiteY68" fmla="*/ 651583 h 810607"/>
                <a:gd name="connsiteX69" fmla="*/ 481907 w 956431"/>
                <a:gd name="connsiteY69" fmla="*/ 655014 h 810607"/>
                <a:gd name="connsiteX70" fmla="*/ 514502 w 956431"/>
                <a:gd name="connsiteY70" fmla="*/ 648152 h 810607"/>
                <a:gd name="connsiteX71" fmla="*/ 564854 w 956431"/>
                <a:gd name="connsiteY71" fmla="*/ 644721 h 810607"/>
                <a:gd name="connsiteX72" fmla="*/ 603369 w 956431"/>
                <a:gd name="connsiteY72" fmla="*/ 684136 h 810607"/>
                <a:gd name="connsiteX73" fmla="*/ 622626 w 956431"/>
                <a:gd name="connsiteY73" fmla="*/ 733845 h 810607"/>
                <a:gd name="connsiteX74" fmla="*/ 702615 w 956431"/>
                <a:gd name="connsiteY74" fmla="*/ 762967 h 810607"/>
                <a:gd name="connsiteX75" fmla="*/ 714024 w 956431"/>
                <a:gd name="connsiteY75" fmla="*/ 773217 h 810607"/>
                <a:gd name="connsiteX76" fmla="*/ 750308 w 956431"/>
                <a:gd name="connsiteY76" fmla="*/ 780894 h 810607"/>
                <a:gd name="connsiteX77" fmla="*/ 765233 w 956431"/>
                <a:gd name="connsiteY77" fmla="*/ 785055 h 810607"/>
                <a:gd name="connsiteX78" fmla="*/ 800188 w 956431"/>
                <a:gd name="connsiteY78" fmla="*/ 802125 h 810607"/>
                <a:gd name="connsiteX79" fmla="*/ 806836 w 956431"/>
                <a:gd name="connsiteY79" fmla="*/ 808043 h 810607"/>
                <a:gd name="connsiteX80" fmla="*/ 718870 w 956431"/>
                <a:gd name="connsiteY80" fmla="*/ 706439 h 810607"/>
                <a:gd name="connsiteX81" fmla="*/ 769222 w 956431"/>
                <a:gd name="connsiteY81" fmla="*/ 716732 h 810607"/>
                <a:gd name="connsiteX82" fmla="*/ 859590 w 956431"/>
                <a:gd name="connsiteY82" fmla="*/ 723594 h 810607"/>
                <a:gd name="connsiteX83" fmla="*/ 861863 w 956431"/>
                <a:gd name="connsiteY83" fmla="*/ 700691 h 810607"/>
                <a:gd name="connsiteX84" fmla="*/ 850926 w 956431"/>
                <a:gd name="connsiteY84" fmla="*/ 693572 h 810607"/>
                <a:gd name="connsiteX85" fmla="*/ 845822 w 956431"/>
                <a:gd name="connsiteY85" fmla="*/ 689411 h 810607"/>
                <a:gd name="connsiteX86" fmla="*/ 830640 w 956431"/>
                <a:gd name="connsiteY86" fmla="*/ 641075 h 810607"/>
                <a:gd name="connsiteX87" fmla="*/ 807737 w 956431"/>
                <a:gd name="connsiteY87" fmla="*/ 625935 h 810607"/>
                <a:gd name="connsiteX88" fmla="*/ 752924 w 956431"/>
                <a:gd name="connsiteY88" fmla="*/ 567692 h 810607"/>
                <a:gd name="connsiteX89" fmla="*/ 761802 w 956431"/>
                <a:gd name="connsiteY89" fmla="*/ 524845 h 810607"/>
                <a:gd name="connsiteX90" fmla="*/ 809195 w 956431"/>
                <a:gd name="connsiteY90" fmla="*/ 543674 h 810607"/>
                <a:gd name="connsiteX91" fmla="*/ 858089 w 956431"/>
                <a:gd name="connsiteY91" fmla="*/ 598486 h 810607"/>
                <a:gd name="connsiteX92" fmla="*/ 864779 w 956431"/>
                <a:gd name="connsiteY92" fmla="*/ 604491 h 810607"/>
                <a:gd name="connsiteX93" fmla="*/ 875244 w 956431"/>
                <a:gd name="connsiteY93" fmla="*/ 599516 h 810607"/>
                <a:gd name="connsiteX94" fmla="*/ 892443 w 956431"/>
                <a:gd name="connsiteY94" fmla="*/ 593168 h 810607"/>
                <a:gd name="connsiteX95" fmla="*/ 893601 w 956431"/>
                <a:gd name="connsiteY95" fmla="*/ 588236 h 810607"/>
                <a:gd name="connsiteX96" fmla="*/ 896046 w 956431"/>
                <a:gd name="connsiteY96" fmla="*/ 583175 h 810607"/>
                <a:gd name="connsiteX97" fmla="*/ 928899 w 956431"/>
                <a:gd name="connsiteY97" fmla="*/ 547362 h 810607"/>
                <a:gd name="connsiteX98" fmla="*/ 929585 w 956431"/>
                <a:gd name="connsiteY98" fmla="*/ 546590 h 810607"/>
                <a:gd name="connsiteX99" fmla="*/ 942366 w 956431"/>
                <a:gd name="connsiteY99" fmla="*/ 536811 h 810607"/>
                <a:gd name="connsiteX100" fmla="*/ 943138 w 956431"/>
                <a:gd name="connsiteY100" fmla="*/ 536039 h 810607"/>
                <a:gd name="connsiteX101" fmla="*/ 950215 w 956431"/>
                <a:gd name="connsiteY101" fmla="*/ 524974 h 810607"/>
                <a:gd name="connsiteX102" fmla="*/ 943524 w 956431"/>
                <a:gd name="connsiteY102" fmla="*/ 510520 h 810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956431" h="810607">
                  <a:moveTo>
                    <a:pt x="943524" y="510520"/>
                  </a:moveTo>
                  <a:cubicBezTo>
                    <a:pt x="943395" y="509191"/>
                    <a:pt x="943095" y="507861"/>
                    <a:pt x="942752" y="506531"/>
                  </a:cubicBezTo>
                  <a:cubicBezTo>
                    <a:pt x="940908" y="503615"/>
                    <a:pt x="939192" y="500613"/>
                    <a:pt x="937305" y="497739"/>
                  </a:cubicBezTo>
                  <a:cubicBezTo>
                    <a:pt x="935332" y="494737"/>
                    <a:pt x="933617" y="491777"/>
                    <a:pt x="931987" y="488775"/>
                  </a:cubicBezTo>
                  <a:cubicBezTo>
                    <a:pt x="908612" y="490276"/>
                    <a:pt x="904195" y="471577"/>
                    <a:pt x="904195" y="459653"/>
                  </a:cubicBezTo>
                  <a:cubicBezTo>
                    <a:pt x="904195" y="447687"/>
                    <a:pt x="859761" y="418565"/>
                    <a:pt x="844922" y="423712"/>
                  </a:cubicBezTo>
                  <a:cubicBezTo>
                    <a:pt x="830125" y="428816"/>
                    <a:pt x="804949" y="401453"/>
                    <a:pt x="785692" y="399694"/>
                  </a:cubicBezTo>
                  <a:cubicBezTo>
                    <a:pt x="766434" y="397979"/>
                    <a:pt x="738299" y="380866"/>
                    <a:pt x="741258" y="356848"/>
                  </a:cubicBezTo>
                  <a:cubicBezTo>
                    <a:pt x="744218" y="332873"/>
                    <a:pt x="779773" y="363710"/>
                    <a:pt x="787193" y="344839"/>
                  </a:cubicBezTo>
                  <a:cubicBezTo>
                    <a:pt x="794612" y="326010"/>
                    <a:pt x="750179" y="336304"/>
                    <a:pt x="748678" y="322579"/>
                  </a:cubicBezTo>
                  <a:cubicBezTo>
                    <a:pt x="747177" y="308898"/>
                    <a:pt x="759057" y="314001"/>
                    <a:pt x="767935" y="305466"/>
                  </a:cubicBezTo>
                  <a:cubicBezTo>
                    <a:pt x="776814" y="296889"/>
                    <a:pt x="760515" y="279776"/>
                    <a:pt x="750179" y="272913"/>
                  </a:cubicBezTo>
                  <a:cubicBezTo>
                    <a:pt x="739800" y="266051"/>
                    <a:pt x="736841" y="286595"/>
                    <a:pt x="726461" y="286595"/>
                  </a:cubicBezTo>
                  <a:cubicBezTo>
                    <a:pt x="716082" y="286595"/>
                    <a:pt x="725003" y="267767"/>
                    <a:pt x="732380" y="255758"/>
                  </a:cubicBezTo>
                  <a:cubicBezTo>
                    <a:pt x="739800" y="243749"/>
                    <a:pt x="698326" y="230067"/>
                    <a:pt x="680527" y="236886"/>
                  </a:cubicBezTo>
                  <a:cubicBezTo>
                    <a:pt x="662728" y="243749"/>
                    <a:pt x="656809" y="231783"/>
                    <a:pt x="656809" y="218058"/>
                  </a:cubicBezTo>
                  <a:cubicBezTo>
                    <a:pt x="656809" y="204333"/>
                    <a:pt x="625714" y="218058"/>
                    <a:pt x="613834" y="228308"/>
                  </a:cubicBezTo>
                  <a:cubicBezTo>
                    <a:pt x="601997" y="238602"/>
                    <a:pt x="587200" y="218058"/>
                    <a:pt x="601997" y="216300"/>
                  </a:cubicBezTo>
                  <a:cubicBezTo>
                    <a:pt x="616794" y="214584"/>
                    <a:pt x="634592" y="200902"/>
                    <a:pt x="630132" y="185462"/>
                  </a:cubicBezTo>
                  <a:cubicBezTo>
                    <a:pt x="625671" y="170065"/>
                    <a:pt x="587200" y="168349"/>
                    <a:pt x="579780" y="187178"/>
                  </a:cubicBezTo>
                  <a:cubicBezTo>
                    <a:pt x="572403" y="206049"/>
                    <a:pt x="541265" y="166634"/>
                    <a:pt x="541265" y="151194"/>
                  </a:cubicBezTo>
                  <a:cubicBezTo>
                    <a:pt x="541265" y="135753"/>
                    <a:pt x="493873" y="149478"/>
                    <a:pt x="499791" y="123787"/>
                  </a:cubicBezTo>
                  <a:cubicBezTo>
                    <a:pt x="505710" y="98097"/>
                    <a:pt x="444979" y="91234"/>
                    <a:pt x="428681" y="91234"/>
                  </a:cubicBezTo>
                  <a:cubicBezTo>
                    <a:pt x="412383" y="91234"/>
                    <a:pt x="388665" y="106632"/>
                    <a:pt x="391625" y="123787"/>
                  </a:cubicBezTo>
                  <a:cubicBezTo>
                    <a:pt x="394584" y="140900"/>
                    <a:pt x="373868" y="134038"/>
                    <a:pt x="370866" y="115209"/>
                  </a:cubicBezTo>
                  <a:cubicBezTo>
                    <a:pt x="367907" y="96381"/>
                    <a:pt x="327934" y="135753"/>
                    <a:pt x="316054" y="135753"/>
                  </a:cubicBezTo>
                  <a:cubicBezTo>
                    <a:pt x="304216" y="135753"/>
                    <a:pt x="323474" y="86045"/>
                    <a:pt x="317512" y="70647"/>
                  </a:cubicBezTo>
                  <a:cubicBezTo>
                    <a:pt x="311593" y="55207"/>
                    <a:pt x="302715" y="50103"/>
                    <a:pt x="293837" y="24413"/>
                  </a:cubicBezTo>
                  <a:cubicBezTo>
                    <a:pt x="284959" y="-1278"/>
                    <a:pt x="240526" y="9015"/>
                    <a:pt x="228645" y="24413"/>
                  </a:cubicBezTo>
                  <a:cubicBezTo>
                    <a:pt x="216808" y="39810"/>
                    <a:pt x="178293" y="32991"/>
                    <a:pt x="157535" y="56966"/>
                  </a:cubicBezTo>
                  <a:cubicBezTo>
                    <a:pt x="136776" y="80941"/>
                    <a:pt x="158993" y="104916"/>
                    <a:pt x="167871" y="113494"/>
                  </a:cubicBezTo>
                  <a:cubicBezTo>
                    <a:pt x="176749" y="122029"/>
                    <a:pt x="136776" y="135753"/>
                    <a:pt x="150072" y="149478"/>
                  </a:cubicBezTo>
                  <a:cubicBezTo>
                    <a:pt x="163411" y="163203"/>
                    <a:pt x="184169" y="156340"/>
                    <a:pt x="185627" y="178600"/>
                  </a:cubicBezTo>
                  <a:cubicBezTo>
                    <a:pt x="187128" y="200859"/>
                    <a:pt x="136733" y="171738"/>
                    <a:pt x="129356" y="152909"/>
                  </a:cubicBezTo>
                  <a:cubicBezTo>
                    <a:pt x="121937" y="134081"/>
                    <a:pt x="132316" y="116925"/>
                    <a:pt x="121937" y="103243"/>
                  </a:cubicBezTo>
                  <a:cubicBezTo>
                    <a:pt x="111557" y="89519"/>
                    <a:pt x="120435" y="72406"/>
                    <a:pt x="139693" y="48431"/>
                  </a:cubicBezTo>
                  <a:cubicBezTo>
                    <a:pt x="158950" y="24456"/>
                    <a:pt x="173790" y="27887"/>
                    <a:pt x="173790" y="14162"/>
                  </a:cubicBezTo>
                  <a:cubicBezTo>
                    <a:pt x="173790" y="480"/>
                    <a:pt x="90842" y="480"/>
                    <a:pt x="41948" y="51862"/>
                  </a:cubicBezTo>
                  <a:cubicBezTo>
                    <a:pt x="-6946" y="103286"/>
                    <a:pt x="7894" y="171780"/>
                    <a:pt x="10853" y="185505"/>
                  </a:cubicBezTo>
                  <a:cubicBezTo>
                    <a:pt x="13813" y="199230"/>
                    <a:pt x="56788" y="192367"/>
                    <a:pt x="81964" y="200902"/>
                  </a:cubicBezTo>
                  <a:cubicBezTo>
                    <a:pt x="107140" y="209480"/>
                    <a:pt x="93801" y="221489"/>
                    <a:pt x="74544" y="218058"/>
                  </a:cubicBezTo>
                  <a:cubicBezTo>
                    <a:pt x="55287" y="214627"/>
                    <a:pt x="22691" y="207765"/>
                    <a:pt x="24192" y="223205"/>
                  </a:cubicBezTo>
                  <a:cubicBezTo>
                    <a:pt x="25650" y="238645"/>
                    <a:pt x="65666" y="267724"/>
                    <a:pt x="89384" y="260904"/>
                  </a:cubicBezTo>
                  <a:cubicBezTo>
                    <a:pt x="113102" y="254042"/>
                    <a:pt x="113102" y="254042"/>
                    <a:pt x="123438" y="269439"/>
                  </a:cubicBezTo>
                  <a:cubicBezTo>
                    <a:pt x="133817" y="284879"/>
                    <a:pt x="161952" y="279733"/>
                    <a:pt x="190088" y="281448"/>
                  </a:cubicBezTo>
                  <a:cubicBezTo>
                    <a:pt x="218223" y="283164"/>
                    <a:pt x="250819" y="295130"/>
                    <a:pt x="264158" y="296846"/>
                  </a:cubicBezTo>
                  <a:cubicBezTo>
                    <a:pt x="277453" y="298561"/>
                    <a:pt x="293751" y="288268"/>
                    <a:pt x="298212" y="279733"/>
                  </a:cubicBezTo>
                  <a:cubicBezTo>
                    <a:pt x="299799" y="276688"/>
                    <a:pt x="307862" y="277588"/>
                    <a:pt x="318241" y="279904"/>
                  </a:cubicBezTo>
                  <a:cubicBezTo>
                    <a:pt x="331794" y="266780"/>
                    <a:pt x="355254" y="267852"/>
                    <a:pt x="368078" y="281363"/>
                  </a:cubicBezTo>
                  <a:cubicBezTo>
                    <a:pt x="370523" y="283936"/>
                    <a:pt x="372882" y="286595"/>
                    <a:pt x="375284" y="289211"/>
                  </a:cubicBezTo>
                  <a:cubicBezTo>
                    <a:pt x="377214" y="288697"/>
                    <a:pt x="379230" y="288353"/>
                    <a:pt x="381245" y="288139"/>
                  </a:cubicBezTo>
                  <a:cubicBezTo>
                    <a:pt x="384977" y="282392"/>
                    <a:pt x="377128" y="271627"/>
                    <a:pt x="369279" y="267767"/>
                  </a:cubicBezTo>
                  <a:cubicBezTo>
                    <a:pt x="358900" y="262620"/>
                    <a:pt x="363361" y="240360"/>
                    <a:pt x="376699" y="248938"/>
                  </a:cubicBezTo>
                  <a:cubicBezTo>
                    <a:pt x="390038" y="257516"/>
                    <a:pt x="412254" y="262620"/>
                    <a:pt x="416715" y="278060"/>
                  </a:cubicBezTo>
                  <a:cubicBezTo>
                    <a:pt x="420489" y="291184"/>
                    <a:pt x="433013" y="284922"/>
                    <a:pt x="434514" y="296889"/>
                  </a:cubicBezTo>
                  <a:cubicBezTo>
                    <a:pt x="436015" y="308898"/>
                    <a:pt x="483408" y="322579"/>
                    <a:pt x="484866" y="336304"/>
                  </a:cubicBezTo>
                  <a:cubicBezTo>
                    <a:pt x="486367" y="349985"/>
                    <a:pt x="438931" y="356848"/>
                    <a:pt x="452270" y="368857"/>
                  </a:cubicBezTo>
                  <a:cubicBezTo>
                    <a:pt x="465609" y="380866"/>
                    <a:pt x="486324" y="353417"/>
                    <a:pt x="504123" y="351744"/>
                  </a:cubicBezTo>
                  <a:cubicBezTo>
                    <a:pt x="521880" y="350028"/>
                    <a:pt x="521880" y="396263"/>
                    <a:pt x="535218" y="389444"/>
                  </a:cubicBezTo>
                  <a:cubicBezTo>
                    <a:pt x="553403" y="380094"/>
                    <a:pt x="567814" y="398021"/>
                    <a:pt x="585570" y="427100"/>
                  </a:cubicBezTo>
                  <a:cubicBezTo>
                    <a:pt x="603326" y="456222"/>
                    <a:pt x="584069" y="483628"/>
                    <a:pt x="585570" y="493922"/>
                  </a:cubicBezTo>
                  <a:cubicBezTo>
                    <a:pt x="587071" y="504215"/>
                    <a:pt x="621125" y="500784"/>
                    <a:pt x="640383" y="488775"/>
                  </a:cubicBezTo>
                  <a:cubicBezTo>
                    <a:pt x="659640" y="476809"/>
                    <a:pt x="677439" y="502500"/>
                    <a:pt x="692236" y="517897"/>
                  </a:cubicBezTo>
                  <a:cubicBezTo>
                    <a:pt x="707076" y="533337"/>
                    <a:pt x="637423" y="559028"/>
                    <a:pt x="643342" y="545346"/>
                  </a:cubicBezTo>
                  <a:cubicBezTo>
                    <a:pt x="649261" y="531622"/>
                    <a:pt x="601868" y="490534"/>
                    <a:pt x="558893" y="509362"/>
                  </a:cubicBezTo>
                  <a:cubicBezTo>
                    <a:pt x="515918" y="528233"/>
                    <a:pt x="545554" y="557312"/>
                    <a:pt x="550015" y="574468"/>
                  </a:cubicBezTo>
                  <a:cubicBezTo>
                    <a:pt x="554475" y="591581"/>
                    <a:pt x="511500" y="608737"/>
                    <a:pt x="471528" y="593339"/>
                  </a:cubicBezTo>
                  <a:cubicBezTo>
                    <a:pt x="431512" y="577899"/>
                    <a:pt x="443392" y="603590"/>
                    <a:pt x="427094" y="603590"/>
                  </a:cubicBezTo>
                  <a:cubicBezTo>
                    <a:pt x="410796" y="603590"/>
                    <a:pt x="393040" y="632712"/>
                    <a:pt x="407837" y="651583"/>
                  </a:cubicBezTo>
                  <a:cubicBezTo>
                    <a:pt x="422634" y="670412"/>
                    <a:pt x="455229" y="653299"/>
                    <a:pt x="481907" y="655014"/>
                  </a:cubicBezTo>
                  <a:cubicBezTo>
                    <a:pt x="508584" y="656730"/>
                    <a:pt x="511500" y="665308"/>
                    <a:pt x="514502" y="648152"/>
                  </a:cubicBezTo>
                  <a:cubicBezTo>
                    <a:pt x="517462" y="631039"/>
                    <a:pt x="545597" y="639574"/>
                    <a:pt x="564854" y="644721"/>
                  </a:cubicBezTo>
                  <a:cubicBezTo>
                    <a:pt x="584112" y="649825"/>
                    <a:pt x="579651" y="680662"/>
                    <a:pt x="603369" y="684136"/>
                  </a:cubicBezTo>
                  <a:cubicBezTo>
                    <a:pt x="627087" y="687524"/>
                    <a:pt x="607830" y="714973"/>
                    <a:pt x="622626" y="733845"/>
                  </a:cubicBezTo>
                  <a:cubicBezTo>
                    <a:pt x="637423" y="752673"/>
                    <a:pt x="684816" y="742380"/>
                    <a:pt x="702615" y="762967"/>
                  </a:cubicBezTo>
                  <a:cubicBezTo>
                    <a:pt x="705274" y="766012"/>
                    <a:pt x="709263" y="769529"/>
                    <a:pt x="714024" y="773217"/>
                  </a:cubicBezTo>
                  <a:cubicBezTo>
                    <a:pt x="725775" y="769829"/>
                    <a:pt x="739157" y="772145"/>
                    <a:pt x="750308" y="780894"/>
                  </a:cubicBezTo>
                  <a:cubicBezTo>
                    <a:pt x="756055" y="781237"/>
                    <a:pt x="761030" y="782739"/>
                    <a:pt x="765233" y="785055"/>
                  </a:cubicBezTo>
                  <a:cubicBezTo>
                    <a:pt x="777457" y="788786"/>
                    <a:pt x="788865" y="794576"/>
                    <a:pt x="800188" y="802125"/>
                  </a:cubicBezTo>
                  <a:cubicBezTo>
                    <a:pt x="802762" y="803840"/>
                    <a:pt x="804906" y="805856"/>
                    <a:pt x="806836" y="808043"/>
                  </a:cubicBezTo>
                  <a:cubicBezTo>
                    <a:pt x="814942" y="788872"/>
                    <a:pt x="740658" y="713129"/>
                    <a:pt x="718870" y="706439"/>
                  </a:cubicBezTo>
                  <a:cubicBezTo>
                    <a:pt x="696653" y="699576"/>
                    <a:pt x="741087" y="691041"/>
                    <a:pt x="769222" y="716732"/>
                  </a:cubicBezTo>
                  <a:cubicBezTo>
                    <a:pt x="797357" y="742423"/>
                    <a:pt x="838831" y="754432"/>
                    <a:pt x="859590" y="723594"/>
                  </a:cubicBezTo>
                  <a:cubicBezTo>
                    <a:pt x="868125" y="710942"/>
                    <a:pt x="866581" y="704937"/>
                    <a:pt x="861863" y="700691"/>
                  </a:cubicBezTo>
                  <a:cubicBezTo>
                    <a:pt x="857874" y="698933"/>
                    <a:pt x="854143" y="696531"/>
                    <a:pt x="850926" y="693572"/>
                  </a:cubicBezTo>
                  <a:cubicBezTo>
                    <a:pt x="849039" y="692371"/>
                    <a:pt x="847324" y="690998"/>
                    <a:pt x="845822" y="689411"/>
                  </a:cubicBezTo>
                  <a:cubicBezTo>
                    <a:pt x="829610" y="678818"/>
                    <a:pt x="823091" y="657459"/>
                    <a:pt x="830640" y="641075"/>
                  </a:cubicBezTo>
                  <a:cubicBezTo>
                    <a:pt x="824849" y="632197"/>
                    <a:pt x="817044" y="625935"/>
                    <a:pt x="807737" y="625935"/>
                  </a:cubicBezTo>
                  <a:cubicBezTo>
                    <a:pt x="786978" y="625935"/>
                    <a:pt x="733667" y="577942"/>
                    <a:pt x="752924" y="567692"/>
                  </a:cubicBezTo>
                  <a:cubicBezTo>
                    <a:pt x="772181" y="557398"/>
                    <a:pt x="747005" y="543716"/>
                    <a:pt x="761802" y="524845"/>
                  </a:cubicBezTo>
                  <a:cubicBezTo>
                    <a:pt x="776599" y="506017"/>
                    <a:pt x="791439" y="541958"/>
                    <a:pt x="809195" y="543674"/>
                  </a:cubicBezTo>
                  <a:cubicBezTo>
                    <a:pt x="826994" y="545389"/>
                    <a:pt x="829953" y="571080"/>
                    <a:pt x="858089" y="598486"/>
                  </a:cubicBezTo>
                  <a:cubicBezTo>
                    <a:pt x="860533" y="600845"/>
                    <a:pt x="862721" y="602775"/>
                    <a:pt x="864779" y="604491"/>
                  </a:cubicBezTo>
                  <a:cubicBezTo>
                    <a:pt x="867825" y="602475"/>
                    <a:pt x="871213" y="600673"/>
                    <a:pt x="875244" y="599516"/>
                  </a:cubicBezTo>
                  <a:cubicBezTo>
                    <a:pt x="880691" y="597928"/>
                    <a:pt x="886610" y="595741"/>
                    <a:pt x="892443" y="593168"/>
                  </a:cubicBezTo>
                  <a:cubicBezTo>
                    <a:pt x="892829" y="591538"/>
                    <a:pt x="893215" y="589908"/>
                    <a:pt x="893601" y="588236"/>
                  </a:cubicBezTo>
                  <a:cubicBezTo>
                    <a:pt x="894116" y="586134"/>
                    <a:pt x="894974" y="584547"/>
                    <a:pt x="896046" y="583175"/>
                  </a:cubicBezTo>
                  <a:cubicBezTo>
                    <a:pt x="896732" y="565461"/>
                    <a:pt x="910371" y="550493"/>
                    <a:pt x="928899" y="547362"/>
                  </a:cubicBezTo>
                  <a:cubicBezTo>
                    <a:pt x="929156" y="547105"/>
                    <a:pt x="929328" y="546847"/>
                    <a:pt x="929585" y="546590"/>
                  </a:cubicBezTo>
                  <a:cubicBezTo>
                    <a:pt x="933702" y="542773"/>
                    <a:pt x="937949" y="539685"/>
                    <a:pt x="942366" y="536811"/>
                  </a:cubicBezTo>
                  <a:cubicBezTo>
                    <a:pt x="942624" y="536554"/>
                    <a:pt x="942881" y="536297"/>
                    <a:pt x="943138" y="536039"/>
                  </a:cubicBezTo>
                  <a:cubicBezTo>
                    <a:pt x="944811" y="532094"/>
                    <a:pt x="947213" y="528362"/>
                    <a:pt x="950215" y="524974"/>
                  </a:cubicBezTo>
                  <a:cubicBezTo>
                    <a:pt x="946827" y="520814"/>
                    <a:pt x="944296" y="515924"/>
                    <a:pt x="943524" y="51052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59" name="Freeform: Shape 214">
              <a:extLst>
                <a:ext uri="{FF2B5EF4-FFF2-40B4-BE49-F238E27FC236}">
                  <a16:creationId xmlns:a16="http://schemas.microsoft.com/office/drawing/2014/main" id="{5ECDAC67-6BB7-FDC7-5BA2-96C1F2F66AC4}"/>
                </a:ext>
              </a:extLst>
            </p:cNvPr>
            <p:cNvSpPr/>
            <p:nvPr/>
          </p:nvSpPr>
          <p:spPr>
            <a:xfrm>
              <a:off x="4999569" y="1994709"/>
              <a:ext cx="72167" cy="65607"/>
            </a:xfrm>
            <a:custGeom>
              <a:avLst/>
              <a:gdLst>
                <a:gd name="connsiteX0" fmla="*/ 78707 w 94356"/>
                <a:gd name="connsiteY0" fmla="*/ 70404 h 85778"/>
                <a:gd name="connsiteX1" fmla="*/ 83167 w 94356"/>
                <a:gd name="connsiteY1" fmla="*/ 18980 h 85778"/>
                <a:gd name="connsiteX2" fmla="*/ 40235 w 94356"/>
                <a:gd name="connsiteY2" fmla="*/ 7014 h 85778"/>
                <a:gd name="connsiteX3" fmla="*/ 10599 w 94356"/>
                <a:gd name="connsiteY3" fmla="*/ 66973 h 85778"/>
                <a:gd name="connsiteX4" fmla="*/ 78707 w 94356"/>
                <a:gd name="connsiteY4" fmla="*/ 70404 h 85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56" h="85778">
                  <a:moveTo>
                    <a:pt x="78707" y="70404"/>
                  </a:moveTo>
                  <a:cubicBezTo>
                    <a:pt x="96463" y="66973"/>
                    <a:pt x="93203" y="35278"/>
                    <a:pt x="83167" y="18980"/>
                  </a:cubicBezTo>
                  <a:cubicBezTo>
                    <a:pt x="75747" y="7014"/>
                    <a:pt x="56533" y="5256"/>
                    <a:pt x="40235" y="7014"/>
                  </a:cubicBezTo>
                  <a:cubicBezTo>
                    <a:pt x="23937" y="8730"/>
                    <a:pt x="-4198" y="37851"/>
                    <a:pt x="10599" y="66973"/>
                  </a:cubicBezTo>
                  <a:cubicBezTo>
                    <a:pt x="25395" y="96095"/>
                    <a:pt x="60951" y="73836"/>
                    <a:pt x="78707" y="7040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60" name="Freeform: Shape 217">
              <a:extLst>
                <a:ext uri="{FF2B5EF4-FFF2-40B4-BE49-F238E27FC236}">
                  <a16:creationId xmlns:a16="http://schemas.microsoft.com/office/drawing/2014/main" id="{B2A579D0-624D-6864-71A2-1BD48BC3FA8D}"/>
                </a:ext>
              </a:extLst>
            </p:cNvPr>
            <p:cNvSpPr/>
            <p:nvPr/>
          </p:nvSpPr>
          <p:spPr>
            <a:xfrm>
              <a:off x="4837214" y="2258803"/>
              <a:ext cx="55766" cy="45925"/>
            </a:xfrm>
            <a:custGeom>
              <a:avLst/>
              <a:gdLst>
                <a:gd name="connsiteX0" fmla="*/ 12500 w 72911"/>
                <a:gd name="connsiteY0" fmla="*/ 52313 h 60045"/>
                <a:gd name="connsiteX1" fmla="*/ 68771 w 72911"/>
                <a:gd name="connsiteY1" fmla="*/ 9466 h 60045"/>
                <a:gd name="connsiteX2" fmla="*/ 12500 w 72911"/>
                <a:gd name="connsiteY2" fmla="*/ 52313 h 60045"/>
              </a:gdLst>
              <a:ahLst/>
              <a:cxnLst>
                <a:cxn ang="0">
                  <a:pos x="connsiteX0" y="connsiteY0"/>
                </a:cxn>
                <a:cxn ang="0">
                  <a:pos x="connsiteX1" y="connsiteY1"/>
                </a:cxn>
                <a:cxn ang="0">
                  <a:pos x="connsiteX2" y="connsiteY2"/>
                </a:cxn>
              </a:cxnLst>
              <a:rect l="l" t="t" r="r" b="b"/>
              <a:pathLst>
                <a:path w="72911" h="60045">
                  <a:moveTo>
                    <a:pt x="12500" y="52313"/>
                  </a:moveTo>
                  <a:cubicBezTo>
                    <a:pt x="36218" y="69425"/>
                    <a:pt x="71773" y="23148"/>
                    <a:pt x="68771" y="9466"/>
                  </a:cubicBezTo>
                  <a:cubicBezTo>
                    <a:pt x="65812" y="-4215"/>
                    <a:pt x="-16150" y="31640"/>
                    <a:pt x="12500" y="5231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61" name="Freeform: Shape 218">
              <a:extLst>
                <a:ext uri="{FF2B5EF4-FFF2-40B4-BE49-F238E27FC236}">
                  <a16:creationId xmlns:a16="http://schemas.microsoft.com/office/drawing/2014/main" id="{7F587D85-4E22-60F1-A9DE-E51E637D806F}"/>
                </a:ext>
              </a:extLst>
            </p:cNvPr>
            <p:cNvSpPr/>
            <p:nvPr/>
          </p:nvSpPr>
          <p:spPr>
            <a:xfrm>
              <a:off x="4930968" y="2289919"/>
              <a:ext cx="32803" cy="42644"/>
            </a:xfrm>
            <a:custGeom>
              <a:avLst/>
              <a:gdLst>
                <a:gd name="connsiteX0" fmla="*/ 20260 w 42889"/>
                <a:gd name="connsiteY0" fmla="*/ 49287 h 55756"/>
                <a:gd name="connsiteX1" fmla="*/ 24721 w 42889"/>
                <a:gd name="connsiteY1" fmla="*/ 6484 h 55756"/>
                <a:gd name="connsiteX2" fmla="*/ 20260 w 42889"/>
                <a:gd name="connsiteY2" fmla="*/ 49287 h 55756"/>
              </a:gdLst>
              <a:ahLst/>
              <a:cxnLst>
                <a:cxn ang="0">
                  <a:pos x="connsiteX0" y="connsiteY0"/>
                </a:cxn>
                <a:cxn ang="0">
                  <a:pos x="connsiteX1" y="connsiteY1"/>
                </a:cxn>
                <a:cxn ang="0">
                  <a:pos x="connsiteX2" y="connsiteY2"/>
                </a:cxn>
              </a:cxnLst>
              <a:rect l="l" t="t" r="r" b="b"/>
              <a:pathLst>
                <a:path w="42889" h="55756">
                  <a:moveTo>
                    <a:pt x="20260" y="49287"/>
                  </a:moveTo>
                  <a:cubicBezTo>
                    <a:pt x="30639" y="47572"/>
                    <a:pt x="51355" y="4768"/>
                    <a:pt x="24721" y="6484"/>
                  </a:cubicBezTo>
                  <a:cubicBezTo>
                    <a:pt x="-1956" y="8199"/>
                    <a:pt x="4134" y="51989"/>
                    <a:pt x="20260" y="4928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62" name="Freeform: Shape 219">
              <a:extLst>
                <a:ext uri="{FF2B5EF4-FFF2-40B4-BE49-F238E27FC236}">
                  <a16:creationId xmlns:a16="http://schemas.microsoft.com/office/drawing/2014/main" id="{0B0CF83D-5877-D6F2-B3CC-D719D152846F}"/>
                </a:ext>
              </a:extLst>
            </p:cNvPr>
            <p:cNvSpPr/>
            <p:nvPr/>
          </p:nvSpPr>
          <p:spPr>
            <a:xfrm>
              <a:off x="4749837" y="2120326"/>
              <a:ext cx="180418" cy="137774"/>
            </a:xfrm>
            <a:custGeom>
              <a:avLst/>
              <a:gdLst>
                <a:gd name="connsiteX0" fmla="*/ 233408 w 235891"/>
                <a:gd name="connsiteY0" fmla="*/ 139139 h 180135"/>
                <a:gd name="connsiteX1" fmla="*/ 187474 w 235891"/>
                <a:gd name="connsiteY1" fmla="*/ 96293 h 180135"/>
                <a:gd name="connsiteX2" fmla="*/ 122282 w 235891"/>
                <a:gd name="connsiteY2" fmla="*/ 51774 h 180135"/>
                <a:gd name="connsiteX3" fmla="*/ 80808 w 235891"/>
                <a:gd name="connsiteY3" fmla="*/ 15789 h 180135"/>
                <a:gd name="connsiteX4" fmla="*/ 43795 w 235891"/>
                <a:gd name="connsiteY4" fmla="*/ 41480 h 180135"/>
                <a:gd name="connsiteX5" fmla="*/ 34917 w 235891"/>
                <a:gd name="connsiteY5" fmla="*/ 94577 h 180135"/>
                <a:gd name="connsiteX6" fmla="*/ 6782 w 235891"/>
                <a:gd name="connsiteY6" fmla="*/ 145959 h 180135"/>
                <a:gd name="connsiteX7" fmla="*/ 48255 w 235891"/>
                <a:gd name="connsiteY7" fmla="*/ 144243 h 180135"/>
                <a:gd name="connsiteX8" fmla="*/ 66054 w 235891"/>
                <a:gd name="connsiteY8" fmla="*/ 175080 h 180135"/>
                <a:gd name="connsiteX9" fmla="*/ 122325 w 235891"/>
                <a:gd name="connsiteY9" fmla="*/ 139096 h 180135"/>
                <a:gd name="connsiteX10" fmla="*/ 165300 w 235891"/>
                <a:gd name="connsiteY10" fmla="*/ 137381 h 180135"/>
                <a:gd name="connsiteX11" fmla="*/ 233408 w 235891"/>
                <a:gd name="connsiteY11" fmla="*/ 139139 h 18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5891" h="180135">
                  <a:moveTo>
                    <a:pt x="233408" y="139139"/>
                  </a:moveTo>
                  <a:cubicBezTo>
                    <a:pt x="236368" y="122026"/>
                    <a:pt x="184515" y="115164"/>
                    <a:pt x="187474" y="96293"/>
                  </a:cubicBezTo>
                  <a:cubicBezTo>
                    <a:pt x="190433" y="77422"/>
                    <a:pt x="138580" y="62024"/>
                    <a:pt x="122282" y="51774"/>
                  </a:cubicBezTo>
                  <a:cubicBezTo>
                    <a:pt x="105984" y="41480"/>
                    <a:pt x="80808" y="36333"/>
                    <a:pt x="80808" y="15789"/>
                  </a:cubicBezTo>
                  <a:cubicBezTo>
                    <a:pt x="80808" y="-4754"/>
                    <a:pt x="45253" y="10643"/>
                    <a:pt x="43795" y="41480"/>
                  </a:cubicBezTo>
                  <a:cubicBezTo>
                    <a:pt x="42294" y="72318"/>
                    <a:pt x="27497" y="65455"/>
                    <a:pt x="34917" y="94577"/>
                  </a:cubicBezTo>
                  <a:cubicBezTo>
                    <a:pt x="42337" y="123699"/>
                    <a:pt x="2321" y="130561"/>
                    <a:pt x="6782" y="145959"/>
                  </a:cubicBezTo>
                  <a:cubicBezTo>
                    <a:pt x="11242" y="161399"/>
                    <a:pt x="30499" y="144243"/>
                    <a:pt x="48255" y="144243"/>
                  </a:cubicBezTo>
                  <a:cubicBezTo>
                    <a:pt x="66054" y="144243"/>
                    <a:pt x="43452" y="172893"/>
                    <a:pt x="66054" y="175080"/>
                  </a:cubicBezTo>
                  <a:cubicBezTo>
                    <a:pt x="83811" y="176796"/>
                    <a:pt x="114948" y="152821"/>
                    <a:pt x="122325" y="139096"/>
                  </a:cubicBezTo>
                  <a:cubicBezTo>
                    <a:pt x="129745" y="125372"/>
                    <a:pt x="144542" y="120225"/>
                    <a:pt x="165300" y="137381"/>
                  </a:cubicBezTo>
                  <a:cubicBezTo>
                    <a:pt x="185973" y="154579"/>
                    <a:pt x="230449" y="156252"/>
                    <a:pt x="233408" y="139139"/>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63" name="Freeform: Shape 220">
              <a:extLst>
                <a:ext uri="{FF2B5EF4-FFF2-40B4-BE49-F238E27FC236}">
                  <a16:creationId xmlns:a16="http://schemas.microsoft.com/office/drawing/2014/main" id="{C60FBA01-9197-1874-B8BD-769EA8E684D1}"/>
                </a:ext>
              </a:extLst>
            </p:cNvPr>
            <p:cNvSpPr/>
            <p:nvPr/>
          </p:nvSpPr>
          <p:spPr>
            <a:xfrm>
              <a:off x="3760743" y="1651883"/>
              <a:ext cx="275548" cy="213222"/>
            </a:xfrm>
            <a:custGeom>
              <a:avLst/>
              <a:gdLst>
                <a:gd name="connsiteX0" fmla="*/ 311946 w 360270"/>
                <a:gd name="connsiteY0" fmla="*/ 47542 h 278780"/>
                <a:gd name="connsiteX1" fmla="*/ 243795 w 360270"/>
                <a:gd name="connsiteY1" fmla="*/ 38964 h 278780"/>
                <a:gd name="connsiteX2" fmla="*/ 223037 w 360270"/>
                <a:gd name="connsiteY2" fmla="*/ 30386 h 278780"/>
                <a:gd name="connsiteX3" fmla="*/ 156387 w 360270"/>
                <a:gd name="connsiteY3" fmla="*/ 8084 h 278780"/>
                <a:gd name="connsiteX4" fmla="*/ 100030 w 360270"/>
                <a:gd name="connsiteY4" fmla="*/ 16490 h 278780"/>
                <a:gd name="connsiteX5" fmla="*/ 95570 w 360270"/>
                <a:gd name="connsiteY5" fmla="*/ 38878 h 278780"/>
                <a:gd name="connsiteX6" fmla="*/ 68892 w 360270"/>
                <a:gd name="connsiteY6" fmla="*/ 56420 h 278780"/>
                <a:gd name="connsiteX7" fmla="*/ 67735 w 360270"/>
                <a:gd name="connsiteY7" fmla="*/ 57450 h 278780"/>
                <a:gd name="connsiteX8" fmla="*/ 66834 w 360270"/>
                <a:gd name="connsiteY8" fmla="*/ 64012 h 278780"/>
                <a:gd name="connsiteX9" fmla="*/ 42301 w 360270"/>
                <a:gd name="connsiteY9" fmla="*/ 121140 h 278780"/>
                <a:gd name="connsiteX10" fmla="*/ 12665 w 360270"/>
                <a:gd name="connsiteY10" fmla="*/ 179384 h 278780"/>
                <a:gd name="connsiteX11" fmla="*/ 54139 w 360270"/>
                <a:gd name="connsiteY11" fmla="*/ 211937 h 278780"/>
                <a:gd name="connsiteX12" fmla="*/ 101531 w 360270"/>
                <a:gd name="connsiteY12" fmla="*/ 273612 h 278780"/>
                <a:gd name="connsiteX13" fmla="*/ 123748 w 360270"/>
                <a:gd name="connsiteY13" fmla="*/ 256499 h 278780"/>
                <a:gd name="connsiteX14" fmla="*/ 156344 w 360270"/>
                <a:gd name="connsiteY14" fmla="*/ 246205 h 278780"/>
                <a:gd name="connsiteX15" fmla="*/ 188940 w 360270"/>
                <a:gd name="connsiteY15" fmla="*/ 217084 h 278780"/>
                <a:gd name="connsiteX16" fmla="*/ 220034 w 360270"/>
                <a:gd name="connsiteY16" fmla="*/ 179384 h 278780"/>
                <a:gd name="connsiteX17" fmla="*/ 246712 w 360270"/>
                <a:gd name="connsiteY17" fmla="*/ 141727 h 278780"/>
                <a:gd name="connsiteX18" fmla="*/ 353377 w 360270"/>
                <a:gd name="connsiteY18" fmla="*/ 90346 h 278780"/>
                <a:gd name="connsiteX19" fmla="*/ 311946 w 360270"/>
                <a:gd name="connsiteY19" fmla="*/ 47542 h 278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0270" h="278780">
                  <a:moveTo>
                    <a:pt x="311946" y="47542"/>
                  </a:moveTo>
                  <a:cubicBezTo>
                    <a:pt x="285269" y="28714"/>
                    <a:pt x="264553" y="23567"/>
                    <a:pt x="243795" y="38964"/>
                  </a:cubicBezTo>
                  <a:cubicBezTo>
                    <a:pt x="223037" y="54362"/>
                    <a:pt x="239335" y="21851"/>
                    <a:pt x="223037" y="30386"/>
                  </a:cubicBezTo>
                  <a:cubicBezTo>
                    <a:pt x="206739" y="38964"/>
                    <a:pt x="162305" y="16662"/>
                    <a:pt x="156387" y="8084"/>
                  </a:cubicBezTo>
                  <a:cubicBezTo>
                    <a:pt x="153041" y="3280"/>
                    <a:pt x="126235" y="9842"/>
                    <a:pt x="100030" y="16490"/>
                  </a:cubicBezTo>
                  <a:cubicBezTo>
                    <a:pt x="100631" y="24425"/>
                    <a:pt x="99215" y="32445"/>
                    <a:pt x="95570" y="38878"/>
                  </a:cubicBezTo>
                  <a:cubicBezTo>
                    <a:pt x="89394" y="49729"/>
                    <a:pt x="79572" y="55262"/>
                    <a:pt x="68892" y="56420"/>
                  </a:cubicBezTo>
                  <a:cubicBezTo>
                    <a:pt x="68464" y="58736"/>
                    <a:pt x="67563" y="61481"/>
                    <a:pt x="67735" y="57450"/>
                  </a:cubicBezTo>
                  <a:cubicBezTo>
                    <a:pt x="67649" y="59680"/>
                    <a:pt x="67306" y="61867"/>
                    <a:pt x="66834" y="64012"/>
                  </a:cubicBezTo>
                  <a:cubicBezTo>
                    <a:pt x="76613" y="77050"/>
                    <a:pt x="33680" y="112777"/>
                    <a:pt x="42301" y="121140"/>
                  </a:cubicBezTo>
                  <a:cubicBezTo>
                    <a:pt x="51179" y="129718"/>
                    <a:pt x="33423" y="151978"/>
                    <a:pt x="12665" y="179384"/>
                  </a:cubicBezTo>
                  <a:cubicBezTo>
                    <a:pt x="-8094" y="206790"/>
                    <a:pt x="27461" y="205075"/>
                    <a:pt x="54139" y="211937"/>
                  </a:cubicBezTo>
                  <a:cubicBezTo>
                    <a:pt x="80816" y="218799"/>
                    <a:pt x="83689" y="273612"/>
                    <a:pt x="101531" y="273612"/>
                  </a:cubicBezTo>
                  <a:cubicBezTo>
                    <a:pt x="113369" y="273612"/>
                    <a:pt x="104491" y="256499"/>
                    <a:pt x="123748" y="256499"/>
                  </a:cubicBezTo>
                  <a:cubicBezTo>
                    <a:pt x="143005" y="256499"/>
                    <a:pt x="138545" y="244490"/>
                    <a:pt x="156344" y="246205"/>
                  </a:cubicBezTo>
                  <a:cubicBezTo>
                    <a:pt x="174143" y="247921"/>
                    <a:pt x="188940" y="241059"/>
                    <a:pt x="188940" y="217084"/>
                  </a:cubicBezTo>
                  <a:cubicBezTo>
                    <a:pt x="188940" y="193108"/>
                    <a:pt x="202278" y="184531"/>
                    <a:pt x="220034" y="179384"/>
                  </a:cubicBezTo>
                  <a:cubicBezTo>
                    <a:pt x="237791" y="174237"/>
                    <a:pt x="221493" y="148589"/>
                    <a:pt x="246712" y="141727"/>
                  </a:cubicBezTo>
                  <a:cubicBezTo>
                    <a:pt x="271888" y="134865"/>
                    <a:pt x="341497" y="100596"/>
                    <a:pt x="353377" y="90346"/>
                  </a:cubicBezTo>
                  <a:cubicBezTo>
                    <a:pt x="365258" y="80095"/>
                    <a:pt x="338623" y="66370"/>
                    <a:pt x="311946" y="47542"/>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64" name="Freeform: Shape 221">
              <a:extLst>
                <a:ext uri="{FF2B5EF4-FFF2-40B4-BE49-F238E27FC236}">
                  <a16:creationId xmlns:a16="http://schemas.microsoft.com/office/drawing/2014/main" id="{BC5C616C-92B1-2A4E-B9A6-B7843CF2026D}"/>
                </a:ext>
              </a:extLst>
            </p:cNvPr>
            <p:cNvSpPr/>
            <p:nvPr/>
          </p:nvSpPr>
          <p:spPr>
            <a:xfrm>
              <a:off x="4308810" y="1515080"/>
              <a:ext cx="193540" cy="124653"/>
            </a:xfrm>
            <a:custGeom>
              <a:avLst/>
              <a:gdLst>
                <a:gd name="connsiteX0" fmla="*/ 201222 w 253046"/>
                <a:gd name="connsiteY0" fmla="*/ 24270 h 162979"/>
                <a:gd name="connsiteX1" fmla="*/ 138989 w 253046"/>
                <a:gd name="connsiteY1" fmla="*/ 8830 h 162979"/>
                <a:gd name="connsiteX2" fmla="*/ 149369 w 253046"/>
                <a:gd name="connsiteY2" fmla="*/ 53349 h 162979"/>
                <a:gd name="connsiteX3" fmla="*/ 110854 w 253046"/>
                <a:gd name="connsiteY3" fmla="*/ 41383 h 162979"/>
                <a:gd name="connsiteX4" fmla="*/ 99017 w 253046"/>
                <a:gd name="connsiteY4" fmla="*/ 68789 h 162979"/>
                <a:gd name="connsiteX5" fmla="*/ 78258 w 253046"/>
                <a:gd name="connsiteY5" fmla="*/ 70505 h 162979"/>
                <a:gd name="connsiteX6" fmla="*/ 23446 w 253046"/>
                <a:gd name="connsiteY6" fmla="*/ 12261 h 162979"/>
                <a:gd name="connsiteX7" fmla="*/ 18985 w 253046"/>
                <a:gd name="connsiteY7" fmla="*/ 60211 h 162979"/>
                <a:gd name="connsiteX8" fmla="*/ 72296 w 253046"/>
                <a:gd name="connsiteY8" fmla="*/ 103015 h 162979"/>
                <a:gd name="connsiteX9" fmla="*/ 152285 w 253046"/>
                <a:gd name="connsiteY9" fmla="*/ 101299 h 162979"/>
                <a:gd name="connsiteX10" fmla="*/ 144865 w 253046"/>
                <a:gd name="connsiteY10" fmla="*/ 149250 h 162979"/>
                <a:gd name="connsiteX11" fmla="*/ 214475 w 253046"/>
                <a:gd name="connsiteY11" fmla="*/ 152681 h 162979"/>
                <a:gd name="connsiteX12" fmla="*/ 242610 w 253046"/>
                <a:gd name="connsiteY12" fmla="*/ 121843 h 162979"/>
                <a:gd name="connsiteX13" fmla="*/ 239651 w 253046"/>
                <a:gd name="connsiteY13" fmla="*/ 82428 h 162979"/>
                <a:gd name="connsiteX14" fmla="*/ 201222 w 253046"/>
                <a:gd name="connsiteY14" fmla="*/ 24270 h 162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3046" h="162979">
                  <a:moveTo>
                    <a:pt x="201222" y="24270"/>
                  </a:moveTo>
                  <a:cubicBezTo>
                    <a:pt x="199764" y="41383"/>
                    <a:pt x="165667" y="20839"/>
                    <a:pt x="138989" y="8830"/>
                  </a:cubicBezTo>
                  <a:cubicBezTo>
                    <a:pt x="112355" y="-3179"/>
                    <a:pt x="128610" y="32805"/>
                    <a:pt x="149369" y="53349"/>
                  </a:cubicBezTo>
                  <a:cubicBezTo>
                    <a:pt x="170084" y="73893"/>
                    <a:pt x="138989" y="63642"/>
                    <a:pt x="110854" y="41383"/>
                  </a:cubicBezTo>
                  <a:cubicBezTo>
                    <a:pt x="82719" y="19123"/>
                    <a:pt x="85678" y="56780"/>
                    <a:pt x="99017" y="68789"/>
                  </a:cubicBezTo>
                  <a:cubicBezTo>
                    <a:pt x="112355" y="80798"/>
                    <a:pt x="96057" y="97911"/>
                    <a:pt x="78258" y="70505"/>
                  </a:cubicBezTo>
                  <a:cubicBezTo>
                    <a:pt x="60502" y="43098"/>
                    <a:pt x="51624" y="13977"/>
                    <a:pt x="23446" y="12261"/>
                  </a:cubicBezTo>
                  <a:cubicBezTo>
                    <a:pt x="-4690" y="10546"/>
                    <a:pt x="8134" y="43870"/>
                    <a:pt x="18985" y="60211"/>
                  </a:cubicBezTo>
                  <a:cubicBezTo>
                    <a:pt x="33782" y="82471"/>
                    <a:pt x="48622" y="87618"/>
                    <a:pt x="72296" y="103015"/>
                  </a:cubicBezTo>
                  <a:cubicBezTo>
                    <a:pt x="96014" y="118455"/>
                    <a:pt x="134529" y="96153"/>
                    <a:pt x="152285" y="101299"/>
                  </a:cubicBezTo>
                  <a:cubicBezTo>
                    <a:pt x="170041" y="106446"/>
                    <a:pt x="133028" y="132137"/>
                    <a:pt x="144865" y="149250"/>
                  </a:cubicBezTo>
                  <a:cubicBezTo>
                    <a:pt x="156703" y="166405"/>
                    <a:pt x="189299" y="154396"/>
                    <a:pt x="214475" y="152681"/>
                  </a:cubicBezTo>
                  <a:cubicBezTo>
                    <a:pt x="239651" y="150965"/>
                    <a:pt x="227813" y="133852"/>
                    <a:pt x="242610" y="121843"/>
                  </a:cubicBezTo>
                  <a:cubicBezTo>
                    <a:pt x="257407" y="109834"/>
                    <a:pt x="227813" y="111550"/>
                    <a:pt x="239651" y="82428"/>
                  </a:cubicBezTo>
                  <a:cubicBezTo>
                    <a:pt x="251574" y="53392"/>
                    <a:pt x="202680" y="7114"/>
                    <a:pt x="201222" y="2427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65" name="Freeform: Shape 222">
              <a:extLst>
                <a:ext uri="{FF2B5EF4-FFF2-40B4-BE49-F238E27FC236}">
                  <a16:creationId xmlns:a16="http://schemas.microsoft.com/office/drawing/2014/main" id="{BF260DA9-3DA4-4C05-219B-77D15BE0CC6E}"/>
                </a:ext>
              </a:extLst>
            </p:cNvPr>
            <p:cNvSpPr/>
            <p:nvPr/>
          </p:nvSpPr>
          <p:spPr>
            <a:xfrm>
              <a:off x="3694878" y="2778858"/>
              <a:ext cx="147615" cy="104971"/>
            </a:xfrm>
            <a:custGeom>
              <a:avLst/>
              <a:gdLst>
                <a:gd name="connsiteX0" fmla="*/ 165517 w 193001"/>
                <a:gd name="connsiteY0" fmla="*/ 99591 h 137245"/>
                <a:gd name="connsiteX1" fmla="*/ 127002 w 193001"/>
                <a:gd name="connsiteY1" fmla="*/ 79004 h 137245"/>
                <a:gd name="connsiteX2" fmla="*/ 87758 w 193001"/>
                <a:gd name="connsiteY2" fmla="*/ 28481 h 137245"/>
                <a:gd name="connsiteX3" fmla="*/ 44054 w 193001"/>
                <a:gd name="connsiteY3" fmla="*/ 17372 h 137245"/>
                <a:gd name="connsiteX4" fmla="*/ 9271 w 193001"/>
                <a:gd name="connsiteY4" fmla="*/ 11368 h 137245"/>
                <a:gd name="connsiteX5" fmla="*/ 19650 w 193001"/>
                <a:gd name="connsiteY5" fmla="*/ 29338 h 137245"/>
                <a:gd name="connsiteX6" fmla="*/ 35219 w 193001"/>
                <a:gd name="connsiteY6" fmla="*/ 41304 h 137245"/>
                <a:gd name="connsiteX7" fmla="*/ 58165 w 193001"/>
                <a:gd name="connsiteY7" fmla="*/ 61848 h 137245"/>
                <a:gd name="connsiteX8" fmla="*/ 79567 w 193001"/>
                <a:gd name="connsiteY8" fmla="*/ 78790 h 137245"/>
                <a:gd name="connsiteX9" fmla="*/ 134465 w 193001"/>
                <a:gd name="connsiteY9" fmla="*/ 131329 h 137245"/>
                <a:gd name="connsiteX10" fmla="*/ 182801 w 193001"/>
                <a:gd name="connsiteY10" fmla="*/ 130900 h 137245"/>
                <a:gd name="connsiteX11" fmla="*/ 186318 w 193001"/>
                <a:gd name="connsiteY11" fmla="*/ 114902 h 137245"/>
                <a:gd name="connsiteX12" fmla="*/ 165517 w 193001"/>
                <a:gd name="connsiteY12" fmla="*/ 99591 h 137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001" h="137245">
                  <a:moveTo>
                    <a:pt x="165517" y="99591"/>
                  </a:moveTo>
                  <a:cubicBezTo>
                    <a:pt x="155910" y="87582"/>
                    <a:pt x="130691" y="90155"/>
                    <a:pt x="127002" y="79004"/>
                  </a:cubicBezTo>
                  <a:cubicBezTo>
                    <a:pt x="123314" y="67896"/>
                    <a:pt x="100325" y="27623"/>
                    <a:pt x="87758" y="28481"/>
                  </a:cubicBezTo>
                  <a:cubicBezTo>
                    <a:pt x="75192" y="29338"/>
                    <a:pt x="58894" y="30196"/>
                    <a:pt x="44054" y="17372"/>
                  </a:cubicBezTo>
                  <a:cubicBezTo>
                    <a:pt x="29258" y="4505"/>
                    <a:pt x="19607" y="3648"/>
                    <a:pt x="9271" y="11368"/>
                  </a:cubicBezTo>
                  <a:cubicBezTo>
                    <a:pt x="-1108" y="19088"/>
                    <a:pt x="20379" y="20803"/>
                    <a:pt x="19650" y="29338"/>
                  </a:cubicBezTo>
                  <a:cubicBezTo>
                    <a:pt x="18921" y="37873"/>
                    <a:pt x="26298" y="43020"/>
                    <a:pt x="35219" y="41304"/>
                  </a:cubicBezTo>
                  <a:cubicBezTo>
                    <a:pt x="44097" y="39589"/>
                    <a:pt x="49287" y="60991"/>
                    <a:pt x="58165" y="61848"/>
                  </a:cubicBezTo>
                  <a:cubicBezTo>
                    <a:pt x="66786" y="62706"/>
                    <a:pt x="69874" y="77889"/>
                    <a:pt x="79567" y="78790"/>
                  </a:cubicBezTo>
                  <a:cubicBezTo>
                    <a:pt x="110833" y="81149"/>
                    <a:pt x="126659" y="103837"/>
                    <a:pt x="134465" y="131329"/>
                  </a:cubicBezTo>
                  <a:cubicBezTo>
                    <a:pt x="152864" y="133817"/>
                    <a:pt x="168819" y="135361"/>
                    <a:pt x="182801" y="130900"/>
                  </a:cubicBezTo>
                  <a:cubicBezTo>
                    <a:pt x="182973" y="125496"/>
                    <a:pt x="184131" y="119577"/>
                    <a:pt x="186318" y="114902"/>
                  </a:cubicBezTo>
                  <a:cubicBezTo>
                    <a:pt x="191422" y="103880"/>
                    <a:pt x="175124" y="111557"/>
                    <a:pt x="165517" y="9959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66" name="Freeform: Shape 223">
              <a:extLst>
                <a:ext uri="{FF2B5EF4-FFF2-40B4-BE49-F238E27FC236}">
                  <a16:creationId xmlns:a16="http://schemas.microsoft.com/office/drawing/2014/main" id="{839BEFE0-DE90-7DA0-1025-F9E62C900D83}"/>
                </a:ext>
              </a:extLst>
            </p:cNvPr>
            <p:cNvSpPr/>
            <p:nvPr/>
          </p:nvSpPr>
          <p:spPr>
            <a:xfrm>
              <a:off x="3931844" y="1561944"/>
              <a:ext cx="49205" cy="39364"/>
            </a:xfrm>
            <a:custGeom>
              <a:avLst/>
              <a:gdLst>
                <a:gd name="connsiteX0" fmla="*/ 8249 w 64333"/>
                <a:gd name="connsiteY0" fmla="*/ 48646 h 51467"/>
                <a:gd name="connsiteX1" fmla="*/ 60102 w 64333"/>
                <a:gd name="connsiteY1" fmla="*/ 9231 h 51467"/>
                <a:gd name="connsiteX2" fmla="*/ 8249 w 64333"/>
                <a:gd name="connsiteY2" fmla="*/ 48646 h 51467"/>
              </a:gdLst>
              <a:ahLst/>
              <a:cxnLst>
                <a:cxn ang="0">
                  <a:pos x="connsiteX0" y="connsiteY0"/>
                </a:cxn>
                <a:cxn ang="0">
                  <a:pos x="connsiteX1" y="connsiteY1"/>
                </a:cxn>
                <a:cxn ang="0">
                  <a:pos x="connsiteX2" y="connsiteY2"/>
                </a:cxn>
              </a:cxnLst>
              <a:rect l="l" t="t" r="r" b="b"/>
              <a:pathLst>
                <a:path w="64333" h="51467">
                  <a:moveTo>
                    <a:pt x="8249" y="48646"/>
                  </a:moveTo>
                  <a:cubicBezTo>
                    <a:pt x="34926" y="52078"/>
                    <a:pt x="61560" y="24671"/>
                    <a:pt x="60102" y="9231"/>
                  </a:cubicBezTo>
                  <a:cubicBezTo>
                    <a:pt x="58601" y="-6166"/>
                    <a:pt x="-5004" y="46931"/>
                    <a:pt x="8249" y="4864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67" name="Freeform: Shape 224">
              <a:extLst>
                <a:ext uri="{FF2B5EF4-FFF2-40B4-BE49-F238E27FC236}">
                  <a16:creationId xmlns:a16="http://schemas.microsoft.com/office/drawing/2014/main" id="{3AE9C8C9-8FE1-DDEE-A18C-22AD2A9AC4FE}"/>
                </a:ext>
              </a:extLst>
            </p:cNvPr>
            <p:cNvSpPr/>
            <p:nvPr/>
          </p:nvSpPr>
          <p:spPr>
            <a:xfrm>
              <a:off x="5342368" y="2815926"/>
              <a:ext cx="65607" cy="36084"/>
            </a:xfrm>
            <a:custGeom>
              <a:avLst/>
              <a:gdLst>
                <a:gd name="connsiteX0" fmla="*/ 67336 w 85778"/>
                <a:gd name="connsiteY0" fmla="*/ 39588 h 47178"/>
                <a:gd name="connsiteX1" fmla="*/ 79645 w 85778"/>
                <a:gd name="connsiteY1" fmla="*/ 43319 h 47178"/>
                <a:gd name="connsiteX2" fmla="*/ 72612 w 85778"/>
                <a:gd name="connsiteY2" fmla="*/ 29423 h 47178"/>
                <a:gd name="connsiteX3" fmla="*/ 71711 w 85778"/>
                <a:gd name="connsiteY3" fmla="*/ 25820 h 47178"/>
                <a:gd name="connsiteX4" fmla="*/ 6433 w 85778"/>
                <a:gd name="connsiteY4" fmla="*/ 6434 h 47178"/>
                <a:gd name="connsiteX5" fmla="*/ 8921 w 85778"/>
                <a:gd name="connsiteY5" fmla="*/ 18186 h 47178"/>
                <a:gd name="connsiteX6" fmla="*/ 47950 w 85778"/>
                <a:gd name="connsiteY6" fmla="*/ 39802 h 47178"/>
                <a:gd name="connsiteX7" fmla="*/ 67336 w 85778"/>
                <a:gd name="connsiteY7" fmla="*/ 39588 h 4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78" h="47178">
                  <a:moveTo>
                    <a:pt x="67336" y="39588"/>
                  </a:moveTo>
                  <a:cubicBezTo>
                    <a:pt x="71496" y="40703"/>
                    <a:pt x="75571" y="41989"/>
                    <a:pt x="79645" y="43319"/>
                  </a:cubicBezTo>
                  <a:cubicBezTo>
                    <a:pt x="76514" y="39202"/>
                    <a:pt x="74156" y="34398"/>
                    <a:pt x="72612" y="29423"/>
                  </a:cubicBezTo>
                  <a:cubicBezTo>
                    <a:pt x="72225" y="28222"/>
                    <a:pt x="71968" y="27021"/>
                    <a:pt x="71711" y="25820"/>
                  </a:cubicBezTo>
                  <a:cubicBezTo>
                    <a:pt x="50481" y="15226"/>
                    <a:pt x="19086" y="6348"/>
                    <a:pt x="6433" y="6434"/>
                  </a:cubicBezTo>
                  <a:cubicBezTo>
                    <a:pt x="7806" y="10165"/>
                    <a:pt x="8663" y="14154"/>
                    <a:pt x="8921" y="18186"/>
                  </a:cubicBezTo>
                  <a:cubicBezTo>
                    <a:pt x="17885" y="25134"/>
                    <a:pt x="32982" y="33412"/>
                    <a:pt x="47950" y="39802"/>
                  </a:cubicBezTo>
                  <a:cubicBezTo>
                    <a:pt x="54298" y="38086"/>
                    <a:pt x="61117" y="37915"/>
                    <a:pt x="67336" y="3958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68" name="Freeform: Shape 225">
              <a:extLst>
                <a:ext uri="{FF2B5EF4-FFF2-40B4-BE49-F238E27FC236}">
                  <a16:creationId xmlns:a16="http://schemas.microsoft.com/office/drawing/2014/main" id="{9C4131A0-A951-6389-9902-DDBA6184EDA1}"/>
                </a:ext>
              </a:extLst>
            </p:cNvPr>
            <p:cNvSpPr/>
            <p:nvPr/>
          </p:nvSpPr>
          <p:spPr>
            <a:xfrm>
              <a:off x="5470486" y="2751215"/>
              <a:ext cx="177138" cy="186979"/>
            </a:xfrm>
            <a:custGeom>
              <a:avLst/>
              <a:gdLst>
                <a:gd name="connsiteX0" fmla="*/ 209102 w 231602"/>
                <a:gd name="connsiteY0" fmla="*/ 195949 h 244469"/>
                <a:gd name="connsiteX1" fmla="*/ 207129 w 231602"/>
                <a:gd name="connsiteY1" fmla="*/ 175405 h 244469"/>
                <a:gd name="connsiteX2" fmla="*/ 193276 w 231602"/>
                <a:gd name="connsiteY2" fmla="*/ 166270 h 244469"/>
                <a:gd name="connsiteX3" fmla="*/ 195248 w 231602"/>
                <a:gd name="connsiteY3" fmla="*/ 128570 h 244469"/>
                <a:gd name="connsiteX4" fmla="*/ 168571 w 231602"/>
                <a:gd name="connsiteY4" fmla="*/ 120549 h 244469"/>
                <a:gd name="connsiteX5" fmla="*/ 138935 w 231602"/>
                <a:gd name="connsiteY5" fmla="*/ 113687 h 244469"/>
                <a:gd name="connsiteX6" fmla="*/ 124138 w 231602"/>
                <a:gd name="connsiteY6" fmla="*/ 90870 h 244469"/>
                <a:gd name="connsiteX7" fmla="*/ 98447 w 231602"/>
                <a:gd name="connsiteY7" fmla="*/ 92028 h 244469"/>
                <a:gd name="connsiteX8" fmla="*/ 101407 w 231602"/>
                <a:gd name="connsiteY8" fmla="*/ 64622 h 244469"/>
                <a:gd name="connsiteX9" fmla="*/ 125124 w 231602"/>
                <a:gd name="connsiteY9" fmla="*/ 21218 h 244469"/>
                <a:gd name="connsiteX10" fmla="*/ 109341 w 231602"/>
                <a:gd name="connsiteY10" fmla="*/ 8651 h 244469"/>
                <a:gd name="connsiteX11" fmla="*/ 55043 w 231602"/>
                <a:gd name="connsiteY11" fmla="*/ 95459 h 244469"/>
                <a:gd name="connsiteX12" fmla="*/ 40247 w 231602"/>
                <a:gd name="connsiteY12" fmla="*/ 132001 h 244469"/>
                <a:gd name="connsiteX13" fmla="*/ 21461 w 231602"/>
                <a:gd name="connsiteY13" fmla="*/ 154861 h 244469"/>
                <a:gd name="connsiteX14" fmla="*/ 11597 w 231602"/>
                <a:gd name="connsiteY14" fmla="*/ 201696 h 244469"/>
                <a:gd name="connsiteX15" fmla="*/ 20303 w 231602"/>
                <a:gd name="connsiteY15" fmla="*/ 204398 h 244469"/>
                <a:gd name="connsiteX16" fmla="*/ 45522 w 231602"/>
                <a:gd name="connsiteY16" fmla="*/ 191446 h 244469"/>
                <a:gd name="connsiteX17" fmla="*/ 58689 w 231602"/>
                <a:gd name="connsiteY17" fmla="*/ 188701 h 244469"/>
                <a:gd name="connsiteX18" fmla="*/ 79533 w 231602"/>
                <a:gd name="connsiteY18" fmla="*/ 181924 h 244469"/>
                <a:gd name="connsiteX19" fmla="*/ 86738 w 231602"/>
                <a:gd name="connsiteY19" fmla="*/ 182224 h 244469"/>
                <a:gd name="connsiteX20" fmla="*/ 90384 w 231602"/>
                <a:gd name="connsiteY20" fmla="*/ 180895 h 244469"/>
                <a:gd name="connsiteX21" fmla="*/ 131644 w 231602"/>
                <a:gd name="connsiteY21" fmla="*/ 187028 h 244469"/>
                <a:gd name="connsiteX22" fmla="*/ 145239 w 231602"/>
                <a:gd name="connsiteY22" fmla="*/ 200581 h 244469"/>
                <a:gd name="connsiteX23" fmla="*/ 146183 w 231602"/>
                <a:gd name="connsiteY23" fmla="*/ 202382 h 244469"/>
                <a:gd name="connsiteX24" fmla="*/ 146569 w 231602"/>
                <a:gd name="connsiteY24" fmla="*/ 203111 h 244469"/>
                <a:gd name="connsiteX25" fmla="*/ 148070 w 231602"/>
                <a:gd name="connsiteY25" fmla="*/ 203926 h 244469"/>
                <a:gd name="connsiteX26" fmla="*/ 159865 w 231602"/>
                <a:gd name="connsiteY26" fmla="*/ 215378 h 244469"/>
                <a:gd name="connsiteX27" fmla="*/ 161752 w 231602"/>
                <a:gd name="connsiteY27" fmla="*/ 214177 h 244469"/>
                <a:gd name="connsiteX28" fmla="*/ 182467 w 231602"/>
                <a:gd name="connsiteY28" fmla="*/ 225585 h 244469"/>
                <a:gd name="connsiteX29" fmla="*/ 223941 w 231602"/>
                <a:gd name="connsiteY29" fmla="*/ 230132 h 244469"/>
                <a:gd name="connsiteX30" fmla="*/ 209102 w 231602"/>
                <a:gd name="connsiteY30" fmla="*/ 195949 h 244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31602" h="244469">
                  <a:moveTo>
                    <a:pt x="209102" y="195949"/>
                  </a:moveTo>
                  <a:cubicBezTo>
                    <a:pt x="203183" y="208515"/>
                    <a:pt x="194305" y="186813"/>
                    <a:pt x="207129" y="175405"/>
                  </a:cubicBezTo>
                  <a:cubicBezTo>
                    <a:pt x="219953" y="163996"/>
                    <a:pt x="205156" y="159450"/>
                    <a:pt x="193276" y="166270"/>
                  </a:cubicBezTo>
                  <a:cubicBezTo>
                    <a:pt x="181438" y="173089"/>
                    <a:pt x="184397" y="135432"/>
                    <a:pt x="195248" y="128570"/>
                  </a:cubicBezTo>
                  <a:cubicBezTo>
                    <a:pt x="206099" y="121708"/>
                    <a:pt x="168571" y="108026"/>
                    <a:pt x="168571" y="120549"/>
                  </a:cubicBezTo>
                  <a:cubicBezTo>
                    <a:pt x="168571" y="133159"/>
                    <a:pt x="141894" y="125139"/>
                    <a:pt x="138935" y="113687"/>
                  </a:cubicBezTo>
                  <a:cubicBezTo>
                    <a:pt x="135976" y="102279"/>
                    <a:pt x="117233" y="98890"/>
                    <a:pt x="124138" y="90870"/>
                  </a:cubicBezTo>
                  <a:cubicBezTo>
                    <a:pt x="131043" y="82893"/>
                    <a:pt x="101407" y="78347"/>
                    <a:pt x="98447" y="92028"/>
                  </a:cubicBezTo>
                  <a:cubicBezTo>
                    <a:pt x="95488" y="105710"/>
                    <a:pt x="86610" y="82893"/>
                    <a:pt x="101407" y="64622"/>
                  </a:cubicBezTo>
                  <a:cubicBezTo>
                    <a:pt x="116203" y="46351"/>
                    <a:pt x="111271" y="30353"/>
                    <a:pt x="125124" y="21218"/>
                  </a:cubicBezTo>
                  <a:cubicBezTo>
                    <a:pt x="138935" y="12082"/>
                    <a:pt x="124138" y="1832"/>
                    <a:pt x="109341" y="8651"/>
                  </a:cubicBezTo>
                  <a:cubicBezTo>
                    <a:pt x="94501" y="15514"/>
                    <a:pt x="55043" y="78347"/>
                    <a:pt x="55043" y="95459"/>
                  </a:cubicBezTo>
                  <a:cubicBezTo>
                    <a:pt x="55043" y="112615"/>
                    <a:pt x="54057" y="133159"/>
                    <a:pt x="40247" y="132001"/>
                  </a:cubicBezTo>
                  <a:cubicBezTo>
                    <a:pt x="26393" y="130886"/>
                    <a:pt x="10610" y="145725"/>
                    <a:pt x="21461" y="154861"/>
                  </a:cubicBezTo>
                  <a:cubicBezTo>
                    <a:pt x="32312" y="163996"/>
                    <a:pt x="-7232" y="189944"/>
                    <a:pt x="11597" y="201696"/>
                  </a:cubicBezTo>
                  <a:cubicBezTo>
                    <a:pt x="14213" y="203326"/>
                    <a:pt x="17129" y="204098"/>
                    <a:pt x="20303" y="204398"/>
                  </a:cubicBezTo>
                  <a:cubicBezTo>
                    <a:pt x="26736" y="197021"/>
                    <a:pt x="35958" y="192089"/>
                    <a:pt x="45522" y="191446"/>
                  </a:cubicBezTo>
                  <a:cubicBezTo>
                    <a:pt x="49897" y="190287"/>
                    <a:pt x="54314" y="189387"/>
                    <a:pt x="58689" y="188701"/>
                  </a:cubicBezTo>
                  <a:cubicBezTo>
                    <a:pt x="64865" y="184755"/>
                    <a:pt x="71127" y="182996"/>
                    <a:pt x="79533" y="181924"/>
                  </a:cubicBezTo>
                  <a:cubicBezTo>
                    <a:pt x="82021" y="181624"/>
                    <a:pt x="84380" y="181795"/>
                    <a:pt x="86738" y="182224"/>
                  </a:cubicBezTo>
                  <a:cubicBezTo>
                    <a:pt x="87939" y="181753"/>
                    <a:pt x="89097" y="181238"/>
                    <a:pt x="90384" y="180895"/>
                  </a:cubicBezTo>
                  <a:cubicBezTo>
                    <a:pt x="105009" y="176777"/>
                    <a:pt x="118391" y="180423"/>
                    <a:pt x="131644" y="187028"/>
                  </a:cubicBezTo>
                  <a:cubicBezTo>
                    <a:pt x="137948" y="190202"/>
                    <a:pt x="142366" y="195005"/>
                    <a:pt x="145239" y="200581"/>
                  </a:cubicBezTo>
                  <a:cubicBezTo>
                    <a:pt x="146054" y="200924"/>
                    <a:pt x="146312" y="201524"/>
                    <a:pt x="146183" y="202382"/>
                  </a:cubicBezTo>
                  <a:cubicBezTo>
                    <a:pt x="146312" y="202640"/>
                    <a:pt x="146441" y="202854"/>
                    <a:pt x="146569" y="203111"/>
                  </a:cubicBezTo>
                  <a:cubicBezTo>
                    <a:pt x="147084" y="203369"/>
                    <a:pt x="147555" y="203669"/>
                    <a:pt x="148070" y="203926"/>
                  </a:cubicBezTo>
                  <a:cubicBezTo>
                    <a:pt x="153131" y="206757"/>
                    <a:pt x="156991" y="210789"/>
                    <a:pt x="159865" y="215378"/>
                  </a:cubicBezTo>
                  <a:cubicBezTo>
                    <a:pt x="160508" y="214949"/>
                    <a:pt x="161152" y="214563"/>
                    <a:pt x="161752" y="214177"/>
                  </a:cubicBezTo>
                  <a:cubicBezTo>
                    <a:pt x="173589" y="207315"/>
                    <a:pt x="188386" y="214177"/>
                    <a:pt x="182467" y="225585"/>
                  </a:cubicBezTo>
                  <a:cubicBezTo>
                    <a:pt x="176549" y="236994"/>
                    <a:pt x="215063" y="248402"/>
                    <a:pt x="223941" y="230132"/>
                  </a:cubicBezTo>
                  <a:cubicBezTo>
                    <a:pt x="232776" y="211947"/>
                    <a:pt x="215020" y="183382"/>
                    <a:pt x="209102" y="195949"/>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69" name="Freeform: Shape 226">
              <a:extLst>
                <a:ext uri="{FF2B5EF4-FFF2-40B4-BE49-F238E27FC236}">
                  <a16:creationId xmlns:a16="http://schemas.microsoft.com/office/drawing/2014/main" id="{FFA1C528-A7E8-8671-402A-2FE240ACECF9}"/>
                </a:ext>
              </a:extLst>
            </p:cNvPr>
            <p:cNvSpPr/>
            <p:nvPr/>
          </p:nvSpPr>
          <p:spPr>
            <a:xfrm>
              <a:off x="3366949" y="1676003"/>
              <a:ext cx="2204387" cy="1433508"/>
            </a:xfrm>
            <a:custGeom>
              <a:avLst/>
              <a:gdLst>
                <a:gd name="connsiteX0" fmla="*/ 2867279 w 2882161"/>
                <a:gd name="connsiteY0" fmla="*/ 1366805 h 1874262"/>
                <a:gd name="connsiteX1" fmla="*/ 2857672 w 2882161"/>
                <a:gd name="connsiteY1" fmla="*/ 1355654 h 1874262"/>
                <a:gd name="connsiteX2" fmla="*/ 2874613 w 2882161"/>
                <a:gd name="connsiteY2" fmla="*/ 1341243 h 1874262"/>
                <a:gd name="connsiteX3" fmla="*/ 2859387 w 2882161"/>
                <a:gd name="connsiteY3" fmla="*/ 1326232 h 1874262"/>
                <a:gd name="connsiteX4" fmla="*/ 2854541 w 2882161"/>
                <a:gd name="connsiteY4" fmla="*/ 1307703 h 1874262"/>
                <a:gd name="connsiteX5" fmla="*/ 2846049 w 2882161"/>
                <a:gd name="connsiteY5" fmla="*/ 1295351 h 1874262"/>
                <a:gd name="connsiteX6" fmla="*/ 2824304 w 2882161"/>
                <a:gd name="connsiteY6" fmla="*/ 1307660 h 1874262"/>
                <a:gd name="connsiteX7" fmla="*/ 2822073 w 2882161"/>
                <a:gd name="connsiteY7" fmla="*/ 1276823 h 1874262"/>
                <a:gd name="connsiteX8" fmla="*/ 2770220 w 2882161"/>
                <a:gd name="connsiteY8" fmla="*/ 1291405 h 1874262"/>
                <a:gd name="connsiteX9" fmla="*/ 2738353 w 2882161"/>
                <a:gd name="connsiteY9" fmla="*/ 1307660 h 1874262"/>
                <a:gd name="connsiteX10" fmla="*/ 2730205 w 2882161"/>
                <a:gd name="connsiteY10" fmla="*/ 1292263 h 1874262"/>
                <a:gd name="connsiteX11" fmla="*/ 2749462 w 2882161"/>
                <a:gd name="connsiteY11" fmla="*/ 1282827 h 1874262"/>
                <a:gd name="connsiteX12" fmla="*/ 2779828 w 2882161"/>
                <a:gd name="connsiteY12" fmla="*/ 1269961 h 1874262"/>
                <a:gd name="connsiteX13" fmla="*/ 2812080 w 2882161"/>
                <a:gd name="connsiteY13" fmla="*/ 1257995 h 1874262"/>
                <a:gd name="connsiteX14" fmla="*/ 2806548 w 2882161"/>
                <a:gd name="connsiteY14" fmla="*/ 1248473 h 1874262"/>
                <a:gd name="connsiteX15" fmla="*/ 2805947 w 2882161"/>
                <a:gd name="connsiteY15" fmla="*/ 1247186 h 1874262"/>
                <a:gd name="connsiteX16" fmla="*/ 2796211 w 2882161"/>
                <a:gd name="connsiteY16" fmla="*/ 1237193 h 1874262"/>
                <a:gd name="connsiteX17" fmla="*/ 2789735 w 2882161"/>
                <a:gd name="connsiteY17" fmla="*/ 1237880 h 1874262"/>
                <a:gd name="connsiteX18" fmla="*/ 2787934 w 2882161"/>
                <a:gd name="connsiteY18" fmla="*/ 1237880 h 1874262"/>
                <a:gd name="connsiteX19" fmla="*/ 2772880 w 2882161"/>
                <a:gd name="connsiteY19" fmla="*/ 1234277 h 1874262"/>
                <a:gd name="connsiteX20" fmla="*/ 2754266 w 2882161"/>
                <a:gd name="connsiteY20" fmla="*/ 1239767 h 1874262"/>
                <a:gd name="connsiteX21" fmla="*/ 2728489 w 2882161"/>
                <a:gd name="connsiteY21" fmla="*/ 1228787 h 1874262"/>
                <a:gd name="connsiteX22" fmla="*/ 2722785 w 2882161"/>
                <a:gd name="connsiteY22" fmla="*/ 1220938 h 1874262"/>
                <a:gd name="connsiteX23" fmla="*/ 2721455 w 2882161"/>
                <a:gd name="connsiteY23" fmla="*/ 1221024 h 1874262"/>
                <a:gd name="connsiteX24" fmla="*/ 2692033 w 2882161"/>
                <a:gd name="connsiteY24" fmla="*/ 1204940 h 1874262"/>
                <a:gd name="connsiteX25" fmla="*/ 2675521 w 2882161"/>
                <a:gd name="connsiteY25" fmla="*/ 1184439 h 1874262"/>
                <a:gd name="connsiteX26" fmla="*/ 2675521 w 2882161"/>
                <a:gd name="connsiteY26" fmla="*/ 1184397 h 1874262"/>
                <a:gd name="connsiteX27" fmla="*/ 2674020 w 2882161"/>
                <a:gd name="connsiteY27" fmla="*/ 1177877 h 1874262"/>
                <a:gd name="connsiteX28" fmla="*/ 2674020 w 2882161"/>
                <a:gd name="connsiteY28" fmla="*/ 1177706 h 1874262"/>
                <a:gd name="connsiteX29" fmla="*/ 2673548 w 2882161"/>
                <a:gd name="connsiteY29" fmla="*/ 1171058 h 1874262"/>
                <a:gd name="connsiteX30" fmla="*/ 2673548 w 2882161"/>
                <a:gd name="connsiteY30" fmla="*/ 1170844 h 1874262"/>
                <a:gd name="connsiteX31" fmla="*/ 2674105 w 2882161"/>
                <a:gd name="connsiteY31" fmla="*/ 1164239 h 1874262"/>
                <a:gd name="connsiteX32" fmla="*/ 2674148 w 2882161"/>
                <a:gd name="connsiteY32" fmla="*/ 1164067 h 1874262"/>
                <a:gd name="connsiteX33" fmla="*/ 2675735 w 2882161"/>
                <a:gd name="connsiteY33" fmla="*/ 1157591 h 1874262"/>
                <a:gd name="connsiteX34" fmla="*/ 2654677 w 2882161"/>
                <a:gd name="connsiteY34" fmla="*/ 1145882 h 1874262"/>
                <a:gd name="connsiteX35" fmla="*/ 2658408 w 2882161"/>
                <a:gd name="connsiteY35" fmla="*/ 1135589 h 1874262"/>
                <a:gd name="connsiteX36" fmla="*/ 2685042 w 2882161"/>
                <a:gd name="connsiteY36" fmla="*/ 1118476 h 1874262"/>
                <a:gd name="connsiteX37" fmla="*/ 2671704 w 2882161"/>
                <a:gd name="connsiteY37" fmla="*/ 1101363 h 1874262"/>
                <a:gd name="connsiteX38" fmla="*/ 2666471 w 2882161"/>
                <a:gd name="connsiteY38" fmla="*/ 1090297 h 1874262"/>
                <a:gd name="connsiteX39" fmla="*/ 2652060 w 2882161"/>
                <a:gd name="connsiteY39" fmla="*/ 1079361 h 1874262"/>
                <a:gd name="connsiteX40" fmla="*/ 2640137 w 2882161"/>
                <a:gd name="connsiteY40" fmla="*/ 1071340 h 1874262"/>
                <a:gd name="connsiteX41" fmla="*/ 2634047 w 2882161"/>
                <a:gd name="connsiteY41" fmla="*/ 1062805 h 1874262"/>
                <a:gd name="connsiteX42" fmla="*/ 2632932 w 2882161"/>
                <a:gd name="connsiteY42" fmla="*/ 1062205 h 1874262"/>
                <a:gd name="connsiteX43" fmla="*/ 2622724 w 2882161"/>
                <a:gd name="connsiteY43" fmla="*/ 1052555 h 1874262"/>
                <a:gd name="connsiteX44" fmla="*/ 2616848 w 2882161"/>
                <a:gd name="connsiteY44" fmla="*/ 1041618 h 1874262"/>
                <a:gd name="connsiteX45" fmla="*/ 2613460 w 2882161"/>
                <a:gd name="connsiteY45" fmla="*/ 1033212 h 1874262"/>
                <a:gd name="connsiteX46" fmla="*/ 2612302 w 2882161"/>
                <a:gd name="connsiteY46" fmla="*/ 1024248 h 1874262"/>
                <a:gd name="connsiteX47" fmla="*/ 2607627 w 2882161"/>
                <a:gd name="connsiteY47" fmla="*/ 1006363 h 1874262"/>
                <a:gd name="connsiteX48" fmla="*/ 2607627 w 2882161"/>
                <a:gd name="connsiteY48" fmla="*/ 1005848 h 1874262"/>
                <a:gd name="connsiteX49" fmla="*/ 2605311 w 2882161"/>
                <a:gd name="connsiteY49" fmla="*/ 1002803 h 1874262"/>
                <a:gd name="connsiteX50" fmla="*/ 2600336 w 2882161"/>
                <a:gd name="connsiteY50" fmla="*/ 988993 h 1874262"/>
                <a:gd name="connsiteX51" fmla="*/ 2586997 w 2882161"/>
                <a:gd name="connsiteY51" fmla="*/ 936411 h 1874262"/>
                <a:gd name="connsiteX52" fmla="*/ 2580564 w 2882161"/>
                <a:gd name="connsiteY52" fmla="*/ 923244 h 1874262"/>
                <a:gd name="connsiteX53" fmla="*/ 2565767 w 2882161"/>
                <a:gd name="connsiteY53" fmla="*/ 936110 h 1874262"/>
                <a:gd name="connsiteX54" fmla="*/ 2550198 w 2882161"/>
                <a:gd name="connsiteY54" fmla="*/ 962659 h 1874262"/>
                <a:gd name="connsiteX55" fmla="*/ 2545781 w 2882161"/>
                <a:gd name="connsiteY55" fmla="*/ 985776 h 1874262"/>
                <a:gd name="connsiteX56" fmla="*/ 2539133 w 2882161"/>
                <a:gd name="connsiteY56" fmla="*/ 1007178 h 1874262"/>
                <a:gd name="connsiteX57" fmla="*/ 2527252 w 2882161"/>
                <a:gd name="connsiteY57" fmla="*/ 1021717 h 1874262"/>
                <a:gd name="connsiteX58" fmla="*/ 2507266 w 2882161"/>
                <a:gd name="connsiteY58" fmla="*/ 1025149 h 1874262"/>
                <a:gd name="connsiteX59" fmla="*/ 2473941 w 2882161"/>
                <a:gd name="connsiteY59" fmla="*/ 1047451 h 1874262"/>
                <a:gd name="connsiteX60" fmla="*/ 2456142 w 2882161"/>
                <a:gd name="connsiteY60" fmla="*/ 1030295 h 1874262"/>
                <a:gd name="connsiteX61" fmla="*/ 2436885 w 2882161"/>
                <a:gd name="connsiteY61" fmla="*/ 1011467 h 1874262"/>
                <a:gd name="connsiteX62" fmla="*/ 2419085 w 2882161"/>
                <a:gd name="connsiteY62" fmla="*/ 997742 h 1874262"/>
                <a:gd name="connsiteX63" fmla="*/ 2404289 w 2882161"/>
                <a:gd name="connsiteY63" fmla="*/ 973939 h 1874262"/>
                <a:gd name="connsiteX64" fmla="*/ 2397641 w 2882161"/>
                <a:gd name="connsiteY64" fmla="*/ 965575 h 1874262"/>
                <a:gd name="connsiteX65" fmla="*/ 2393952 w 2882161"/>
                <a:gd name="connsiteY65" fmla="*/ 936668 h 1874262"/>
                <a:gd name="connsiteX66" fmla="*/ 2399485 w 2882161"/>
                <a:gd name="connsiteY66" fmla="*/ 925088 h 1874262"/>
                <a:gd name="connsiteX67" fmla="*/ 2400000 w 2882161"/>
                <a:gd name="connsiteY67" fmla="*/ 921657 h 1874262"/>
                <a:gd name="connsiteX68" fmla="*/ 2403217 w 2882161"/>
                <a:gd name="connsiteY68" fmla="*/ 913722 h 1874262"/>
                <a:gd name="connsiteX69" fmla="*/ 2403645 w 2882161"/>
                <a:gd name="connsiteY69" fmla="*/ 912950 h 1874262"/>
                <a:gd name="connsiteX70" fmla="*/ 2413124 w 2882161"/>
                <a:gd name="connsiteY70" fmla="*/ 894979 h 1874262"/>
                <a:gd name="connsiteX71" fmla="*/ 2412481 w 2882161"/>
                <a:gd name="connsiteY71" fmla="*/ 891720 h 1874262"/>
                <a:gd name="connsiteX72" fmla="*/ 2407205 w 2882161"/>
                <a:gd name="connsiteY72" fmla="*/ 891591 h 1874262"/>
                <a:gd name="connsiteX73" fmla="*/ 2400086 w 2882161"/>
                <a:gd name="connsiteY73" fmla="*/ 890305 h 1874262"/>
                <a:gd name="connsiteX74" fmla="*/ 2395325 w 2882161"/>
                <a:gd name="connsiteY74" fmla="*/ 893264 h 1874262"/>
                <a:gd name="connsiteX75" fmla="*/ 2389363 w 2882161"/>
                <a:gd name="connsiteY75" fmla="*/ 894293 h 1874262"/>
                <a:gd name="connsiteX76" fmla="*/ 2384088 w 2882161"/>
                <a:gd name="connsiteY76" fmla="*/ 896524 h 1874262"/>
                <a:gd name="connsiteX77" fmla="*/ 2356038 w 2882161"/>
                <a:gd name="connsiteY77" fmla="*/ 892749 h 1874262"/>
                <a:gd name="connsiteX78" fmla="*/ 2355438 w 2882161"/>
                <a:gd name="connsiteY78" fmla="*/ 892277 h 1874262"/>
                <a:gd name="connsiteX79" fmla="*/ 2348962 w 2882161"/>
                <a:gd name="connsiteY79" fmla="*/ 892835 h 1874262"/>
                <a:gd name="connsiteX80" fmla="*/ 2319968 w 2882161"/>
                <a:gd name="connsiteY80" fmla="*/ 877523 h 1874262"/>
                <a:gd name="connsiteX81" fmla="*/ 2288959 w 2882161"/>
                <a:gd name="connsiteY81" fmla="*/ 847844 h 1874262"/>
                <a:gd name="connsiteX82" fmla="*/ 2280682 w 2882161"/>
                <a:gd name="connsiteY82" fmla="*/ 841797 h 1874262"/>
                <a:gd name="connsiteX83" fmla="*/ 2280425 w 2882161"/>
                <a:gd name="connsiteY83" fmla="*/ 841496 h 1874262"/>
                <a:gd name="connsiteX84" fmla="*/ 2246070 w 2882161"/>
                <a:gd name="connsiteY84" fmla="*/ 809115 h 1874262"/>
                <a:gd name="connsiteX85" fmla="*/ 2233847 w 2882161"/>
                <a:gd name="connsiteY85" fmla="*/ 816106 h 1874262"/>
                <a:gd name="connsiteX86" fmla="*/ 2203481 w 2882161"/>
                <a:gd name="connsiteY86" fmla="*/ 810144 h 1874262"/>
                <a:gd name="connsiteX87" fmla="*/ 2176804 w 2882161"/>
                <a:gd name="connsiteY87" fmla="*/ 799851 h 1874262"/>
                <a:gd name="connsiteX88" fmla="*/ 2132371 w 2882161"/>
                <a:gd name="connsiteY88" fmla="*/ 799851 h 1874262"/>
                <a:gd name="connsiteX89" fmla="*/ 2118303 w 2882161"/>
                <a:gd name="connsiteY89" fmla="*/ 828115 h 1874262"/>
                <a:gd name="connsiteX90" fmla="*/ 2139790 w 2882161"/>
                <a:gd name="connsiteY90" fmla="*/ 854664 h 1874262"/>
                <a:gd name="connsiteX91" fmla="*/ 2131642 w 2882161"/>
                <a:gd name="connsiteY91" fmla="*/ 873492 h 1874262"/>
                <a:gd name="connsiteX92" fmla="*/ 2121262 w 2882161"/>
                <a:gd name="connsiteY92" fmla="*/ 891463 h 1874262"/>
                <a:gd name="connsiteX93" fmla="*/ 2131642 w 2882161"/>
                <a:gd name="connsiteY93" fmla="*/ 912864 h 1874262"/>
                <a:gd name="connsiteX94" fmla="*/ 2144980 w 2882161"/>
                <a:gd name="connsiteY94" fmla="*/ 947948 h 1874262"/>
                <a:gd name="connsiteX95" fmla="*/ 2131642 w 2882161"/>
                <a:gd name="connsiteY95" fmla="*/ 966819 h 1874262"/>
                <a:gd name="connsiteX96" fmla="*/ 2124093 w 2882161"/>
                <a:gd name="connsiteY96" fmla="*/ 990194 h 1874262"/>
                <a:gd name="connsiteX97" fmla="*/ 2150599 w 2882161"/>
                <a:gd name="connsiteY97" fmla="*/ 1046550 h 1874262"/>
                <a:gd name="connsiteX98" fmla="*/ 2156603 w 2882161"/>
                <a:gd name="connsiteY98" fmla="*/ 1069067 h 1874262"/>
                <a:gd name="connsiteX99" fmla="*/ 2161235 w 2882161"/>
                <a:gd name="connsiteY99" fmla="*/ 1076444 h 1874262"/>
                <a:gd name="connsiteX100" fmla="*/ 2168655 w 2882161"/>
                <a:gd name="connsiteY100" fmla="*/ 1161236 h 1874262"/>
                <a:gd name="connsiteX101" fmla="*/ 2121262 w 2882161"/>
                <a:gd name="connsiteY101" fmla="*/ 1215191 h 1874262"/>
                <a:gd name="connsiteX102" fmla="*/ 2074599 w 2882161"/>
                <a:gd name="connsiteY102" fmla="*/ 1234920 h 1874262"/>
                <a:gd name="connsiteX103" fmla="*/ 2083477 w 2882161"/>
                <a:gd name="connsiteY103" fmla="*/ 1272577 h 1874262"/>
                <a:gd name="connsiteX104" fmla="*/ 2092355 w 2882161"/>
                <a:gd name="connsiteY104" fmla="*/ 1311134 h 1874262"/>
                <a:gd name="connsiteX105" fmla="*/ 2101962 w 2882161"/>
                <a:gd name="connsiteY105" fmla="*/ 1357369 h 1874262"/>
                <a:gd name="connsiteX106" fmla="*/ 2094542 w 2882161"/>
                <a:gd name="connsiteY106" fmla="*/ 1389922 h 1874262"/>
                <a:gd name="connsiteX107" fmla="*/ 2099732 w 2882161"/>
                <a:gd name="connsiteY107" fmla="*/ 1409608 h 1874262"/>
                <a:gd name="connsiteX108" fmla="*/ 2084935 w 2882161"/>
                <a:gd name="connsiteY108" fmla="*/ 1407893 h 1874262"/>
                <a:gd name="connsiteX109" fmla="*/ 2066450 w 2882161"/>
                <a:gd name="connsiteY109" fmla="*/ 1431868 h 1874262"/>
                <a:gd name="connsiteX110" fmla="*/ 2038314 w 2882161"/>
                <a:gd name="connsiteY110" fmla="*/ 1419902 h 1874262"/>
                <a:gd name="connsiteX111" fmla="*/ 2026434 w 2882161"/>
                <a:gd name="connsiteY111" fmla="*/ 1393353 h 1874262"/>
                <a:gd name="connsiteX112" fmla="*/ 2002716 w 2882161"/>
                <a:gd name="connsiteY112" fmla="*/ 1366805 h 1874262"/>
                <a:gd name="connsiteX113" fmla="*/ 1979770 w 2882161"/>
                <a:gd name="connsiteY113" fmla="*/ 1332536 h 1874262"/>
                <a:gd name="connsiteX114" fmla="*/ 1977540 w 2882161"/>
                <a:gd name="connsiteY114" fmla="*/ 1273435 h 1874262"/>
                <a:gd name="connsiteX115" fmla="*/ 1981229 w 2882161"/>
                <a:gd name="connsiteY115" fmla="*/ 1242640 h 1874262"/>
                <a:gd name="connsiteX116" fmla="*/ 1962700 w 2882161"/>
                <a:gd name="connsiteY116" fmla="*/ 1218622 h 1874262"/>
                <a:gd name="connsiteX117" fmla="*/ 1912348 w 2882161"/>
                <a:gd name="connsiteY117" fmla="*/ 1215191 h 1874262"/>
                <a:gd name="connsiteX118" fmla="*/ 1885285 w 2882161"/>
                <a:gd name="connsiteY118" fmla="*/ 1212575 h 1874262"/>
                <a:gd name="connsiteX119" fmla="*/ 1874691 w 2882161"/>
                <a:gd name="connsiteY119" fmla="*/ 1210602 h 1874262"/>
                <a:gd name="connsiteX120" fmla="*/ 1848872 w 2882161"/>
                <a:gd name="connsiteY120" fmla="*/ 1191988 h 1874262"/>
                <a:gd name="connsiteX121" fmla="*/ 1847628 w 2882161"/>
                <a:gd name="connsiteY121" fmla="*/ 1191988 h 1874262"/>
                <a:gd name="connsiteX122" fmla="*/ 1808857 w 2882161"/>
                <a:gd name="connsiteY122" fmla="*/ 1178392 h 1874262"/>
                <a:gd name="connsiteX123" fmla="*/ 1752114 w 2882161"/>
                <a:gd name="connsiteY123" fmla="*/ 1132801 h 1874262"/>
                <a:gd name="connsiteX124" fmla="*/ 1750656 w 2882161"/>
                <a:gd name="connsiteY124" fmla="*/ 1124008 h 1874262"/>
                <a:gd name="connsiteX125" fmla="*/ 1729383 w 2882161"/>
                <a:gd name="connsiteY125" fmla="*/ 1121907 h 1874262"/>
                <a:gd name="connsiteX126" fmla="*/ 1684949 w 2882161"/>
                <a:gd name="connsiteY126" fmla="*/ 1101320 h 1874262"/>
                <a:gd name="connsiteX127" fmla="*/ 1635326 w 2882161"/>
                <a:gd name="connsiteY127" fmla="*/ 1118433 h 1874262"/>
                <a:gd name="connsiteX128" fmla="*/ 1639744 w 2882161"/>
                <a:gd name="connsiteY128" fmla="*/ 1099604 h 1874262"/>
                <a:gd name="connsiteX129" fmla="*/ 1624947 w 2882161"/>
                <a:gd name="connsiteY129" fmla="*/ 1050753 h 1874262"/>
                <a:gd name="connsiteX130" fmla="*/ 1600500 w 2882161"/>
                <a:gd name="connsiteY130" fmla="*/ 1017343 h 1874262"/>
                <a:gd name="connsiteX131" fmla="*/ 1563444 w 2882161"/>
                <a:gd name="connsiteY131" fmla="*/ 1007092 h 1874262"/>
                <a:gd name="connsiteX132" fmla="*/ 1561986 w 2882161"/>
                <a:gd name="connsiteY132" fmla="*/ 934266 h 1874262"/>
                <a:gd name="connsiteX133" fmla="*/ 1571164 w 2882161"/>
                <a:gd name="connsiteY133" fmla="*/ 907632 h 1874262"/>
                <a:gd name="connsiteX134" fmla="*/ 1570049 w 2882161"/>
                <a:gd name="connsiteY134" fmla="*/ 902742 h 1874262"/>
                <a:gd name="connsiteX135" fmla="*/ 1573952 w 2882161"/>
                <a:gd name="connsiteY135" fmla="*/ 880354 h 1874262"/>
                <a:gd name="connsiteX136" fmla="*/ 1597241 w 2882161"/>
                <a:gd name="connsiteY136" fmla="*/ 837508 h 1874262"/>
                <a:gd name="connsiteX137" fmla="*/ 1620401 w 2882161"/>
                <a:gd name="connsiteY137" fmla="*/ 816578 h 1874262"/>
                <a:gd name="connsiteX138" fmla="*/ 1630051 w 2882161"/>
                <a:gd name="connsiteY138" fmla="*/ 814819 h 1874262"/>
                <a:gd name="connsiteX139" fmla="*/ 1636098 w 2882161"/>
                <a:gd name="connsiteY139" fmla="*/ 800666 h 1874262"/>
                <a:gd name="connsiteX140" fmla="*/ 1644247 w 2882161"/>
                <a:gd name="connsiteY140" fmla="*/ 788657 h 1874262"/>
                <a:gd name="connsiteX141" fmla="*/ 1659773 w 2882161"/>
                <a:gd name="connsiteY141" fmla="*/ 777506 h 1874262"/>
                <a:gd name="connsiteX142" fmla="*/ 1698288 w 2882161"/>
                <a:gd name="connsiteY142" fmla="*/ 750957 h 1874262"/>
                <a:gd name="connsiteX143" fmla="*/ 1650166 w 2882161"/>
                <a:gd name="connsiteY143" fmla="*/ 729513 h 1874262"/>
                <a:gd name="connsiteX144" fmla="*/ 1597584 w 2882161"/>
                <a:gd name="connsiteY144" fmla="*/ 702964 h 1874262"/>
                <a:gd name="connsiteX145" fmla="*/ 1673155 w 2882161"/>
                <a:gd name="connsiteY145" fmla="*/ 718361 h 1874262"/>
                <a:gd name="connsiteX146" fmla="*/ 1713170 w 2882161"/>
                <a:gd name="connsiteY146" fmla="*/ 725224 h 1874262"/>
                <a:gd name="connsiteX147" fmla="*/ 1721319 w 2882161"/>
                <a:gd name="connsiteY147" fmla="*/ 691813 h 1874262"/>
                <a:gd name="connsiteX148" fmla="*/ 1770942 w 2882161"/>
                <a:gd name="connsiteY148" fmla="*/ 701249 h 1874262"/>
                <a:gd name="connsiteX149" fmla="*/ 1818335 w 2882161"/>
                <a:gd name="connsiteY149" fmla="*/ 644720 h 1874262"/>
                <a:gd name="connsiteX150" fmla="*/ 1792430 w 2882161"/>
                <a:gd name="connsiteY150" fmla="*/ 625849 h 1874262"/>
                <a:gd name="connsiteX151" fmla="*/ 1734658 w 2882161"/>
                <a:gd name="connsiteY151" fmla="*/ 603547 h 1874262"/>
                <a:gd name="connsiteX152" fmla="*/ 1736888 w 2882161"/>
                <a:gd name="connsiteY152" fmla="*/ 582145 h 1874262"/>
                <a:gd name="connsiteX153" fmla="*/ 1803538 w 2882161"/>
                <a:gd name="connsiteY153" fmla="*/ 619845 h 1874262"/>
                <a:gd name="connsiteX154" fmla="*/ 1853890 w 2882161"/>
                <a:gd name="connsiteY154" fmla="*/ 577899 h 1874262"/>
                <a:gd name="connsiteX155" fmla="*/ 1834633 w 2882161"/>
                <a:gd name="connsiteY155" fmla="*/ 555639 h 1874262"/>
                <a:gd name="connsiteX156" fmla="*/ 1860581 w 2882161"/>
                <a:gd name="connsiteY156" fmla="*/ 542773 h 1874262"/>
                <a:gd name="connsiteX157" fmla="*/ 1882026 w 2882161"/>
                <a:gd name="connsiteY157" fmla="*/ 560743 h 1874262"/>
                <a:gd name="connsiteX158" fmla="*/ 1917581 w 2882161"/>
                <a:gd name="connsiteY158" fmla="*/ 556497 h 1874262"/>
                <a:gd name="connsiteX159" fmla="*/ 1899053 w 2882161"/>
                <a:gd name="connsiteY159" fmla="*/ 529048 h 1874262"/>
                <a:gd name="connsiteX160" fmla="*/ 1904971 w 2882161"/>
                <a:gd name="connsiteY160" fmla="*/ 518797 h 1874262"/>
                <a:gd name="connsiteX161" fmla="*/ 1927917 w 2882161"/>
                <a:gd name="connsiteY161" fmla="*/ 541915 h 1874262"/>
                <a:gd name="connsiteX162" fmla="*/ 1955109 w 2882161"/>
                <a:gd name="connsiteY162" fmla="*/ 543502 h 1874262"/>
                <a:gd name="connsiteX163" fmla="*/ 1984488 w 2882161"/>
                <a:gd name="connsiteY163" fmla="*/ 508375 h 1874262"/>
                <a:gd name="connsiteX164" fmla="*/ 2004775 w 2882161"/>
                <a:gd name="connsiteY164" fmla="*/ 500012 h 1874262"/>
                <a:gd name="connsiteX165" fmla="*/ 2007863 w 2882161"/>
                <a:gd name="connsiteY165" fmla="*/ 498725 h 1874262"/>
                <a:gd name="connsiteX166" fmla="*/ 1990107 w 2882161"/>
                <a:gd name="connsiteY166" fmla="*/ 459653 h 1874262"/>
                <a:gd name="connsiteX167" fmla="*/ 1978998 w 2882161"/>
                <a:gd name="connsiteY167" fmla="*/ 432247 h 1874262"/>
                <a:gd name="connsiteX168" fmla="*/ 1979727 w 2882161"/>
                <a:gd name="connsiteY168" fmla="*/ 415949 h 1874262"/>
                <a:gd name="connsiteX169" fmla="*/ 2013052 w 2882161"/>
                <a:gd name="connsiteY169" fmla="*/ 402224 h 1874262"/>
                <a:gd name="connsiteX170" fmla="*/ 2004174 w 2882161"/>
                <a:gd name="connsiteY170" fmla="*/ 379107 h 1874262"/>
                <a:gd name="connsiteX171" fmla="*/ 1993066 w 2882161"/>
                <a:gd name="connsiteY171" fmla="*/ 361994 h 1874262"/>
                <a:gd name="connsiteX172" fmla="*/ 1967890 w 2882161"/>
                <a:gd name="connsiteY172" fmla="*/ 341450 h 1874262"/>
                <a:gd name="connsiteX173" fmla="*/ 1930105 w 2882161"/>
                <a:gd name="connsiteY173" fmla="*/ 329441 h 1874262"/>
                <a:gd name="connsiteX174" fmla="*/ 1877522 w 2882161"/>
                <a:gd name="connsiteY174" fmla="*/ 324337 h 1874262"/>
                <a:gd name="connsiteX175" fmla="*/ 1880482 w 2882161"/>
                <a:gd name="connsiteY175" fmla="*/ 361179 h 1874262"/>
                <a:gd name="connsiteX176" fmla="*/ 1890861 w 2882161"/>
                <a:gd name="connsiteY176" fmla="*/ 380050 h 1874262"/>
                <a:gd name="connsiteX177" fmla="*/ 1884942 w 2882161"/>
                <a:gd name="connsiteY177" fmla="*/ 397163 h 1874262"/>
                <a:gd name="connsiteX178" fmla="*/ 1863455 w 2882161"/>
                <a:gd name="connsiteY178" fmla="*/ 414276 h 1874262"/>
                <a:gd name="connsiteX179" fmla="*/ 1847157 w 2882161"/>
                <a:gd name="connsiteY179" fmla="*/ 452834 h 1874262"/>
                <a:gd name="connsiteX180" fmla="*/ 1832360 w 2882161"/>
                <a:gd name="connsiteY180" fmla="*/ 428859 h 1874262"/>
                <a:gd name="connsiteX181" fmla="*/ 1827942 w 2882161"/>
                <a:gd name="connsiteY181" fmla="*/ 458838 h 1874262"/>
                <a:gd name="connsiteX182" fmla="*/ 1840509 w 2882161"/>
                <a:gd name="connsiteY182" fmla="*/ 482813 h 1874262"/>
                <a:gd name="connsiteX183" fmla="*/ 1816791 w 2882161"/>
                <a:gd name="connsiteY183" fmla="*/ 501685 h 1874262"/>
                <a:gd name="connsiteX184" fmla="*/ 1798263 w 2882161"/>
                <a:gd name="connsiteY184" fmla="*/ 484572 h 1874262"/>
                <a:gd name="connsiteX185" fmla="*/ 1776046 w 2882161"/>
                <a:gd name="connsiteY185" fmla="*/ 444299 h 1874262"/>
                <a:gd name="connsiteX186" fmla="*/ 1790114 w 2882161"/>
                <a:gd name="connsiteY186" fmla="*/ 427186 h 1874262"/>
                <a:gd name="connsiteX187" fmla="*/ 1789385 w 2882161"/>
                <a:gd name="connsiteY187" fmla="*/ 401495 h 1874262"/>
                <a:gd name="connsiteX188" fmla="*/ 1767168 w 2882161"/>
                <a:gd name="connsiteY188" fmla="*/ 374947 h 1874262"/>
                <a:gd name="connsiteX189" fmla="*/ 1736073 w 2882161"/>
                <a:gd name="connsiteY189" fmla="*/ 366412 h 1874262"/>
                <a:gd name="connsiteX190" fmla="*/ 1723464 w 2882161"/>
                <a:gd name="connsiteY190" fmla="*/ 393818 h 1874262"/>
                <a:gd name="connsiteX191" fmla="*/ 1708667 w 2882161"/>
                <a:gd name="connsiteY191" fmla="*/ 424655 h 1874262"/>
                <a:gd name="connsiteX192" fmla="*/ 1697559 w 2882161"/>
                <a:gd name="connsiteY192" fmla="*/ 378421 h 1874262"/>
                <a:gd name="connsiteX193" fmla="*/ 1701976 w 2882161"/>
                <a:gd name="connsiteY193" fmla="*/ 362166 h 1874262"/>
                <a:gd name="connsiteX194" fmla="*/ 1710125 w 2882161"/>
                <a:gd name="connsiteY194" fmla="*/ 346726 h 1874262"/>
                <a:gd name="connsiteX195" fmla="*/ 1676800 w 2882161"/>
                <a:gd name="connsiteY195" fmla="*/ 331328 h 1874262"/>
                <a:gd name="connsiteX196" fmla="*/ 1651624 w 2882161"/>
                <a:gd name="connsiteY196" fmla="*/ 339048 h 1874262"/>
                <a:gd name="connsiteX197" fmla="*/ 1653083 w 2882161"/>
                <a:gd name="connsiteY197" fmla="*/ 305637 h 1874262"/>
                <a:gd name="connsiteX198" fmla="*/ 1672340 w 2882161"/>
                <a:gd name="connsiteY198" fmla="*/ 297917 h 1874262"/>
                <a:gd name="connsiteX199" fmla="*/ 1651582 w 2882161"/>
                <a:gd name="connsiteY199" fmla="*/ 273085 h 1874262"/>
                <a:gd name="connsiteX200" fmla="*/ 1621945 w 2882161"/>
                <a:gd name="connsiteY200" fmla="*/ 252541 h 1874262"/>
                <a:gd name="connsiteX201" fmla="*/ 1623403 w 2882161"/>
                <a:gd name="connsiteY201" fmla="*/ 218272 h 1874262"/>
                <a:gd name="connsiteX202" fmla="*/ 1580471 w 2882161"/>
                <a:gd name="connsiteY202" fmla="*/ 184003 h 1874262"/>
                <a:gd name="connsiteX203" fmla="*/ 1572322 w 2882161"/>
                <a:gd name="connsiteY203" fmla="*/ 166891 h 1874262"/>
                <a:gd name="connsiteX204" fmla="*/ 1596769 w 2882161"/>
                <a:gd name="connsiteY204" fmla="*/ 146347 h 1874262"/>
                <a:gd name="connsiteX205" fmla="*/ 1601959 w 2882161"/>
                <a:gd name="connsiteY205" fmla="*/ 121514 h 1874262"/>
                <a:gd name="connsiteX206" fmla="*/ 1604189 w 2882161"/>
                <a:gd name="connsiteY206" fmla="*/ 108647 h 1874262"/>
                <a:gd name="connsiteX207" fmla="*/ 1656042 w 2882161"/>
                <a:gd name="connsiteY207" fmla="*/ 113794 h 1874262"/>
                <a:gd name="connsiteX208" fmla="*/ 1704207 w 2882161"/>
                <a:gd name="connsiteY208" fmla="*/ 37579 h 1874262"/>
                <a:gd name="connsiteX209" fmla="*/ 1669380 w 2882161"/>
                <a:gd name="connsiteY209" fmla="*/ 20424 h 1874262"/>
                <a:gd name="connsiteX210" fmla="*/ 1614568 w 2882161"/>
                <a:gd name="connsiteY210" fmla="*/ 6699 h 1874262"/>
                <a:gd name="connsiteX211" fmla="*/ 1544958 w 2882161"/>
                <a:gd name="connsiteY211" fmla="*/ 19566 h 1874262"/>
                <a:gd name="connsiteX212" fmla="*/ 1553837 w 2882161"/>
                <a:gd name="connsiteY212" fmla="*/ 42683 h 1874262"/>
                <a:gd name="connsiteX213" fmla="*/ 1532349 w 2882161"/>
                <a:gd name="connsiteY213" fmla="*/ 40110 h 1874262"/>
                <a:gd name="connsiteX214" fmla="*/ 1532349 w 2882161"/>
                <a:gd name="connsiteY214" fmla="*/ 84629 h 1874262"/>
                <a:gd name="connsiteX215" fmla="*/ 1544958 w 2882161"/>
                <a:gd name="connsiteY215" fmla="*/ 127475 h 1874262"/>
                <a:gd name="connsiteX216" fmla="*/ 1550877 w 2882161"/>
                <a:gd name="connsiteY216" fmla="*/ 171994 h 1874262"/>
                <a:gd name="connsiteX217" fmla="*/ 1530162 w 2882161"/>
                <a:gd name="connsiteY217" fmla="*/ 194297 h 1874262"/>
                <a:gd name="connsiteX218" fmla="*/ 1540541 w 2882161"/>
                <a:gd name="connsiteY218" fmla="*/ 217414 h 1874262"/>
                <a:gd name="connsiteX219" fmla="*/ 1513135 w 2882161"/>
                <a:gd name="connsiteY219" fmla="*/ 213983 h 1874262"/>
                <a:gd name="connsiteX220" fmla="*/ 1506487 w 2882161"/>
                <a:gd name="connsiteY220" fmla="*/ 255972 h 1874262"/>
                <a:gd name="connsiteX221" fmla="*/ 1512406 w 2882161"/>
                <a:gd name="connsiteY221" fmla="*/ 274843 h 1874262"/>
                <a:gd name="connsiteX222" fmla="*/ 1514636 w 2882161"/>
                <a:gd name="connsiteY222" fmla="*/ 318504 h 1874262"/>
                <a:gd name="connsiteX223" fmla="*/ 1582015 w 2882161"/>
                <a:gd name="connsiteY223" fmla="*/ 345911 h 1874262"/>
                <a:gd name="connsiteX224" fmla="*/ 1581286 w 2882161"/>
                <a:gd name="connsiteY224" fmla="*/ 365597 h 1874262"/>
                <a:gd name="connsiteX225" fmla="*/ 1570907 w 2882161"/>
                <a:gd name="connsiteY225" fmla="*/ 396434 h 1874262"/>
                <a:gd name="connsiteX226" fmla="*/ 1587205 w 2882161"/>
                <a:gd name="connsiteY226" fmla="*/ 382710 h 1874262"/>
                <a:gd name="connsiteX227" fmla="*/ 1602001 w 2882161"/>
                <a:gd name="connsiteY227" fmla="*/ 404154 h 1874262"/>
                <a:gd name="connsiteX228" fmla="*/ 1579056 w 2882161"/>
                <a:gd name="connsiteY228" fmla="*/ 427272 h 1874262"/>
                <a:gd name="connsiteX229" fmla="*/ 1546460 w 2882161"/>
                <a:gd name="connsiteY229" fmla="*/ 442669 h 1874262"/>
                <a:gd name="connsiteX230" fmla="*/ 1546460 w 2882161"/>
                <a:gd name="connsiteY230" fmla="*/ 480369 h 1874262"/>
                <a:gd name="connsiteX231" fmla="*/ 1528704 w 2882161"/>
                <a:gd name="connsiteY231" fmla="*/ 494951 h 1874262"/>
                <a:gd name="connsiteX232" fmla="*/ 1510904 w 2882161"/>
                <a:gd name="connsiteY232" fmla="*/ 463256 h 1874262"/>
                <a:gd name="connsiteX233" fmla="*/ 1515365 w 2882161"/>
                <a:gd name="connsiteY233" fmla="*/ 433276 h 1874262"/>
                <a:gd name="connsiteX234" fmla="*/ 1476850 w 2882161"/>
                <a:gd name="connsiteY234" fmla="*/ 420452 h 1874262"/>
                <a:gd name="connsiteX235" fmla="*/ 1501297 w 2882161"/>
                <a:gd name="connsiteY235" fmla="*/ 416163 h 1874262"/>
                <a:gd name="connsiteX236" fmla="*/ 1519053 w 2882161"/>
                <a:gd name="connsiteY236" fmla="*/ 400723 h 1874262"/>
                <a:gd name="connsiteX237" fmla="*/ 1557568 w 2882161"/>
                <a:gd name="connsiteY237" fmla="*/ 397292 h 1874262"/>
                <a:gd name="connsiteX238" fmla="*/ 1539040 w 2882161"/>
                <a:gd name="connsiteY238" fmla="*/ 363881 h 1874262"/>
                <a:gd name="connsiteX239" fmla="*/ 1512406 w 2882161"/>
                <a:gd name="connsiteY239" fmla="*/ 361308 h 1874262"/>
                <a:gd name="connsiteX240" fmla="*/ 1539812 w 2882161"/>
                <a:gd name="connsiteY240" fmla="*/ 355303 h 1874262"/>
                <a:gd name="connsiteX241" fmla="*/ 1519825 w 2882161"/>
                <a:gd name="connsiteY241" fmla="*/ 341622 h 1874262"/>
                <a:gd name="connsiteX242" fmla="*/ 1482769 w 2882161"/>
                <a:gd name="connsiteY242" fmla="*/ 332229 h 1874262"/>
                <a:gd name="connsiteX243" fmla="*/ 1444254 w 2882161"/>
                <a:gd name="connsiteY243" fmla="*/ 342479 h 1874262"/>
                <a:gd name="connsiteX244" fmla="*/ 1410200 w 2882161"/>
                <a:gd name="connsiteY244" fmla="*/ 369028 h 1874262"/>
                <a:gd name="connsiteX245" fmla="*/ 1439837 w 2882161"/>
                <a:gd name="connsiteY245" fmla="*/ 388714 h 1874262"/>
                <a:gd name="connsiteX246" fmla="*/ 1465013 w 2882161"/>
                <a:gd name="connsiteY246" fmla="*/ 410974 h 1874262"/>
                <a:gd name="connsiteX247" fmla="*/ 1449444 w 2882161"/>
                <a:gd name="connsiteY247" fmla="*/ 421267 h 1874262"/>
                <a:gd name="connsiteX248" fmla="*/ 1436105 w 2882161"/>
                <a:gd name="connsiteY248" fmla="*/ 431518 h 1874262"/>
                <a:gd name="connsiteX249" fmla="*/ 1433875 w 2882161"/>
                <a:gd name="connsiteY249" fmla="*/ 456393 h 1874262"/>
                <a:gd name="connsiteX250" fmla="*/ 1402781 w 2882161"/>
                <a:gd name="connsiteY250" fmla="*/ 455536 h 1874262"/>
                <a:gd name="connsiteX251" fmla="*/ 1337589 w 2882161"/>
                <a:gd name="connsiteY251" fmla="*/ 464971 h 1874262"/>
                <a:gd name="connsiteX252" fmla="*/ 1285006 w 2882161"/>
                <a:gd name="connsiteY252" fmla="*/ 450432 h 1874262"/>
                <a:gd name="connsiteX253" fmla="*/ 1249451 w 2882161"/>
                <a:gd name="connsiteY253" fmla="*/ 441039 h 1874262"/>
                <a:gd name="connsiteX254" fmla="*/ 1219815 w 2882161"/>
                <a:gd name="connsiteY254" fmla="*/ 423926 h 1874262"/>
                <a:gd name="connsiteX255" fmla="*/ 1202788 w 2882161"/>
                <a:gd name="connsiteY255" fmla="*/ 393089 h 1874262"/>
                <a:gd name="connsiteX256" fmla="*/ 1147975 w 2882161"/>
                <a:gd name="connsiteY256" fmla="*/ 395662 h 1874262"/>
                <a:gd name="connsiteX257" fmla="*/ 1099081 w 2882161"/>
                <a:gd name="connsiteY257" fmla="*/ 420538 h 1874262"/>
                <a:gd name="connsiteX258" fmla="*/ 1113878 w 2882161"/>
                <a:gd name="connsiteY258" fmla="*/ 436793 h 1874262"/>
                <a:gd name="connsiteX259" fmla="*/ 1144973 w 2882161"/>
                <a:gd name="connsiteY259" fmla="*/ 424784 h 1874262"/>
                <a:gd name="connsiteX260" fmla="*/ 1189406 w 2882161"/>
                <a:gd name="connsiteY260" fmla="*/ 410202 h 1874262"/>
                <a:gd name="connsiteX261" fmla="*/ 1134594 w 2882161"/>
                <a:gd name="connsiteY261" fmla="*/ 443612 h 1874262"/>
                <a:gd name="connsiteX262" fmla="*/ 1138325 w 2882161"/>
                <a:gd name="connsiteY262" fmla="*/ 496709 h 1874262"/>
                <a:gd name="connsiteX263" fmla="*/ 1130176 w 2882161"/>
                <a:gd name="connsiteY263" fmla="*/ 525831 h 1874262"/>
                <a:gd name="connsiteX264" fmla="*/ 1109461 w 2882161"/>
                <a:gd name="connsiteY264" fmla="*/ 515538 h 1874262"/>
                <a:gd name="connsiteX265" fmla="*/ 1105729 w 2882161"/>
                <a:gd name="connsiteY265" fmla="*/ 483843 h 1874262"/>
                <a:gd name="connsiteX266" fmla="*/ 1088702 w 2882161"/>
                <a:gd name="connsiteY266" fmla="*/ 472691 h 1874262"/>
                <a:gd name="connsiteX267" fmla="*/ 1066486 w 2882161"/>
                <a:gd name="connsiteY267" fmla="*/ 464114 h 1874262"/>
                <a:gd name="connsiteX268" fmla="*/ 1036849 w 2882161"/>
                <a:gd name="connsiteY268" fmla="*/ 455536 h 1874262"/>
                <a:gd name="connsiteX269" fmla="*/ 975389 w 2882161"/>
                <a:gd name="connsiteY269" fmla="*/ 467502 h 1874262"/>
                <a:gd name="connsiteX270" fmla="*/ 876872 w 2882161"/>
                <a:gd name="connsiteY270" fmla="*/ 459782 h 1874262"/>
                <a:gd name="connsiteX271" fmla="*/ 914657 w 2882161"/>
                <a:gd name="connsiteY271" fmla="*/ 429802 h 1874262"/>
                <a:gd name="connsiteX272" fmla="*/ 902091 w 2882161"/>
                <a:gd name="connsiteY272" fmla="*/ 400680 h 1874262"/>
                <a:gd name="connsiteX273" fmla="*/ 848007 w 2882161"/>
                <a:gd name="connsiteY273" fmla="*/ 385240 h 1874262"/>
                <a:gd name="connsiteX274" fmla="*/ 799114 w 2882161"/>
                <a:gd name="connsiteY274" fmla="*/ 380136 h 1874262"/>
                <a:gd name="connsiteX275" fmla="*/ 750220 w 2882161"/>
                <a:gd name="connsiteY275" fmla="*/ 362123 h 1874262"/>
                <a:gd name="connsiteX276" fmla="*/ 685071 w 2882161"/>
                <a:gd name="connsiteY276" fmla="*/ 336432 h 1874262"/>
                <a:gd name="connsiteX277" fmla="*/ 609543 w 2882161"/>
                <a:gd name="connsiteY277" fmla="*/ 339863 h 1874262"/>
                <a:gd name="connsiteX278" fmla="*/ 571028 w 2882161"/>
                <a:gd name="connsiteY278" fmla="*/ 356161 h 1874262"/>
                <a:gd name="connsiteX279" fmla="*/ 572486 w 2882161"/>
                <a:gd name="connsiteY279" fmla="*/ 331328 h 1874262"/>
                <a:gd name="connsiteX280" fmla="*/ 561378 w 2882161"/>
                <a:gd name="connsiteY280" fmla="*/ 301349 h 1874262"/>
                <a:gd name="connsiteX281" fmla="*/ 516216 w 2882161"/>
                <a:gd name="connsiteY281" fmla="*/ 356161 h 1874262"/>
                <a:gd name="connsiteX282" fmla="*/ 465864 w 2882161"/>
                <a:gd name="connsiteY282" fmla="*/ 279089 h 1874262"/>
                <a:gd name="connsiteX283" fmla="*/ 445877 w 2882161"/>
                <a:gd name="connsiteY283" fmla="*/ 285951 h 1874262"/>
                <a:gd name="connsiteX284" fmla="*/ 434040 w 2882161"/>
                <a:gd name="connsiteY284" fmla="*/ 308211 h 1874262"/>
                <a:gd name="connsiteX285" fmla="*/ 409593 w 2882161"/>
                <a:gd name="connsiteY285" fmla="*/ 333044 h 1874262"/>
                <a:gd name="connsiteX286" fmla="*/ 376997 w 2882161"/>
                <a:gd name="connsiteY286" fmla="*/ 339048 h 1874262"/>
                <a:gd name="connsiteX287" fmla="*/ 345130 w 2882161"/>
                <a:gd name="connsiteY287" fmla="*/ 351014 h 1874262"/>
                <a:gd name="connsiteX288" fmla="*/ 293277 w 2882161"/>
                <a:gd name="connsiteY288" fmla="*/ 383567 h 1874262"/>
                <a:gd name="connsiteX289" fmla="*/ 271060 w 2882161"/>
                <a:gd name="connsiteY289" fmla="*/ 400680 h 1874262"/>
                <a:gd name="connsiteX290" fmla="*/ 279209 w 2882161"/>
                <a:gd name="connsiteY290" fmla="*/ 379236 h 1874262"/>
                <a:gd name="connsiteX291" fmla="*/ 343629 w 2882161"/>
                <a:gd name="connsiteY291" fmla="*/ 336432 h 1874262"/>
                <a:gd name="connsiteX292" fmla="*/ 394496 w 2882161"/>
                <a:gd name="connsiteY292" fmla="*/ 311085 h 1874262"/>
                <a:gd name="connsiteX293" fmla="*/ 392995 w 2882161"/>
                <a:gd name="connsiteY293" fmla="*/ 311213 h 1874262"/>
                <a:gd name="connsiteX294" fmla="*/ 307774 w 2882161"/>
                <a:gd name="connsiteY294" fmla="*/ 329184 h 1874262"/>
                <a:gd name="connsiteX295" fmla="*/ 299839 w 2882161"/>
                <a:gd name="connsiteY295" fmla="*/ 331714 h 1874262"/>
                <a:gd name="connsiteX296" fmla="*/ 279338 w 2882161"/>
                <a:gd name="connsiteY296" fmla="*/ 338233 h 1874262"/>
                <a:gd name="connsiteX297" fmla="*/ 277794 w 2882161"/>
                <a:gd name="connsiteY297" fmla="*/ 346683 h 1874262"/>
                <a:gd name="connsiteX298" fmla="*/ 254076 w 2882161"/>
                <a:gd name="connsiteY298" fmla="*/ 354403 h 1874262"/>
                <a:gd name="connsiteX299" fmla="*/ 246656 w 2882161"/>
                <a:gd name="connsiteY299" fmla="*/ 348398 h 1874262"/>
                <a:gd name="connsiteX300" fmla="*/ 247857 w 2882161"/>
                <a:gd name="connsiteY300" fmla="*/ 346768 h 1874262"/>
                <a:gd name="connsiteX301" fmla="*/ 219164 w 2882161"/>
                <a:gd name="connsiteY301" fmla="*/ 351658 h 1874262"/>
                <a:gd name="connsiteX302" fmla="*/ 206641 w 2882161"/>
                <a:gd name="connsiteY302" fmla="*/ 353545 h 1874262"/>
                <a:gd name="connsiteX303" fmla="*/ 182923 w 2882161"/>
                <a:gd name="connsiteY303" fmla="*/ 378378 h 1874262"/>
                <a:gd name="connsiteX304" fmla="*/ 196261 w 2882161"/>
                <a:gd name="connsiteY304" fmla="*/ 400637 h 1874262"/>
                <a:gd name="connsiteX305" fmla="*/ 145909 w 2882161"/>
                <a:gd name="connsiteY305" fmla="*/ 385197 h 1874262"/>
                <a:gd name="connsiteX306" fmla="*/ 68151 w 2882161"/>
                <a:gd name="connsiteY306" fmla="*/ 343251 h 1874262"/>
                <a:gd name="connsiteX307" fmla="*/ 6433 w 2882161"/>
                <a:gd name="connsiteY307" fmla="*/ 337504 h 1874262"/>
                <a:gd name="connsiteX308" fmla="*/ 6433 w 2882161"/>
                <a:gd name="connsiteY308" fmla="*/ 929505 h 1874262"/>
                <a:gd name="connsiteX309" fmla="*/ 24190 w 2882161"/>
                <a:gd name="connsiteY309" fmla="*/ 933709 h 1874262"/>
                <a:gd name="connsiteX310" fmla="*/ 54813 w 2882161"/>
                <a:gd name="connsiteY310" fmla="*/ 926846 h 1874262"/>
                <a:gd name="connsiteX311" fmla="*/ 77501 w 2882161"/>
                <a:gd name="connsiteY311" fmla="*/ 946232 h 1874262"/>
                <a:gd name="connsiteX312" fmla="*/ 111083 w 2882161"/>
                <a:gd name="connsiteY312" fmla="*/ 985047 h 1874262"/>
                <a:gd name="connsiteX313" fmla="*/ 136774 w 2882161"/>
                <a:gd name="connsiteY313" fmla="*/ 1004476 h 1874262"/>
                <a:gd name="connsiteX314" fmla="*/ 167397 w 2882161"/>
                <a:gd name="connsiteY314" fmla="*/ 977027 h 1874262"/>
                <a:gd name="connsiteX315" fmla="*/ 212817 w 2882161"/>
                <a:gd name="connsiteY315" fmla="*/ 979343 h 1874262"/>
                <a:gd name="connsiteX316" fmla="*/ 284914 w 2882161"/>
                <a:gd name="connsiteY316" fmla="*/ 1074085 h 1874262"/>
                <a:gd name="connsiteX317" fmla="*/ 344187 w 2882161"/>
                <a:gd name="connsiteY317" fmla="*/ 1155189 h 1874262"/>
                <a:gd name="connsiteX318" fmla="*/ 375796 w 2882161"/>
                <a:gd name="connsiteY318" fmla="*/ 1196320 h 1874262"/>
                <a:gd name="connsiteX319" fmla="*/ 382701 w 2882161"/>
                <a:gd name="connsiteY319" fmla="*/ 1231703 h 1874262"/>
                <a:gd name="connsiteX320" fmla="*/ 359927 w 2882161"/>
                <a:gd name="connsiteY320" fmla="*/ 1250317 h 1874262"/>
                <a:gd name="connsiteX321" fmla="*/ 374081 w 2882161"/>
                <a:gd name="connsiteY321" fmla="*/ 1269961 h 1874262"/>
                <a:gd name="connsiteX322" fmla="*/ 368548 w 2882161"/>
                <a:gd name="connsiteY322" fmla="*/ 1279182 h 1874262"/>
                <a:gd name="connsiteX323" fmla="*/ 369363 w 2882161"/>
                <a:gd name="connsiteY323" fmla="*/ 1279096 h 1874262"/>
                <a:gd name="connsiteX324" fmla="*/ 405904 w 2882161"/>
                <a:gd name="connsiteY324" fmla="*/ 1312293 h 1874262"/>
                <a:gd name="connsiteX325" fmla="*/ 408735 w 2882161"/>
                <a:gd name="connsiteY325" fmla="*/ 1315767 h 1874262"/>
                <a:gd name="connsiteX326" fmla="*/ 416970 w 2882161"/>
                <a:gd name="connsiteY326" fmla="*/ 1333566 h 1874262"/>
                <a:gd name="connsiteX327" fmla="*/ 422417 w 2882161"/>
                <a:gd name="connsiteY327" fmla="*/ 1347762 h 1874262"/>
                <a:gd name="connsiteX328" fmla="*/ 448837 w 2882161"/>
                <a:gd name="connsiteY328" fmla="*/ 1368435 h 1874262"/>
                <a:gd name="connsiteX329" fmla="*/ 451067 w 2882161"/>
                <a:gd name="connsiteY329" fmla="*/ 1385547 h 1874262"/>
                <a:gd name="connsiteX330" fmla="*/ 449566 w 2882161"/>
                <a:gd name="connsiteY330" fmla="*/ 1408665 h 1874262"/>
                <a:gd name="connsiteX331" fmla="*/ 456986 w 2882161"/>
                <a:gd name="connsiteY331" fmla="*/ 1429251 h 1874262"/>
                <a:gd name="connsiteX332" fmla="*/ 492541 w 2882161"/>
                <a:gd name="connsiteY332" fmla="*/ 1444649 h 1874262"/>
                <a:gd name="connsiteX333" fmla="*/ 515487 w 2882161"/>
                <a:gd name="connsiteY333" fmla="*/ 1460904 h 1874262"/>
                <a:gd name="connsiteX334" fmla="*/ 544394 w 2882161"/>
                <a:gd name="connsiteY334" fmla="*/ 1471197 h 1874262"/>
                <a:gd name="connsiteX335" fmla="*/ 557003 w 2882161"/>
                <a:gd name="connsiteY335" fmla="*/ 1494315 h 1874262"/>
                <a:gd name="connsiteX336" fmla="*/ 582179 w 2882161"/>
                <a:gd name="connsiteY336" fmla="*/ 1498604 h 1874262"/>
                <a:gd name="connsiteX337" fmla="*/ 602166 w 2882161"/>
                <a:gd name="connsiteY337" fmla="*/ 1509755 h 1874262"/>
                <a:gd name="connsiteX338" fmla="*/ 627771 w 2882161"/>
                <a:gd name="connsiteY338" fmla="*/ 1545868 h 1874262"/>
                <a:gd name="connsiteX339" fmla="*/ 1548304 w 2882161"/>
                <a:gd name="connsiteY339" fmla="*/ 1540120 h 1874262"/>
                <a:gd name="connsiteX340" fmla="*/ 1559798 w 2882161"/>
                <a:gd name="connsiteY340" fmla="*/ 1522836 h 1874262"/>
                <a:gd name="connsiteX341" fmla="*/ 1573609 w 2882161"/>
                <a:gd name="connsiteY341" fmla="*/ 1552558 h 1874262"/>
                <a:gd name="connsiteX342" fmla="*/ 1602259 w 2882161"/>
                <a:gd name="connsiteY342" fmla="*/ 1563967 h 1874262"/>
                <a:gd name="connsiteX343" fmla="*/ 1632882 w 2882161"/>
                <a:gd name="connsiteY343" fmla="*/ 1565125 h 1874262"/>
                <a:gd name="connsiteX344" fmla="*/ 1660545 w 2882161"/>
                <a:gd name="connsiteY344" fmla="*/ 1577692 h 1874262"/>
                <a:gd name="connsiteX345" fmla="*/ 1689195 w 2882161"/>
                <a:gd name="connsiteY345" fmla="*/ 1583396 h 1874262"/>
                <a:gd name="connsiteX346" fmla="*/ 1736974 w 2882161"/>
                <a:gd name="connsiteY346" fmla="*/ 1591159 h 1874262"/>
                <a:gd name="connsiteX347" fmla="*/ 1780550 w 2882161"/>
                <a:gd name="connsiteY347" fmla="*/ 1543980 h 1874262"/>
                <a:gd name="connsiteX348" fmla="*/ 1851660 w 2882161"/>
                <a:gd name="connsiteY348" fmla="*/ 1578206 h 1874262"/>
                <a:gd name="connsiteX349" fmla="*/ 1887215 w 2882161"/>
                <a:gd name="connsiteY349" fmla="*/ 1607371 h 1874262"/>
                <a:gd name="connsiteX350" fmla="*/ 1906044 w 2882161"/>
                <a:gd name="connsiteY350" fmla="*/ 1661326 h 1874262"/>
                <a:gd name="connsiteX351" fmla="*/ 1925086 w 2882161"/>
                <a:gd name="connsiteY351" fmla="*/ 1676637 h 1874262"/>
                <a:gd name="connsiteX352" fmla="*/ 1976125 w 2882161"/>
                <a:gd name="connsiteY352" fmla="*/ 1684486 h 1874262"/>
                <a:gd name="connsiteX353" fmla="*/ 2038357 w 2882161"/>
                <a:gd name="connsiteY353" fmla="*/ 1703314 h 1874262"/>
                <a:gd name="connsiteX354" fmla="*/ 2050195 w 2882161"/>
                <a:gd name="connsiteY354" fmla="*/ 1756411 h 1874262"/>
                <a:gd name="connsiteX355" fmla="*/ 2007262 w 2882161"/>
                <a:gd name="connsiteY355" fmla="*/ 1744402 h 1874262"/>
                <a:gd name="connsiteX356" fmla="*/ 1996883 w 2882161"/>
                <a:gd name="connsiteY356" fmla="*/ 1778671 h 1874262"/>
                <a:gd name="connsiteX357" fmla="*/ 1973165 w 2882161"/>
                <a:gd name="connsiteY357" fmla="*/ 1838630 h 1874262"/>
                <a:gd name="connsiteX358" fmla="*/ 1972308 w 2882161"/>
                <a:gd name="connsiteY358" fmla="*/ 1838201 h 1874262"/>
                <a:gd name="connsiteX359" fmla="*/ 1977712 w 2882161"/>
                <a:gd name="connsiteY359" fmla="*/ 1868481 h 1874262"/>
                <a:gd name="connsiteX360" fmla="*/ 2019100 w 2882161"/>
                <a:gd name="connsiteY360" fmla="*/ 1843777 h 1874262"/>
                <a:gd name="connsiteX361" fmla="*/ 2062032 w 2882161"/>
                <a:gd name="connsiteY361" fmla="*/ 1848923 h 1874262"/>
                <a:gd name="connsiteX362" fmla="*/ 2082790 w 2882161"/>
                <a:gd name="connsiteY362" fmla="*/ 1840346 h 1874262"/>
                <a:gd name="connsiteX363" fmla="*/ 2082276 w 2882161"/>
                <a:gd name="connsiteY363" fmla="*/ 1844206 h 1874262"/>
                <a:gd name="connsiteX364" fmla="*/ 2092183 w 2882161"/>
                <a:gd name="connsiteY364" fmla="*/ 1834598 h 1874262"/>
                <a:gd name="connsiteX365" fmla="*/ 2090296 w 2882161"/>
                <a:gd name="connsiteY365" fmla="*/ 1819287 h 1874262"/>
                <a:gd name="connsiteX366" fmla="*/ 2066493 w 2882161"/>
                <a:gd name="connsiteY366" fmla="*/ 1811224 h 1874262"/>
                <a:gd name="connsiteX367" fmla="*/ 2134644 w 2882161"/>
                <a:gd name="connsiteY367" fmla="*/ 1780386 h 1874262"/>
                <a:gd name="connsiteX368" fmla="*/ 2180793 w 2882161"/>
                <a:gd name="connsiteY368" fmla="*/ 1776569 h 1874262"/>
                <a:gd name="connsiteX369" fmla="*/ 2225483 w 2882161"/>
                <a:gd name="connsiteY369" fmla="*/ 1737540 h 1874262"/>
                <a:gd name="connsiteX370" fmla="*/ 2340041 w 2882161"/>
                <a:gd name="connsiteY370" fmla="*/ 1736382 h 1874262"/>
                <a:gd name="connsiteX371" fmla="*/ 2381515 w 2882161"/>
                <a:gd name="connsiteY371" fmla="*/ 1686159 h 1874262"/>
                <a:gd name="connsiteX372" fmla="*/ 2423975 w 2882161"/>
                <a:gd name="connsiteY372" fmla="*/ 1617621 h 1874262"/>
                <a:gd name="connsiteX373" fmla="*/ 2468408 w 2882161"/>
                <a:gd name="connsiteY373" fmla="*/ 1632461 h 1874262"/>
                <a:gd name="connsiteX374" fmla="*/ 2496586 w 2882161"/>
                <a:gd name="connsiteY374" fmla="*/ 1739899 h 1874262"/>
                <a:gd name="connsiteX375" fmla="*/ 2531627 w 2882161"/>
                <a:gd name="connsiteY375" fmla="*/ 1723001 h 1874262"/>
                <a:gd name="connsiteX376" fmla="*/ 2570871 w 2882161"/>
                <a:gd name="connsiteY376" fmla="*/ 1690447 h 1874262"/>
                <a:gd name="connsiteX377" fmla="*/ 2573101 w 2882161"/>
                <a:gd name="connsiteY377" fmla="*/ 1706745 h 1874262"/>
                <a:gd name="connsiteX378" fmla="*/ 2603467 w 2882161"/>
                <a:gd name="connsiteY378" fmla="*/ 1720470 h 1874262"/>
                <a:gd name="connsiteX379" fmla="*/ 2578291 w 2882161"/>
                <a:gd name="connsiteY379" fmla="*/ 1728190 h 1874262"/>
                <a:gd name="connsiteX380" fmla="*/ 2535316 w 2882161"/>
                <a:gd name="connsiteY380" fmla="*/ 1753881 h 1874262"/>
                <a:gd name="connsiteX381" fmla="*/ 2531627 w 2882161"/>
                <a:gd name="connsiteY381" fmla="*/ 1796684 h 1874262"/>
                <a:gd name="connsiteX382" fmla="*/ 2575331 w 2882161"/>
                <a:gd name="connsiteY382" fmla="*/ 1787249 h 1874262"/>
                <a:gd name="connsiteX383" fmla="*/ 2607155 w 2882161"/>
                <a:gd name="connsiteY383" fmla="*/ 1755553 h 1874262"/>
                <a:gd name="connsiteX384" fmla="*/ 2634990 w 2882161"/>
                <a:gd name="connsiteY384" fmla="*/ 1749763 h 1874262"/>
                <a:gd name="connsiteX385" fmla="*/ 2639150 w 2882161"/>
                <a:gd name="connsiteY385" fmla="*/ 1744960 h 1874262"/>
                <a:gd name="connsiteX386" fmla="*/ 2650045 w 2882161"/>
                <a:gd name="connsiteY386" fmla="*/ 1735996 h 1874262"/>
                <a:gd name="connsiteX387" fmla="*/ 2654634 w 2882161"/>
                <a:gd name="connsiteY387" fmla="*/ 1731836 h 1874262"/>
                <a:gd name="connsiteX388" fmla="*/ 2680410 w 2882161"/>
                <a:gd name="connsiteY388" fmla="*/ 1720856 h 1874262"/>
                <a:gd name="connsiteX389" fmla="*/ 2687101 w 2882161"/>
                <a:gd name="connsiteY389" fmla="*/ 1721414 h 1874262"/>
                <a:gd name="connsiteX390" fmla="*/ 2691475 w 2882161"/>
                <a:gd name="connsiteY390" fmla="*/ 1715495 h 1874262"/>
                <a:gd name="connsiteX391" fmla="*/ 2690875 w 2882161"/>
                <a:gd name="connsiteY391" fmla="*/ 1711935 h 1874262"/>
                <a:gd name="connsiteX392" fmla="*/ 2708803 w 2882161"/>
                <a:gd name="connsiteY392" fmla="*/ 1702499 h 1874262"/>
                <a:gd name="connsiteX393" fmla="*/ 2710175 w 2882161"/>
                <a:gd name="connsiteY393" fmla="*/ 1701770 h 1874262"/>
                <a:gd name="connsiteX394" fmla="*/ 2732692 w 2882161"/>
                <a:gd name="connsiteY394" fmla="*/ 1678610 h 1874262"/>
                <a:gd name="connsiteX395" fmla="*/ 2722742 w 2882161"/>
                <a:gd name="connsiteY395" fmla="*/ 1677667 h 1874262"/>
                <a:gd name="connsiteX396" fmla="*/ 2722013 w 2882161"/>
                <a:gd name="connsiteY396" fmla="*/ 1651118 h 1874262"/>
                <a:gd name="connsiteX397" fmla="*/ 2699067 w 2882161"/>
                <a:gd name="connsiteY397" fmla="*/ 1666515 h 1874262"/>
                <a:gd name="connsiteX398" fmla="*/ 2682040 w 2882161"/>
                <a:gd name="connsiteY398" fmla="*/ 1688818 h 1874262"/>
                <a:gd name="connsiteX399" fmla="*/ 2667972 w 2882161"/>
                <a:gd name="connsiteY399" fmla="*/ 1705073 h 1874262"/>
                <a:gd name="connsiteX400" fmla="*/ 2608699 w 2882161"/>
                <a:gd name="connsiteY400" fmla="*/ 1693064 h 1874262"/>
                <a:gd name="connsiteX401" fmla="*/ 2572415 w 2882161"/>
                <a:gd name="connsiteY401" fmla="*/ 1658795 h 1874262"/>
                <a:gd name="connsiteX402" fmla="*/ 2572029 w 2882161"/>
                <a:gd name="connsiteY402" fmla="*/ 1656179 h 1874262"/>
                <a:gd name="connsiteX403" fmla="*/ 2558433 w 2882161"/>
                <a:gd name="connsiteY403" fmla="*/ 1627057 h 1874262"/>
                <a:gd name="connsiteX404" fmla="*/ 2564352 w 2882161"/>
                <a:gd name="connsiteY404" fmla="*/ 1601667 h 1874262"/>
                <a:gd name="connsiteX405" fmla="*/ 2563108 w 2882161"/>
                <a:gd name="connsiteY405" fmla="*/ 1600123 h 1874262"/>
                <a:gd name="connsiteX406" fmla="*/ 2553200 w 2882161"/>
                <a:gd name="connsiteY406" fmla="*/ 1606513 h 1874262"/>
                <a:gd name="connsiteX407" fmla="*/ 2550241 w 2882161"/>
                <a:gd name="connsiteY407" fmla="*/ 1591116 h 1874262"/>
                <a:gd name="connsiteX408" fmla="*/ 2556717 w 2882161"/>
                <a:gd name="connsiteY408" fmla="*/ 1588371 h 1874262"/>
                <a:gd name="connsiteX409" fmla="*/ 2556632 w 2882161"/>
                <a:gd name="connsiteY409" fmla="*/ 1587942 h 1874262"/>
                <a:gd name="connsiteX410" fmla="*/ 2547968 w 2882161"/>
                <a:gd name="connsiteY410" fmla="*/ 1572330 h 1874262"/>
                <a:gd name="connsiteX411" fmla="*/ 2549341 w 2882161"/>
                <a:gd name="connsiteY411" fmla="*/ 1548484 h 1874262"/>
                <a:gd name="connsiteX412" fmla="*/ 2526909 w 2882161"/>
                <a:gd name="connsiteY412" fmla="*/ 1532615 h 1874262"/>
                <a:gd name="connsiteX413" fmla="*/ 2438429 w 2882161"/>
                <a:gd name="connsiteY413" fmla="*/ 1568856 h 1874262"/>
                <a:gd name="connsiteX414" fmla="*/ 2365860 w 2882161"/>
                <a:gd name="connsiteY414" fmla="*/ 1640824 h 1874262"/>
                <a:gd name="connsiteX415" fmla="*/ 2396226 w 2882161"/>
                <a:gd name="connsiteY415" fmla="*/ 1600551 h 1874262"/>
                <a:gd name="connsiteX416" fmla="*/ 2402916 w 2882161"/>
                <a:gd name="connsiteY416" fmla="*/ 1582581 h 1874262"/>
                <a:gd name="connsiteX417" fmla="*/ 2449580 w 2882161"/>
                <a:gd name="connsiteY417" fmla="*/ 1532014 h 1874262"/>
                <a:gd name="connsiteX418" fmla="*/ 2484406 w 2882161"/>
                <a:gd name="connsiteY418" fmla="*/ 1520005 h 1874262"/>
                <a:gd name="connsiteX419" fmla="*/ 2508853 w 2882161"/>
                <a:gd name="connsiteY419" fmla="*/ 1485737 h 1874262"/>
                <a:gd name="connsiteX420" fmla="*/ 2540634 w 2882161"/>
                <a:gd name="connsiteY420" fmla="*/ 1477759 h 1874262"/>
                <a:gd name="connsiteX421" fmla="*/ 2556717 w 2882161"/>
                <a:gd name="connsiteY421" fmla="*/ 1474157 h 1874262"/>
                <a:gd name="connsiteX422" fmla="*/ 2566925 w 2882161"/>
                <a:gd name="connsiteY422" fmla="*/ 1475529 h 1874262"/>
                <a:gd name="connsiteX423" fmla="*/ 2683798 w 2882161"/>
                <a:gd name="connsiteY423" fmla="*/ 1473127 h 1874262"/>
                <a:gd name="connsiteX424" fmla="*/ 2697480 w 2882161"/>
                <a:gd name="connsiteY424" fmla="*/ 1473256 h 1874262"/>
                <a:gd name="connsiteX425" fmla="*/ 2717724 w 2882161"/>
                <a:gd name="connsiteY425" fmla="*/ 1473728 h 1874262"/>
                <a:gd name="connsiteX426" fmla="*/ 2777726 w 2882161"/>
                <a:gd name="connsiteY426" fmla="*/ 1430881 h 1874262"/>
                <a:gd name="connsiteX427" fmla="*/ 2823660 w 2882161"/>
                <a:gd name="connsiteY427" fmla="*/ 1415484 h 1874262"/>
                <a:gd name="connsiteX428" fmla="*/ 2870324 w 2882161"/>
                <a:gd name="connsiteY428" fmla="*/ 1382931 h 1874262"/>
                <a:gd name="connsiteX429" fmla="*/ 2867279 w 2882161"/>
                <a:gd name="connsiteY429" fmla="*/ 1366805 h 1874262"/>
                <a:gd name="connsiteX430" fmla="*/ 795125 w 2882161"/>
                <a:gd name="connsiteY430" fmla="*/ 567520 h 1874262"/>
                <a:gd name="connsiteX431" fmla="*/ 749190 w 2882161"/>
                <a:gd name="connsiteY431" fmla="*/ 595441 h 1874262"/>
                <a:gd name="connsiteX432" fmla="*/ 726802 w 2882161"/>
                <a:gd name="connsiteY432" fmla="*/ 611138 h 1874262"/>
                <a:gd name="connsiteX433" fmla="*/ 716809 w 2882161"/>
                <a:gd name="connsiteY433" fmla="*/ 631553 h 1874262"/>
                <a:gd name="connsiteX434" fmla="*/ 674391 w 2882161"/>
                <a:gd name="connsiteY434" fmla="*/ 653341 h 1874262"/>
                <a:gd name="connsiteX435" fmla="*/ 698538 w 2882161"/>
                <a:gd name="connsiteY435" fmla="*/ 605691 h 1874262"/>
                <a:gd name="connsiteX436" fmla="*/ 659080 w 2882161"/>
                <a:gd name="connsiteY436" fmla="*/ 633612 h 1874262"/>
                <a:gd name="connsiteX437" fmla="*/ 629057 w 2882161"/>
                <a:gd name="connsiteY437" fmla="*/ 645192 h 1874262"/>
                <a:gd name="connsiteX438" fmla="*/ 614303 w 2882161"/>
                <a:gd name="connsiteY438" fmla="*/ 630910 h 1874262"/>
                <a:gd name="connsiteX439" fmla="*/ 633175 w 2882161"/>
                <a:gd name="connsiteY439" fmla="*/ 608479 h 1874262"/>
                <a:gd name="connsiteX440" fmla="*/ 634933 w 2882161"/>
                <a:gd name="connsiteY440" fmla="*/ 583946 h 1874262"/>
                <a:gd name="connsiteX441" fmla="*/ 671475 w 2882161"/>
                <a:gd name="connsiteY441" fmla="*/ 577813 h 1874262"/>
                <a:gd name="connsiteX442" fmla="*/ 629658 w 2882161"/>
                <a:gd name="connsiteY442" fmla="*/ 560786 h 1874262"/>
                <a:gd name="connsiteX443" fmla="*/ 564895 w 2882161"/>
                <a:gd name="connsiteY443" fmla="*/ 573009 h 1874262"/>
                <a:gd name="connsiteX444" fmla="*/ 653247 w 2882161"/>
                <a:gd name="connsiteY444" fmla="*/ 543073 h 1874262"/>
                <a:gd name="connsiteX445" fmla="*/ 735680 w 2882161"/>
                <a:gd name="connsiteY445" fmla="*/ 524673 h 1874262"/>
                <a:gd name="connsiteX446" fmla="*/ 720369 w 2882161"/>
                <a:gd name="connsiteY446" fmla="*/ 559414 h 1874262"/>
                <a:gd name="connsiteX447" fmla="*/ 776897 w 2882161"/>
                <a:gd name="connsiteY447" fmla="*/ 550578 h 1874262"/>
                <a:gd name="connsiteX448" fmla="*/ 795125 w 2882161"/>
                <a:gd name="connsiteY448" fmla="*/ 567520 h 1874262"/>
                <a:gd name="connsiteX449" fmla="*/ 982422 w 2882161"/>
                <a:gd name="connsiteY449" fmla="*/ 842655 h 1874262"/>
                <a:gd name="connsiteX450" fmla="*/ 941206 w 2882161"/>
                <a:gd name="connsiteY450" fmla="*/ 863756 h 1874262"/>
                <a:gd name="connsiteX451" fmla="*/ 912942 w 2882161"/>
                <a:gd name="connsiteY451" fmla="*/ 893050 h 1874262"/>
                <a:gd name="connsiteX452" fmla="*/ 822274 w 2882161"/>
                <a:gd name="connsiteY452" fmla="*/ 882156 h 1874262"/>
                <a:gd name="connsiteX453" fmla="*/ 856414 w 2882161"/>
                <a:gd name="connsiteY453" fmla="*/ 869203 h 1874262"/>
                <a:gd name="connsiteX454" fmla="*/ 882919 w 2882161"/>
                <a:gd name="connsiteY454" fmla="*/ 839223 h 1874262"/>
                <a:gd name="connsiteX455" fmla="*/ 872326 w 2882161"/>
                <a:gd name="connsiteY455" fmla="*/ 803153 h 1874262"/>
                <a:gd name="connsiteX456" fmla="*/ 920619 w 2882161"/>
                <a:gd name="connsiteY456" fmla="*/ 802467 h 1874262"/>
                <a:gd name="connsiteX457" fmla="*/ 971872 w 2882161"/>
                <a:gd name="connsiteY457" fmla="*/ 824298 h 1874262"/>
                <a:gd name="connsiteX458" fmla="*/ 1062583 w 2882161"/>
                <a:gd name="connsiteY458" fmla="*/ 785483 h 1874262"/>
                <a:gd name="connsiteX459" fmla="*/ 982422 w 2882161"/>
                <a:gd name="connsiteY459" fmla="*/ 842655 h 1874262"/>
                <a:gd name="connsiteX460" fmla="*/ 1497866 w 2882161"/>
                <a:gd name="connsiteY460" fmla="*/ 1465279 h 1874262"/>
                <a:gd name="connsiteX461" fmla="*/ 1469731 w 2882161"/>
                <a:gd name="connsiteY461" fmla="*/ 1396742 h 1874262"/>
                <a:gd name="connsiteX462" fmla="*/ 1419379 w 2882161"/>
                <a:gd name="connsiteY462" fmla="*/ 1311091 h 1874262"/>
                <a:gd name="connsiteX463" fmla="*/ 1460853 w 2882161"/>
                <a:gd name="connsiteY463" fmla="*/ 1295694 h 1874262"/>
                <a:gd name="connsiteX464" fmla="*/ 1500825 w 2882161"/>
                <a:gd name="connsiteY464" fmla="*/ 1405319 h 1874262"/>
                <a:gd name="connsiteX465" fmla="*/ 1497866 w 2882161"/>
                <a:gd name="connsiteY465" fmla="*/ 1465279 h 187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Lst>
              <a:rect l="l" t="t" r="r" b="b"/>
              <a:pathLst>
                <a:path w="2882161" h="1874262">
                  <a:moveTo>
                    <a:pt x="2867279" y="1366805"/>
                  </a:moveTo>
                  <a:cubicBezTo>
                    <a:pt x="2856900" y="1364231"/>
                    <a:pt x="2847292" y="1356511"/>
                    <a:pt x="2857672" y="1355654"/>
                  </a:cubicBezTo>
                  <a:cubicBezTo>
                    <a:pt x="2865821" y="1355010"/>
                    <a:pt x="2870753" y="1350550"/>
                    <a:pt x="2874613" y="1341243"/>
                  </a:cubicBezTo>
                  <a:cubicBezTo>
                    <a:pt x="2868308" y="1337983"/>
                    <a:pt x="2863033" y="1331979"/>
                    <a:pt x="2859387" y="1326232"/>
                  </a:cubicBezTo>
                  <a:cubicBezTo>
                    <a:pt x="2855913" y="1320699"/>
                    <a:pt x="2854541" y="1314222"/>
                    <a:pt x="2854541" y="1307703"/>
                  </a:cubicBezTo>
                  <a:cubicBezTo>
                    <a:pt x="2851538" y="1303715"/>
                    <a:pt x="2848751" y="1299554"/>
                    <a:pt x="2846049" y="1295351"/>
                  </a:cubicBezTo>
                  <a:cubicBezTo>
                    <a:pt x="2839229" y="1298311"/>
                    <a:pt x="2833053" y="1308733"/>
                    <a:pt x="2824304" y="1307660"/>
                  </a:cubicBezTo>
                  <a:cubicBezTo>
                    <a:pt x="2810236" y="1305945"/>
                    <a:pt x="2833911" y="1285401"/>
                    <a:pt x="2822073" y="1276823"/>
                  </a:cubicBezTo>
                  <a:cubicBezTo>
                    <a:pt x="2810236" y="1268288"/>
                    <a:pt x="2788019" y="1274250"/>
                    <a:pt x="2770220" y="1291405"/>
                  </a:cubicBezTo>
                  <a:cubicBezTo>
                    <a:pt x="2752464" y="1308518"/>
                    <a:pt x="2753922" y="1290548"/>
                    <a:pt x="2738353" y="1307660"/>
                  </a:cubicBezTo>
                  <a:cubicBezTo>
                    <a:pt x="2722785" y="1324773"/>
                    <a:pt x="2722785" y="1299083"/>
                    <a:pt x="2730205" y="1292263"/>
                  </a:cubicBezTo>
                  <a:cubicBezTo>
                    <a:pt x="2737624" y="1285401"/>
                    <a:pt x="2742814" y="1293121"/>
                    <a:pt x="2749462" y="1282827"/>
                  </a:cubicBezTo>
                  <a:cubicBezTo>
                    <a:pt x="2756153" y="1272534"/>
                    <a:pt x="2762800" y="1282827"/>
                    <a:pt x="2779828" y="1269961"/>
                  </a:cubicBezTo>
                  <a:cubicBezTo>
                    <a:pt x="2793123" y="1259968"/>
                    <a:pt x="2805004" y="1261340"/>
                    <a:pt x="2812080" y="1257995"/>
                  </a:cubicBezTo>
                  <a:cubicBezTo>
                    <a:pt x="2809893" y="1255121"/>
                    <a:pt x="2808092" y="1251904"/>
                    <a:pt x="2806548" y="1248473"/>
                  </a:cubicBezTo>
                  <a:cubicBezTo>
                    <a:pt x="2806376" y="1248044"/>
                    <a:pt x="2806161" y="1247615"/>
                    <a:pt x="2805947" y="1247186"/>
                  </a:cubicBezTo>
                  <a:cubicBezTo>
                    <a:pt x="2802173" y="1244527"/>
                    <a:pt x="2798999" y="1241096"/>
                    <a:pt x="2796211" y="1237193"/>
                  </a:cubicBezTo>
                  <a:cubicBezTo>
                    <a:pt x="2794067" y="1237622"/>
                    <a:pt x="2791880" y="1237880"/>
                    <a:pt x="2789735" y="1237880"/>
                  </a:cubicBezTo>
                  <a:lnTo>
                    <a:pt x="2787934" y="1237880"/>
                  </a:lnTo>
                  <a:cubicBezTo>
                    <a:pt x="2782530" y="1237880"/>
                    <a:pt x="2777511" y="1236507"/>
                    <a:pt x="2772880" y="1234277"/>
                  </a:cubicBezTo>
                  <a:cubicBezTo>
                    <a:pt x="2767261" y="1237708"/>
                    <a:pt x="2760742" y="1239466"/>
                    <a:pt x="2754266" y="1239767"/>
                  </a:cubicBezTo>
                  <a:cubicBezTo>
                    <a:pt x="2745173" y="1240195"/>
                    <a:pt x="2734837" y="1235306"/>
                    <a:pt x="2728489" y="1228787"/>
                  </a:cubicBezTo>
                  <a:cubicBezTo>
                    <a:pt x="2726430" y="1226685"/>
                    <a:pt x="2724457" y="1223941"/>
                    <a:pt x="2722785" y="1220938"/>
                  </a:cubicBezTo>
                  <a:cubicBezTo>
                    <a:pt x="2722356" y="1220938"/>
                    <a:pt x="2721927" y="1221024"/>
                    <a:pt x="2721455" y="1221024"/>
                  </a:cubicBezTo>
                  <a:cubicBezTo>
                    <a:pt x="2707430" y="1221024"/>
                    <a:pt x="2697652" y="1214333"/>
                    <a:pt x="2692033" y="1204940"/>
                  </a:cubicBezTo>
                  <a:cubicBezTo>
                    <a:pt x="2683755" y="1200609"/>
                    <a:pt x="2678223" y="1193060"/>
                    <a:pt x="2675521" y="1184439"/>
                  </a:cubicBezTo>
                  <a:cubicBezTo>
                    <a:pt x="2675521" y="1184439"/>
                    <a:pt x="2675521" y="1184397"/>
                    <a:pt x="2675521" y="1184397"/>
                  </a:cubicBezTo>
                  <a:cubicBezTo>
                    <a:pt x="2674834" y="1182295"/>
                    <a:pt x="2674363" y="1180108"/>
                    <a:pt x="2674020" y="1177877"/>
                  </a:cubicBezTo>
                  <a:cubicBezTo>
                    <a:pt x="2674020" y="1177835"/>
                    <a:pt x="2674020" y="1177749"/>
                    <a:pt x="2674020" y="1177706"/>
                  </a:cubicBezTo>
                  <a:cubicBezTo>
                    <a:pt x="2673720" y="1175518"/>
                    <a:pt x="2673548" y="1173288"/>
                    <a:pt x="2673548" y="1171058"/>
                  </a:cubicBezTo>
                  <a:cubicBezTo>
                    <a:pt x="2673548" y="1170972"/>
                    <a:pt x="2673548" y="1170886"/>
                    <a:pt x="2673548" y="1170844"/>
                  </a:cubicBezTo>
                  <a:cubicBezTo>
                    <a:pt x="2673591" y="1168613"/>
                    <a:pt x="2673762" y="1166426"/>
                    <a:pt x="2674105" y="1164239"/>
                  </a:cubicBezTo>
                  <a:cubicBezTo>
                    <a:pt x="2674105" y="1164196"/>
                    <a:pt x="2674148" y="1164110"/>
                    <a:pt x="2674148" y="1164067"/>
                  </a:cubicBezTo>
                  <a:cubicBezTo>
                    <a:pt x="2674534" y="1161880"/>
                    <a:pt x="2675049" y="1159692"/>
                    <a:pt x="2675735" y="1157591"/>
                  </a:cubicBezTo>
                  <a:cubicBezTo>
                    <a:pt x="2668315" y="1152315"/>
                    <a:pt x="2660853" y="1148069"/>
                    <a:pt x="2654677" y="1145882"/>
                  </a:cubicBezTo>
                  <a:cubicBezTo>
                    <a:pt x="2635419" y="1139020"/>
                    <a:pt x="2648029" y="1127054"/>
                    <a:pt x="2658408" y="1135589"/>
                  </a:cubicBezTo>
                  <a:cubicBezTo>
                    <a:pt x="2668787" y="1144166"/>
                    <a:pt x="2680625" y="1127054"/>
                    <a:pt x="2685042" y="1118476"/>
                  </a:cubicBezTo>
                  <a:cubicBezTo>
                    <a:pt x="2689503" y="1109898"/>
                    <a:pt x="2677622" y="1102221"/>
                    <a:pt x="2671704" y="1101363"/>
                  </a:cubicBezTo>
                  <a:cubicBezTo>
                    <a:pt x="2667886" y="1100805"/>
                    <a:pt x="2666557" y="1095959"/>
                    <a:pt x="2666471" y="1090297"/>
                  </a:cubicBezTo>
                  <a:cubicBezTo>
                    <a:pt x="2660381" y="1088024"/>
                    <a:pt x="2655620" y="1084121"/>
                    <a:pt x="2652060" y="1079361"/>
                  </a:cubicBezTo>
                  <a:cubicBezTo>
                    <a:pt x="2647728" y="1077474"/>
                    <a:pt x="2643697" y="1074686"/>
                    <a:pt x="2640137" y="1071340"/>
                  </a:cubicBezTo>
                  <a:cubicBezTo>
                    <a:pt x="2637564" y="1068896"/>
                    <a:pt x="2635676" y="1065936"/>
                    <a:pt x="2634047" y="1062805"/>
                  </a:cubicBezTo>
                  <a:cubicBezTo>
                    <a:pt x="2633661" y="1062591"/>
                    <a:pt x="2633275" y="1062419"/>
                    <a:pt x="2632932" y="1062205"/>
                  </a:cubicBezTo>
                  <a:cubicBezTo>
                    <a:pt x="2628686" y="1059846"/>
                    <a:pt x="2625297" y="1056629"/>
                    <a:pt x="2622724" y="1052555"/>
                  </a:cubicBezTo>
                  <a:cubicBezTo>
                    <a:pt x="2619936" y="1049424"/>
                    <a:pt x="2618092" y="1045693"/>
                    <a:pt x="2616848" y="1041618"/>
                  </a:cubicBezTo>
                  <a:cubicBezTo>
                    <a:pt x="2615433" y="1039002"/>
                    <a:pt x="2614275" y="1036214"/>
                    <a:pt x="2613460" y="1033212"/>
                  </a:cubicBezTo>
                  <a:cubicBezTo>
                    <a:pt x="2613074" y="1030209"/>
                    <a:pt x="2612688" y="1027207"/>
                    <a:pt x="2612302" y="1024248"/>
                  </a:cubicBezTo>
                  <a:cubicBezTo>
                    <a:pt x="2609428" y="1018715"/>
                    <a:pt x="2607627" y="1012496"/>
                    <a:pt x="2607627" y="1006363"/>
                  </a:cubicBezTo>
                  <a:lnTo>
                    <a:pt x="2607627" y="1005848"/>
                  </a:lnTo>
                  <a:cubicBezTo>
                    <a:pt x="2606855" y="1004819"/>
                    <a:pt x="2606040" y="1003875"/>
                    <a:pt x="2605311" y="1002803"/>
                  </a:cubicBezTo>
                  <a:cubicBezTo>
                    <a:pt x="2602695" y="998814"/>
                    <a:pt x="2601194" y="993968"/>
                    <a:pt x="2600336" y="988993"/>
                  </a:cubicBezTo>
                  <a:cubicBezTo>
                    <a:pt x="2582408" y="979085"/>
                    <a:pt x="2577991" y="953909"/>
                    <a:pt x="2586997" y="936411"/>
                  </a:cubicBezTo>
                  <a:cubicBezTo>
                    <a:pt x="2584510" y="932465"/>
                    <a:pt x="2582108" y="928219"/>
                    <a:pt x="2580564" y="923244"/>
                  </a:cubicBezTo>
                  <a:cubicBezTo>
                    <a:pt x="2576103" y="908661"/>
                    <a:pt x="2570185" y="915566"/>
                    <a:pt x="2565767" y="936110"/>
                  </a:cubicBezTo>
                  <a:cubicBezTo>
                    <a:pt x="2561307" y="956654"/>
                    <a:pt x="2545781" y="955839"/>
                    <a:pt x="2550198" y="962659"/>
                  </a:cubicBezTo>
                  <a:cubicBezTo>
                    <a:pt x="2559334" y="976726"/>
                    <a:pt x="2552428" y="977198"/>
                    <a:pt x="2545781" y="985776"/>
                  </a:cubicBezTo>
                  <a:cubicBezTo>
                    <a:pt x="2539133" y="994354"/>
                    <a:pt x="2550198" y="1007178"/>
                    <a:pt x="2539133" y="1007178"/>
                  </a:cubicBezTo>
                  <a:cubicBezTo>
                    <a:pt x="2528024" y="1007178"/>
                    <a:pt x="2533214" y="1033726"/>
                    <a:pt x="2527252" y="1021717"/>
                  </a:cubicBezTo>
                  <a:cubicBezTo>
                    <a:pt x="2521334" y="1009708"/>
                    <a:pt x="2507266" y="1013140"/>
                    <a:pt x="2507266" y="1025149"/>
                  </a:cubicBezTo>
                  <a:cubicBezTo>
                    <a:pt x="2507266" y="1037115"/>
                    <a:pt x="2483548" y="1048266"/>
                    <a:pt x="2473941" y="1047451"/>
                  </a:cubicBezTo>
                  <a:cubicBezTo>
                    <a:pt x="2464291" y="1046593"/>
                    <a:pt x="2464291" y="1023476"/>
                    <a:pt x="2456142" y="1030295"/>
                  </a:cubicBezTo>
                  <a:cubicBezTo>
                    <a:pt x="2447993" y="1037157"/>
                    <a:pt x="2449494" y="1010609"/>
                    <a:pt x="2436885" y="1011467"/>
                  </a:cubicBezTo>
                  <a:cubicBezTo>
                    <a:pt x="2424275" y="1012325"/>
                    <a:pt x="2415397" y="1010609"/>
                    <a:pt x="2419085" y="997742"/>
                  </a:cubicBezTo>
                  <a:cubicBezTo>
                    <a:pt x="2422345" y="986462"/>
                    <a:pt x="2403431" y="980458"/>
                    <a:pt x="2404289" y="973939"/>
                  </a:cubicBezTo>
                  <a:cubicBezTo>
                    <a:pt x="2401758" y="971408"/>
                    <a:pt x="2399528" y="968535"/>
                    <a:pt x="2397641" y="965575"/>
                  </a:cubicBezTo>
                  <a:cubicBezTo>
                    <a:pt x="2392666" y="957598"/>
                    <a:pt x="2391551" y="945632"/>
                    <a:pt x="2393952" y="936668"/>
                  </a:cubicBezTo>
                  <a:cubicBezTo>
                    <a:pt x="2395025" y="932636"/>
                    <a:pt x="2396998" y="928691"/>
                    <a:pt x="2399485" y="925088"/>
                  </a:cubicBezTo>
                  <a:cubicBezTo>
                    <a:pt x="2399657" y="923930"/>
                    <a:pt x="2399743" y="922772"/>
                    <a:pt x="2400000" y="921657"/>
                  </a:cubicBezTo>
                  <a:cubicBezTo>
                    <a:pt x="2400729" y="918826"/>
                    <a:pt x="2401887" y="916210"/>
                    <a:pt x="2403217" y="913722"/>
                  </a:cubicBezTo>
                  <a:cubicBezTo>
                    <a:pt x="2403345" y="913465"/>
                    <a:pt x="2403517" y="913207"/>
                    <a:pt x="2403645" y="912950"/>
                  </a:cubicBezTo>
                  <a:cubicBezTo>
                    <a:pt x="2406776" y="903858"/>
                    <a:pt x="2413124" y="901113"/>
                    <a:pt x="2413124" y="894979"/>
                  </a:cubicBezTo>
                  <a:cubicBezTo>
                    <a:pt x="2413124" y="893693"/>
                    <a:pt x="2412867" y="892621"/>
                    <a:pt x="2412481" y="891720"/>
                  </a:cubicBezTo>
                  <a:cubicBezTo>
                    <a:pt x="2410722" y="891720"/>
                    <a:pt x="2408964" y="891763"/>
                    <a:pt x="2407205" y="891591"/>
                  </a:cubicBezTo>
                  <a:cubicBezTo>
                    <a:pt x="2404718" y="891377"/>
                    <a:pt x="2402359" y="890905"/>
                    <a:pt x="2400086" y="890305"/>
                  </a:cubicBezTo>
                  <a:cubicBezTo>
                    <a:pt x="2398542" y="891077"/>
                    <a:pt x="2396955" y="892020"/>
                    <a:pt x="2395325" y="893264"/>
                  </a:cubicBezTo>
                  <a:cubicBezTo>
                    <a:pt x="2392752" y="895280"/>
                    <a:pt x="2390907" y="895280"/>
                    <a:pt x="2389363" y="894293"/>
                  </a:cubicBezTo>
                  <a:cubicBezTo>
                    <a:pt x="2387648" y="895108"/>
                    <a:pt x="2385889" y="895880"/>
                    <a:pt x="2384088" y="896524"/>
                  </a:cubicBezTo>
                  <a:cubicBezTo>
                    <a:pt x="2375339" y="899440"/>
                    <a:pt x="2363844" y="897424"/>
                    <a:pt x="2356038" y="892749"/>
                  </a:cubicBezTo>
                  <a:cubicBezTo>
                    <a:pt x="2355824" y="892621"/>
                    <a:pt x="2355609" y="892449"/>
                    <a:pt x="2355438" y="892277"/>
                  </a:cubicBezTo>
                  <a:cubicBezTo>
                    <a:pt x="2353379" y="892621"/>
                    <a:pt x="2351235" y="892835"/>
                    <a:pt x="2348962" y="892835"/>
                  </a:cubicBezTo>
                  <a:cubicBezTo>
                    <a:pt x="2335323" y="892835"/>
                    <a:pt x="2325716" y="886487"/>
                    <a:pt x="2319968" y="877523"/>
                  </a:cubicBezTo>
                  <a:cubicBezTo>
                    <a:pt x="2301912" y="875980"/>
                    <a:pt x="2291533" y="862812"/>
                    <a:pt x="2288959" y="847844"/>
                  </a:cubicBezTo>
                  <a:cubicBezTo>
                    <a:pt x="2286043" y="846171"/>
                    <a:pt x="2283212" y="844199"/>
                    <a:pt x="2280682" y="841797"/>
                  </a:cubicBezTo>
                  <a:cubicBezTo>
                    <a:pt x="2280596" y="841711"/>
                    <a:pt x="2280553" y="841582"/>
                    <a:pt x="2280425" y="841496"/>
                  </a:cubicBezTo>
                  <a:cubicBezTo>
                    <a:pt x="2259409" y="841239"/>
                    <a:pt x="2248000" y="825885"/>
                    <a:pt x="2246070" y="809115"/>
                  </a:cubicBezTo>
                  <a:cubicBezTo>
                    <a:pt x="2241095" y="811774"/>
                    <a:pt x="2236720" y="814648"/>
                    <a:pt x="2233847" y="816106"/>
                  </a:cubicBezTo>
                  <a:cubicBezTo>
                    <a:pt x="2227199" y="819537"/>
                    <a:pt x="2210172" y="804097"/>
                    <a:pt x="2203481" y="810144"/>
                  </a:cubicBezTo>
                  <a:cubicBezTo>
                    <a:pt x="2196790" y="816106"/>
                    <a:pt x="2195332" y="805855"/>
                    <a:pt x="2176804" y="799851"/>
                  </a:cubicBezTo>
                  <a:cubicBezTo>
                    <a:pt x="2158276" y="793847"/>
                    <a:pt x="2133829" y="792131"/>
                    <a:pt x="2132371" y="799851"/>
                  </a:cubicBezTo>
                  <a:cubicBezTo>
                    <a:pt x="2130870" y="807571"/>
                    <a:pt x="2116073" y="810144"/>
                    <a:pt x="2118303" y="828115"/>
                  </a:cubicBezTo>
                  <a:cubicBezTo>
                    <a:pt x="2120533" y="846129"/>
                    <a:pt x="2136102" y="842655"/>
                    <a:pt x="2139790" y="854664"/>
                  </a:cubicBezTo>
                  <a:cubicBezTo>
                    <a:pt x="2143479" y="866630"/>
                    <a:pt x="2132371" y="862384"/>
                    <a:pt x="2131642" y="873492"/>
                  </a:cubicBezTo>
                  <a:cubicBezTo>
                    <a:pt x="2130912" y="884643"/>
                    <a:pt x="2121262" y="883785"/>
                    <a:pt x="2121262" y="891463"/>
                  </a:cubicBezTo>
                  <a:cubicBezTo>
                    <a:pt x="2121262" y="899183"/>
                    <a:pt x="2127953" y="897467"/>
                    <a:pt x="2131642" y="912864"/>
                  </a:cubicBezTo>
                  <a:cubicBezTo>
                    <a:pt x="2135330" y="928262"/>
                    <a:pt x="2142750" y="927447"/>
                    <a:pt x="2144980" y="947948"/>
                  </a:cubicBezTo>
                  <a:cubicBezTo>
                    <a:pt x="2147210" y="968535"/>
                    <a:pt x="2139061" y="964246"/>
                    <a:pt x="2131642" y="966819"/>
                  </a:cubicBezTo>
                  <a:cubicBezTo>
                    <a:pt x="2124822" y="969178"/>
                    <a:pt x="2131170" y="978099"/>
                    <a:pt x="2124093" y="990194"/>
                  </a:cubicBezTo>
                  <a:cubicBezTo>
                    <a:pt x="2144680" y="1000830"/>
                    <a:pt x="2158533" y="1022790"/>
                    <a:pt x="2150599" y="1046550"/>
                  </a:cubicBezTo>
                  <a:cubicBezTo>
                    <a:pt x="2154587" y="1053670"/>
                    <a:pt x="2156775" y="1061433"/>
                    <a:pt x="2156603" y="1069067"/>
                  </a:cubicBezTo>
                  <a:cubicBezTo>
                    <a:pt x="2158319" y="1071426"/>
                    <a:pt x="2159905" y="1073871"/>
                    <a:pt x="2161235" y="1076444"/>
                  </a:cubicBezTo>
                  <a:cubicBezTo>
                    <a:pt x="2173072" y="1099562"/>
                    <a:pt x="2172343" y="1135546"/>
                    <a:pt x="2168655" y="1161236"/>
                  </a:cubicBezTo>
                  <a:cubicBezTo>
                    <a:pt x="2164924" y="1186927"/>
                    <a:pt x="2139748" y="1192932"/>
                    <a:pt x="2121262" y="1215191"/>
                  </a:cubicBezTo>
                  <a:cubicBezTo>
                    <a:pt x="2102734" y="1237494"/>
                    <a:pt x="2083477" y="1234062"/>
                    <a:pt x="2074599" y="1234920"/>
                  </a:cubicBezTo>
                  <a:cubicBezTo>
                    <a:pt x="2065721" y="1235778"/>
                    <a:pt x="2070867" y="1256322"/>
                    <a:pt x="2083477" y="1272577"/>
                  </a:cubicBezTo>
                  <a:cubicBezTo>
                    <a:pt x="2096086" y="1288875"/>
                    <a:pt x="2085707" y="1294022"/>
                    <a:pt x="2092355" y="1311134"/>
                  </a:cubicBezTo>
                  <a:cubicBezTo>
                    <a:pt x="2099003" y="1328247"/>
                    <a:pt x="2092355" y="1341972"/>
                    <a:pt x="2101962" y="1357369"/>
                  </a:cubicBezTo>
                  <a:cubicBezTo>
                    <a:pt x="2111612" y="1372809"/>
                    <a:pt x="2105651" y="1378771"/>
                    <a:pt x="2094542" y="1389922"/>
                  </a:cubicBezTo>
                  <a:cubicBezTo>
                    <a:pt x="2083434" y="1401031"/>
                    <a:pt x="2099003" y="1395069"/>
                    <a:pt x="2099732" y="1409608"/>
                  </a:cubicBezTo>
                  <a:cubicBezTo>
                    <a:pt x="2100504" y="1424148"/>
                    <a:pt x="2094542" y="1415613"/>
                    <a:pt x="2084935" y="1407893"/>
                  </a:cubicBezTo>
                  <a:cubicBezTo>
                    <a:pt x="2075328" y="1400173"/>
                    <a:pt x="2066450" y="1422432"/>
                    <a:pt x="2066450" y="1431868"/>
                  </a:cubicBezTo>
                  <a:cubicBezTo>
                    <a:pt x="2066450" y="1441303"/>
                    <a:pt x="2043504" y="1419044"/>
                    <a:pt x="2038314" y="1419902"/>
                  </a:cubicBezTo>
                  <a:cubicBezTo>
                    <a:pt x="2033125" y="1420759"/>
                    <a:pt x="2039772" y="1405319"/>
                    <a:pt x="2026434" y="1393353"/>
                  </a:cubicBezTo>
                  <a:cubicBezTo>
                    <a:pt x="2013095" y="1381344"/>
                    <a:pt x="2002716" y="1378771"/>
                    <a:pt x="2002716" y="1366805"/>
                  </a:cubicBezTo>
                  <a:cubicBezTo>
                    <a:pt x="2002716" y="1354839"/>
                    <a:pt x="1979770" y="1346261"/>
                    <a:pt x="1979770" y="1332536"/>
                  </a:cubicBezTo>
                  <a:cubicBezTo>
                    <a:pt x="1979770" y="1318812"/>
                    <a:pt x="1982730" y="1283685"/>
                    <a:pt x="1977540" y="1273435"/>
                  </a:cubicBezTo>
                  <a:cubicBezTo>
                    <a:pt x="1972351" y="1263184"/>
                    <a:pt x="1976811" y="1252033"/>
                    <a:pt x="1981229" y="1242640"/>
                  </a:cubicBezTo>
                  <a:cubicBezTo>
                    <a:pt x="1985689" y="1233205"/>
                    <a:pt x="1976039" y="1218622"/>
                    <a:pt x="1962700" y="1218622"/>
                  </a:cubicBezTo>
                  <a:cubicBezTo>
                    <a:pt x="1949362" y="1218622"/>
                    <a:pt x="1930877" y="1213476"/>
                    <a:pt x="1912348" y="1215191"/>
                  </a:cubicBezTo>
                  <a:cubicBezTo>
                    <a:pt x="1900125" y="1216349"/>
                    <a:pt x="1891504" y="1215191"/>
                    <a:pt x="1885285" y="1212575"/>
                  </a:cubicBezTo>
                  <a:cubicBezTo>
                    <a:pt x="1881854" y="1212317"/>
                    <a:pt x="1878337" y="1211760"/>
                    <a:pt x="1874691" y="1210602"/>
                  </a:cubicBezTo>
                  <a:cubicBezTo>
                    <a:pt x="1863626" y="1207128"/>
                    <a:pt x="1855906" y="1200008"/>
                    <a:pt x="1848872" y="1191988"/>
                  </a:cubicBezTo>
                  <a:cubicBezTo>
                    <a:pt x="1848443" y="1191988"/>
                    <a:pt x="1848057" y="1192031"/>
                    <a:pt x="1847628" y="1191988"/>
                  </a:cubicBezTo>
                  <a:cubicBezTo>
                    <a:pt x="1832145" y="1195805"/>
                    <a:pt x="1817306" y="1190015"/>
                    <a:pt x="1808857" y="1178392"/>
                  </a:cubicBezTo>
                  <a:cubicBezTo>
                    <a:pt x="1782651" y="1176591"/>
                    <a:pt x="1759577" y="1164710"/>
                    <a:pt x="1752114" y="1132801"/>
                  </a:cubicBezTo>
                  <a:cubicBezTo>
                    <a:pt x="1751514" y="1130270"/>
                    <a:pt x="1751042" y="1127182"/>
                    <a:pt x="1750656" y="1124008"/>
                  </a:cubicBezTo>
                  <a:cubicBezTo>
                    <a:pt x="1742850" y="1121821"/>
                    <a:pt x="1734186" y="1120963"/>
                    <a:pt x="1729383" y="1121907"/>
                  </a:cubicBezTo>
                  <a:cubicBezTo>
                    <a:pt x="1720505" y="1123622"/>
                    <a:pt x="1698288" y="1100462"/>
                    <a:pt x="1684949" y="1101320"/>
                  </a:cubicBezTo>
                  <a:cubicBezTo>
                    <a:pt x="1671611" y="1102178"/>
                    <a:pt x="1640516" y="1117618"/>
                    <a:pt x="1635326" y="1118433"/>
                  </a:cubicBezTo>
                  <a:cubicBezTo>
                    <a:pt x="1630137" y="1119291"/>
                    <a:pt x="1636056" y="1105609"/>
                    <a:pt x="1639744" y="1099604"/>
                  </a:cubicBezTo>
                  <a:cubicBezTo>
                    <a:pt x="1643432" y="1093600"/>
                    <a:pt x="1628636" y="1067909"/>
                    <a:pt x="1624947" y="1050753"/>
                  </a:cubicBezTo>
                  <a:cubicBezTo>
                    <a:pt x="1621216" y="1033641"/>
                    <a:pt x="1616069" y="1014769"/>
                    <a:pt x="1600500" y="1017343"/>
                  </a:cubicBezTo>
                  <a:cubicBezTo>
                    <a:pt x="1584931" y="1019916"/>
                    <a:pt x="1567904" y="1010480"/>
                    <a:pt x="1563444" y="1007092"/>
                  </a:cubicBezTo>
                  <a:cubicBezTo>
                    <a:pt x="1558983" y="1003661"/>
                    <a:pt x="1558254" y="954810"/>
                    <a:pt x="1561986" y="934266"/>
                  </a:cubicBezTo>
                  <a:cubicBezTo>
                    <a:pt x="1563401" y="926374"/>
                    <a:pt x="1567132" y="916982"/>
                    <a:pt x="1571164" y="907632"/>
                  </a:cubicBezTo>
                  <a:cubicBezTo>
                    <a:pt x="1570735" y="906045"/>
                    <a:pt x="1570306" y="904458"/>
                    <a:pt x="1570049" y="902742"/>
                  </a:cubicBezTo>
                  <a:cubicBezTo>
                    <a:pt x="1568977" y="895365"/>
                    <a:pt x="1570521" y="887388"/>
                    <a:pt x="1573952" y="880354"/>
                  </a:cubicBezTo>
                  <a:cubicBezTo>
                    <a:pt x="1570606" y="862298"/>
                    <a:pt x="1578326" y="842226"/>
                    <a:pt x="1597241" y="837508"/>
                  </a:cubicBezTo>
                  <a:cubicBezTo>
                    <a:pt x="1600886" y="827472"/>
                    <a:pt x="1608478" y="819237"/>
                    <a:pt x="1620401" y="816578"/>
                  </a:cubicBezTo>
                  <a:cubicBezTo>
                    <a:pt x="1623703" y="815849"/>
                    <a:pt x="1626877" y="815248"/>
                    <a:pt x="1630051" y="814819"/>
                  </a:cubicBezTo>
                  <a:cubicBezTo>
                    <a:pt x="1633696" y="812032"/>
                    <a:pt x="1634597" y="807528"/>
                    <a:pt x="1636098" y="800666"/>
                  </a:cubicBezTo>
                  <a:cubicBezTo>
                    <a:pt x="1638329" y="790373"/>
                    <a:pt x="1651667" y="797235"/>
                    <a:pt x="1644247" y="788657"/>
                  </a:cubicBezTo>
                  <a:cubicBezTo>
                    <a:pt x="1636828" y="780079"/>
                    <a:pt x="1642746" y="777506"/>
                    <a:pt x="1659773" y="777506"/>
                  </a:cubicBezTo>
                  <a:cubicBezTo>
                    <a:pt x="1676800" y="777506"/>
                    <a:pt x="1701976" y="770643"/>
                    <a:pt x="1698288" y="750957"/>
                  </a:cubicBezTo>
                  <a:cubicBezTo>
                    <a:pt x="1694556" y="731271"/>
                    <a:pt x="1650166" y="745810"/>
                    <a:pt x="1650166" y="729513"/>
                  </a:cubicBezTo>
                  <a:cubicBezTo>
                    <a:pt x="1650166" y="713215"/>
                    <a:pt x="1593895" y="712400"/>
                    <a:pt x="1597584" y="702964"/>
                  </a:cubicBezTo>
                  <a:cubicBezTo>
                    <a:pt x="1601315" y="693528"/>
                    <a:pt x="1653897" y="709826"/>
                    <a:pt x="1673155" y="718361"/>
                  </a:cubicBezTo>
                  <a:cubicBezTo>
                    <a:pt x="1692412" y="726939"/>
                    <a:pt x="1697602" y="726081"/>
                    <a:pt x="1713170" y="725224"/>
                  </a:cubicBezTo>
                  <a:cubicBezTo>
                    <a:pt x="1728739" y="724366"/>
                    <a:pt x="1718360" y="701206"/>
                    <a:pt x="1721319" y="691813"/>
                  </a:cubicBezTo>
                  <a:cubicBezTo>
                    <a:pt x="1724279" y="682420"/>
                    <a:pt x="1753915" y="706395"/>
                    <a:pt x="1770942" y="701249"/>
                  </a:cubicBezTo>
                  <a:cubicBezTo>
                    <a:pt x="1787969" y="696102"/>
                    <a:pt x="1804267" y="655829"/>
                    <a:pt x="1818335" y="644720"/>
                  </a:cubicBezTo>
                  <a:cubicBezTo>
                    <a:pt x="1832403" y="633569"/>
                    <a:pt x="1819793" y="623319"/>
                    <a:pt x="1792430" y="625849"/>
                  </a:cubicBezTo>
                  <a:cubicBezTo>
                    <a:pt x="1765024" y="628422"/>
                    <a:pt x="1749455" y="616414"/>
                    <a:pt x="1734658" y="603547"/>
                  </a:cubicBezTo>
                  <a:cubicBezTo>
                    <a:pt x="1719818" y="590723"/>
                    <a:pt x="1721319" y="580429"/>
                    <a:pt x="1736888" y="582145"/>
                  </a:cubicBezTo>
                  <a:cubicBezTo>
                    <a:pt x="1752457" y="583860"/>
                    <a:pt x="1789470" y="618987"/>
                    <a:pt x="1803538" y="619845"/>
                  </a:cubicBezTo>
                  <a:cubicBezTo>
                    <a:pt x="1817606" y="620702"/>
                    <a:pt x="1842053" y="588149"/>
                    <a:pt x="1853890" y="577899"/>
                  </a:cubicBezTo>
                  <a:cubicBezTo>
                    <a:pt x="1865728" y="567605"/>
                    <a:pt x="1842782" y="563317"/>
                    <a:pt x="1834633" y="555639"/>
                  </a:cubicBezTo>
                  <a:cubicBezTo>
                    <a:pt x="1826484" y="547919"/>
                    <a:pt x="1848701" y="542773"/>
                    <a:pt x="1860581" y="542773"/>
                  </a:cubicBezTo>
                  <a:cubicBezTo>
                    <a:pt x="1872418" y="542773"/>
                    <a:pt x="1877608" y="554739"/>
                    <a:pt x="1882026" y="560743"/>
                  </a:cubicBezTo>
                  <a:cubicBezTo>
                    <a:pt x="1886486" y="566748"/>
                    <a:pt x="1907202" y="556497"/>
                    <a:pt x="1917581" y="556497"/>
                  </a:cubicBezTo>
                  <a:cubicBezTo>
                    <a:pt x="1927960" y="556497"/>
                    <a:pt x="1916080" y="536768"/>
                    <a:pt x="1899053" y="529048"/>
                  </a:cubicBezTo>
                  <a:cubicBezTo>
                    <a:pt x="1882026" y="521371"/>
                    <a:pt x="1899782" y="506788"/>
                    <a:pt x="1904971" y="518797"/>
                  </a:cubicBezTo>
                  <a:cubicBezTo>
                    <a:pt x="1910161" y="530806"/>
                    <a:pt x="1921999" y="528190"/>
                    <a:pt x="1927917" y="541915"/>
                  </a:cubicBezTo>
                  <a:cubicBezTo>
                    <a:pt x="1936195" y="561129"/>
                    <a:pt x="1941599" y="549721"/>
                    <a:pt x="1955109" y="543502"/>
                  </a:cubicBezTo>
                  <a:cubicBezTo>
                    <a:pt x="1961028" y="528791"/>
                    <a:pt x="1970463" y="516353"/>
                    <a:pt x="1984488" y="508375"/>
                  </a:cubicBezTo>
                  <a:cubicBezTo>
                    <a:pt x="1990836" y="504772"/>
                    <a:pt x="1997913" y="502328"/>
                    <a:pt x="2004775" y="500012"/>
                  </a:cubicBezTo>
                  <a:cubicBezTo>
                    <a:pt x="2005633" y="499712"/>
                    <a:pt x="2006748" y="499197"/>
                    <a:pt x="2007863" y="498725"/>
                  </a:cubicBezTo>
                  <a:cubicBezTo>
                    <a:pt x="2014339" y="483542"/>
                    <a:pt x="2001258" y="469303"/>
                    <a:pt x="1990107" y="459653"/>
                  </a:cubicBezTo>
                  <a:cubicBezTo>
                    <a:pt x="1978269" y="449403"/>
                    <a:pt x="1990836" y="439109"/>
                    <a:pt x="1978998" y="432247"/>
                  </a:cubicBezTo>
                  <a:cubicBezTo>
                    <a:pt x="1967161" y="425384"/>
                    <a:pt x="1964931" y="412518"/>
                    <a:pt x="1979727" y="415949"/>
                  </a:cubicBezTo>
                  <a:cubicBezTo>
                    <a:pt x="1994524" y="419337"/>
                    <a:pt x="2006405" y="414233"/>
                    <a:pt x="2013052" y="402224"/>
                  </a:cubicBezTo>
                  <a:cubicBezTo>
                    <a:pt x="2019700" y="390258"/>
                    <a:pt x="1990836" y="387685"/>
                    <a:pt x="2004174" y="379107"/>
                  </a:cubicBezTo>
                  <a:cubicBezTo>
                    <a:pt x="2017513" y="370529"/>
                    <a:pt x="2006405" y="361994"/>
                    <a:pt x="1993066" y="361994"/>
                  </a:cubicBezTo>
                  <a:cubicBezTo>
                    <a:pt x="1979727" y="361994"/>
                    <a:pt x="1968619" y="354274"/>
                    <a:pt x="1967890" y="341450"/>
                  </a:cubicBezTo>
                  <a:cubicBezTo>
                    <a:pt x="1967161" y="328583"/>
                    <a:pt x="1944172" y="337161"/>
                    <a:pt x="1930105" y="329441"/>
                  </a:cubicBezTo>
                  <a:cubicBezTo>
                    <a:pt x="1916037" y="321764"/>
                    <a:pt x="1884942" y="323479"/>
                    <a:pt x="1877522" y="324337"/>
                  </a:cubicBezTo>
                  <a:cubicBezTo>
                    <a:pt x="1870102" y="325195"/>
                    <a:pt x="1869373" y="360279"/>
                    <a:pt x="1880482" y="361179"/>
                  </a:cubicBezTo>
                  <a:cubicBezTo>
                    <a:pt x="1891590" y="362037"/>
                    <a:pt x="1900468" y="375719"/>
                    <a:pt x="1890861" y="380050"/>
                  </a:cubicBezTo>
                  <a:cubicBezTo>
                    <a:pt x="1881254" y="384339"/>
                    <a:pt x="1892362" y="398021"/>
                    <a:pt x="1884942" y="397163"/>
                  </a:cubicBezTo>
                  <a:cubicBezTo>
                    <a:pt x="1877522" y="396306"/>
                    <a:pt x="1865685" y="392059"/>
                    <a:pt x="1863455" y="414276"/>
                  </a:cubicBezTo>
                  <a:cubicBezTo>
                    <a:pt x="1861224" y="436579"/>
                    <a:pt x="1859723" y="445114"/>
                    <a:pt x="1847157" y="452834"/>
                  </a:cubicBezTo>
                  <a:cubicBezTo>
                    <a:pt x="1834590" y="460554"/>
                    <a:pt x="1844197" y="428001"/>
                    <a:pt x="1832360" y="428859"/>
                  </a:cubicBezTo>
                  <a:cubicBezTo>
                    <a:pt x="1820522" y="429716"/>
                    <a:pt x="1819021" y="456265"/>
                    <a:pt x="1827942" y="458838"/>
                  </a:cubicBezTo>
                  <a:cubicBezTo>
                    <a:pt x="1836820" y="461411"/>
                    <a:pt x="1838321" y="469946"/>
                    <a:pt x="1840509" y="482813"/>
                  </a:cubicBezTo>
                  <a:cubicBezTo>
                    <a:pt x="1842739" y="495680"/>
                    <a:pt x="1824211" y="486244"/>
                    <a:pt x="1816791" y="501685"/>
                  </a:cubicBezTo>
                  <a:cubicBezTo>
                    <a:pt x="1809371" y="517082"/>
                    <a:pt x="1808642" y="494822"/>
                    <a:pt x="1798263" y="484572"/>
                  </a:cubicBezTo>
                  <a:cubicBezTo>
                    <a:pt x="1787884" y="474278"/>
                    <a:pt x="1775317" y="457123"/>
                    <a:pt x="1776046" y="444299"/>
                  </a:cubicBezTo>
                  <a:cubicBezTo>
                    <a:pt x="1776690" y="433062"/>
                    <a:pt x="1781965" y="428859"/>
                    <a:pt x="1790114" y="427186"/>
                  </a:cubicBezTo>
                  <a:cubicBezTo>
                    <a:pt x="1798263" y="425470"/>
                    <a:pt x="1790114" y="416892"/>
                    <a:pt x="1789385" y="401495"/>
                  </a:cubicBezTo>
                  <a:cubicBezTo>
                    <a:pt x="1788656" y="386098"/>
                    <a:pt x="1779005" y="391202"/>
                    <a:pt x="1767168" y="374947"/>
                  </a:cubicBezTo>
                  <a:cubicBezTo>
                    <a:pt x="1755331" y="358692"/>
                    <a:pt x="1742721" y="358692"/>
                    <a:pt x="1736073" y="366412"/>
                  </a:cubicBezTo>
                  <a:cubicBezTo>
                    <a:pt x="1729425" y="374132"/>
                    <a:pt x="1733843" y="388671"/>
                    <a:pt x="1723464" y="393818"/>
                  </a:cubicBezTo>
                  <a:cubicBezTo>
                    <a:pt x="1713085" y="398965"/>
                    <a:pt x="1717545" y="422940"/>
                    <a:pt x="1708667" y="424655"/>
                  </a:cubicBezTo>
                  <a:cubicBezTo>
                    <a:pt x="1699789" y="426371"/>
                    <a:pt x="1704978" y="382667"/>
                    <a:pt x="1697559" y="378421"/>
                  </a:cubicBezTo>
                  <a:cubicBezTo>
                    <a:pt x="1690139" y="374132"/>
                    <a:pt x="1690911" y="363881"/>
                    <a:pt x="1701976" y="362166"/>
                  </a:cubicBezTo>
                  <a:cubicBezTo>
                    <a:pt x="1713085" y="360450"/>
                    <a:pt x="1719775" y="346726"/>
                    <a:pt x="1710125" y="346726"/>
                  </a:cubicBezTo>
                  <a:cubicBezTo>
                    <a:pt x="1700475" y="346726"/>
                    <a:pt x="1683448" y="334716"/>
                    <a:pt x="1676800" y="331328"/>
                  </a:cubicBezTo>
                  <a:cubicBezTo>
                    <a:pt x="1670152" y="327897"/>
                    <a:pt x="1659044" y="345868"/>
                    <a:pt x="1651624" y="339048"/>
                  </a:cubicBezTo>
                  <a:cubicBezTo>
                    <a:pt x="1644204" y="332229"/>
                    <a:pt x="1652353" y="315073"/>
                    <a:pt x="1653083" y="305637"/>
                  </a:cubicBezTo>
                  <a:cubicBezTo>
                    <a:pt x="1653812" y="296202"/>
                    <a:pt x="1664920" y="309926"/>
                    <a:pt x="1672340" y="297917"/>
                  </a:cubicBezTo>
                  <a:cubicBezTo>
                    <a:pt x="1679717" y="285951"/>
                    <a:pt x="1651582" y="285951"/>
                    <a:pt x="1651582" y="273085"/>
                  </a:cubicBezTo>
                  <a:cubicBezTo>
                    <a:pt x="1651582" y="260218"/>
                    <a:pt x="1629365" y="256787"/>
                    <a:pt x="1621945" y="252541"/>
                  </a:cubicBezTo>
                  <a:cubicBezTo>
                    <a:pt x="1614525" y="248252"/>
                    <a:pt x="1627135" y="226850"/>
                    <a:pt x="1623403" y="218272"/>
                  </a:cubicBezTo>
                  <a:cubicBezTo>
                    <a:pt x="1619715" y="209694"/>
                    <a:pt x="1592308" y="181430"/>
                    <a:pt x="1580471" y="184003"/>
                  </a:cubicBezTo>
                  <a:cubicBezTo>
                    <a:pt x="1568633" y="186577"/>
                    <a:pt x="1565631" y="165990"/>
                    <a:pt x="1572322" y="166891"/>
                  </a:cubicBezTo>
                  <a:cubicBezTo>
                    <a:pt x="1578970" y="167748"/>
                    <a:pt x="1584159" y="162602"/>
                    <a:pt x="1596769" y="146347"/>
                  </a:cubicBezTo>
                  <a:cubicBezTo>
                    <a:pt x="1609335" y="130092"/>
                    <a:pt x="1610837" y="124945"/>
                    <a:pt x="1601959" y="121514"/>
                  </a:cubicBezTo>
                  <a:cubicBezTo>
                    <a:pt x="1593080" y="118083"/>
                    <a:pt x="1588620" y="107832"/>
                    <a:pt x="1604189" y="108647"/>
                  </a:cubicBezTo>
                  <a:cubicBezTo>
                    <a:pt x="1619757" y="109505"/>
                    <a:pt x="1647164" y="121514"/>
                    <a:pt x="1656042" y="113794"/>
                  </a:cubicBezTo>
                  <a:cubicBezTo>
                    <a:pt x="1664920" y="106074"/>
                    <a:pt x="1693098" y="55550"/>
                    <a:pt x="1704207" y="37579"/>
                  </a:cubicBezTo>
                  <a:cubicBezTo>
                    <a:pt x="1715315" y="19609"/>
                    <a:pt x="1696058" y="17850"/>
                    <a:pt x="1669380" y="20424"/>
                  </a:cubicBezTo>
                  <a:cubicBezTo>
                    <a:pt x="1642703" y="22997"/>
                    <a:pt x="1636785" y="8415"/>
                    <a:pt x="1614568" y="6699"/>
                  </a:cubicBezTo>
                  <a:cubicBezTo>
                    <a:pt x="1592351" y="4983"/>
                    <a:pt x="1550877" y="11846"/>
                    <a:pt x="1544958" y="19566"/>
                  </a:cubicBezTo>
                  <a:cubicBezTo>
                    <a:pt x="1539040" y="27286"/>
                    <a:pt x="1556067" y="34148"/>
                    <a:pt x="1553837" y="42683"/>
                  </a:cubicBezTo>
                  <a:cubicBezTo>
                    <a:pt x="1551607" y="51261"/>
                    <a:pt x="1538268" y="36679"/>
                    <a:pt x="1532349" y="40110"/>
                  </a:cubicBezTo>
                  <a:cubicBezTo>
                    <a:pt x="1526431" y="43541"/>
                    <a:pt x="1534579" y="54692"/>
                    <a:pt x="1532349" y="84629"/>
                  </a:cubicBezTo>
                  <a:cubicBezTo>
                    <a:pt x="1530119" y="114609"/>
                    <a:pt x="1537539" y="116324"/>
                    <a:pt x="1544958" y="127475"/>
                  </a:cubicBezTo>
                  <a:cubicBezTo>
                    <a:pt x="1552336" y="138627"/>
                    <a:pt x="1550877" y="153166"/>
                    <a:pt x="1550877" y="171994"/>
                  </a:cubicBezTo>
                  <a:cubicBezTo>
                    <a:pt x="1550877" y="190823"/>
                    <a:pt x="1535308" y="190008"/>
                    <a:pt x="1530162" y="194297"/>
                  </a:cubicBezTo>
                  <a:cubicBezTo>
                    <a:pt x="1524972" y="198586"/>
                    <a:pt x="1543500" y="205405"/>
                    <a:pt x="1540541" y="217414"/>
                  </a:cubicBezTo>
                  <a:cubicBezTo>
                    <a:pt x="1537582" y="229423"/>
                    <a:pt x="1522013" y="210552"/>
                    <a:pt x="1513135" y="213983"/>
                  </a:cubicBezTo>
                  <a:cubicBezTo>
                    <a:pt x="1504257" y="217414"/>
                    <a:pt x="1496837" y="246536"/>
                    <a:pt x="1506487" y="255972"/>
                  </a:cubicBezTo>
                  <a:cubicBezTo>
                    <a:pt x="1516094" y="265407"/>
                    <a:pt x="1519825" y="263692"/>
                    <a:pt x="1512406" y="274843"/>
                  </a:cubicBezTo>
                  <a:cubicBezTo>
                    <a:pt x="1504986" y="285951"/>
                    <a:pt x="1496837" y="302249"/>
                    <a:pt x="1514636" y="318504"/>
                  </a:cubicBezTo>
                  <a:cubicBezTo>
                    <a:pt x="1532392" y="334802"/>
                    <a:pt x="1564988" y="333087"/>
                    <a:pt x="1582015" y="345911"/>
                  </a:cubicBezTo>
                  <a:cubicBezTo>
                    <a:pt x="1599042" y="358777"/>
                    <a:pt x="1574638" y="351057"/>
                    <a:pt x="1581286" y="365597"/>
                  </a:cubicBezTo>
                  <a:cubicBezTo>
                    <a:pt x="1587977" y="380179"/>
                    <a:pt x="1570177" y="385283"/>
                    <a:pt x="1570907" y="396434"/>
                  </a:cubicBezTo>
                  <a:cubicBezTo>
                    <a:pt x="1571636" y="407543"/>
                    <a:pt x="1578326" y="401581"/>
                    <a:pt x="1587205" y="382710"/>
                  </a:cubicBezTo>
                  <a:cubicBezTo>
                    <a:pt x="1596126" y="363881"/>
                    <a:pt x="1602773" y="387856"/>
                    <a:pt x="1602001" y="404154"/>
                  </a:cubicBezTo>
                  <a:cubicBezTo>
                    <a:pt x="1601272" y="420452"/>
                    <a:pt x="1588663" y="410974"/>
                    <a:pt x="1579056" y="427272"/>
                  </a:cubicBezTo>
                  <a:cubicBezTo>
                    <a:pt x="1569448" y="443527"/>
                    <a:pt x="1560527" y="446100"/>
                    <a:pt x="1546460" y="442669"/>
                  </a:cubicBezTo>
                  <a:cubicBezTo>
                    <a:pt x="1532392" y="439238"/>
                    <a:pt x="1540541" y="465786"/>
                    <a:pt x="1546460" y="480369"/>
                  </a:cubicBezTo>
                  <a:cubicBezTo>
                    <a:pt x="1552379" y="494951"/>
                    <a:pt x="1545001" y="500055"/>
                    <a:pt x="1528704" y="494951"/>
                  </a:cubicBezTo>
                  <a:cubicBezTo>
                    <a:pt x="1512406" y="489847"/>
                    <a:pt x="1502756" y="477838"/>
                    <a:pt x="1510904" y="463256"/>
                  </a:cubicBezTo>
                  <a:cubicBezTo>
                    <a:pt x="1519053" y="448673"/>
                    <a:pt x="1524972" y="431561"/>
                    <a:pt x="1515365" y="433276"/>
                  </a:cubicBezTo>
                  <a:cubicBezTo>
                    <a:pt x="1505715" y="434992"/>
                    <a:pt x="1483498" y="432418"/>
                    <a:pt x="1476850" y="420452"/>
                  </a:cubicBezTo>
                  <a:cubicBezTo>
                    <a:pt x="1470202" y="408443"/>
                    <a:pt x="1481311" y="413590"/>
                    <a:pt x="1501297" y="416163"/>
                  </a:cubicBezTo>
                  <a:cubicBezTo>
                    <a:pt x="1521284" y="418737"/>
                    <a:pt x="1504257" y="400723"/>
                    <a:pt x="1519053" y="400723"/>
                  </a:cubicBezTo>
                  <a:cubicBezTo>
                    <a:pt x="1533850" y="400723"/>
                    <a:pt x="1544958" y="410116"/>
                    <a:pt x="1557568" y="397292"/>
                  </a:cubicBezTo>
                  <a:cubicBezTo>
                    <a:pt x="1570177" y="384468"/>
                    <a:pt x="1549419" y="359592"/>
                    <a:pt x="1539040" y="363881"/>
                  </a:cubicBezTo>
                  <a:cubicBezTo>
                    <a:pt x="1528661" y="368170"/>
                    <a:pt x="1512406" y="373317"/>
                    <a:pt x="1512406" y="361308"/>
                  </a:cubicBezTo>
                  <a:cubicBezTo>
                    <a:pt x="1512406" y="349342"/>
                    <a:pt x="1530162" y="357877"/>
                    <a:pt x="1539812" y="355303"/>
                  </a:cubicBezTo>
                  <a:cubicBezTo>
                    <a:pt x="1549462" y="352730"/>
                    <a:pt x="1534622" y="337333"/>
                    <a:pt x="1519825" y="341622"/>
                  </a:cubicBezTo>
                  <a:cubicBezTo>
                    <a:pt x="1505029" y="345911"/>
                    <a:pt x="1494649" y="346768"/>
                    <a:pt x="1482769" y="332229"/>
                  </a:cubicBezTo>
                  <a:cubicBezTo>
                    <a:pt x="1470932" y="317647"/>
                    <a:pt x="1449444" y="309112"/>
                    <a:pt x="1444254" y="342479"/>
                  </a:cubicBezTo>
                  <a:cubicBezTo>
                    <a:pt x="1439065" y="375890"/>
                    <a:pt x="1418349" y="357877"/>
                    <a:pt x="1410200" y="369028"/>
                  </a:cubicBezTo>
                  <a:cubicBezTo>
                    <a:pt x="1402052" y="380179"/>
                    <a:pt x="1419808" y="387856"/>
                    <a:pt x="1439837" y="388714"/>
                  </a:cubicBezTo>
                  <a:cubicBezTo>
                    <a:pt x="1459823" y="389572"/>
                    <a:pt x="1474663" y="410974"/>
                    <a:pt x="1465013" y="410974"/>
                  </a:cubicBezTo>
                  <a:cubicBezTo>
                    <a:pt x="1455406" y="410974"/>
                    <a:pt x="1459823" y="427272"/>
                    <a:pt x="1449444" y="421267"/>
                  </a:cubicBezTo>
                  <a:cubicBezTo>
                    <a:pt x="1439065" y="415263"/>
                    <a:pt x="1428686" y="421267"/>
                    <a:pt x="1436105" y="431518"/>
                  </a:cubicBezTo>
                  <a:cubicBezTo>
                    <a:pt x="1443525" y="441811"/>
                    <a:pt x="1433146" y="446100"/>
                    <a:pt x="1433875" y="456393"/>
                  </a:cubicBezTo>
                  <a:cubicBezTo>
                    <a:pt x="1434604" y="466687"/>
                    <a:pt x="1418349" y="457251"/>
                    <a:pt x="1402781" y="455536"/>
                  </a:cubicBezTo>
                  <a:cubicBezTo>
                    <a:pt x="1387212" y="453820"/>
                    <a:pt x="1358347" y="459825"/>
                    <a:pt x="1337589" y="464971"/>
                  </a:cubicBezTo>
                  <a:cubicBezTo>
                    <a:pt x="1316830" y="470118"/>
                    <a:pt x="1293885" y="461540"/>
                    <a:pt x="1285006" y="450432"/>
                  </a:cubicBezTo>
                  <a:cubicBezTo>
                    <a:pt x="1276128" y="439324"/>
                    <a:pt x="1264248" y="441039"/>
                    <a:pt x="1249451" y="441039"/>
                  </a:cubicBezTo>
                  <a:cubicBezTo>
                    <a:pt x="1234654" y="441039"/>
                    <a:pt x="1239072" y="424741"/>
                    <a:pt x="1219815" y="423926"/>
                  </a:cubicBezTo>
                  <a:cubicBezTo>
                    <a:pt x="1200557" y="423068"/>
                    <a:pt x="1204975" y="404240"/>
                    <a:pt x="1202788" y="393089"/>
                  </a:cubicBezTo>
                  <a:cubicBezTo>
                    <a:pt x="1200557" y="381981"/>
                    <a:pt x="1162043" y="385369"/>
                    <a:pt x="1147975" y="395662"/>
                  </a:cubicBezTo>
                  <a:cubicBezTo>
                    <a:pt x="1133908" y="405956"/>
                    <a:pt x="1106501" y="401667"/>
                    <a:pt x="1099081" y="420538"/>
                  </a:cubicBezTo>
                  <a:cubicBezTo>
                    <a:pt x="1091704" y="439366"/>
                    <a:pt x="1105729" y="436793"/>
                    <a:pt x="1113878" y="436793"/>
                  </a:cubicBezTo>
                  <a:cubicBezTo>
                    <a:pt x="1125201" y="436793"/>
                    <a:pt x="1124257" y="421396"/>
                    <a:pt x="1144973" y="424784"/>
                  </a:cubicBezTo>
                  <a:cubicBezTo>
                    <a:pt x="1165731" y="428215"/>
                    <a:pt x="1180528" y="399951"/>
                    <a:pt x="1189406" y="410202"/>
                  </a:cubicBezTo>
                  <a:cubicBezTo>
                    <a:pt x="1198284" y="420495"/>
                    <a:pt x="1153851" y="440181"/>
                    <a:pt x="1134594" y="443612"/>
                  </a:cubicBezTo>
                  <a:cubicBezTo>
                    <a:pt x="1115336" y="447044"/>
                    <a:pt x="1119797" y="465014"/>
                    <a:pt x="1138325" y="496709"/>
                  </a:cubicBezTo>
                  <a:cubicBezTo>
                    <a:pt x="1156853" y="528405"/>
                    <a:pt x="1130176" y="510391"/>
                    <a:pt x="1130176" y="525831"/>
                  </a:cubicBezTo>
                  <a:cubicBezTo>
                    <a:pt x="1130176" y="541228"/>
                    <a:pt x="1095350" y="520685"/>
                    <a:pt x="1109461" y="515538"/>
                  </a:cubicBezTo>
                  <a:cubicBezTo>
                    <a:pt x="1123528" y="510391"/>
                    <a:pt x="1116880" y="494093"/>
                    <a:pt x="1105729" y="483843"/>
                  </a:cubicBezTo>
                  <a:cubicBezTo>
                    <a:pt x="1094621" y="473549"/>
                    <a:pt x="1087244" y="483843"/>
                    <a:pt x="1088702" y="472691"/>
                  </a:cubicBezTo>
                  <a:cubicBezTo>
                    <a:pt x="1090160" y="461540"/>
                    <a:pt x="1076865" y="473549"/>
                    <a:pt x="1066486" y="464114"/>
                  </a:cubicBezTo>
                  <a:cubicBezTo>
                    <a:pt x="1056106" y="454678"/>
                    <a:pt x="1050917" y="447001"/>
                    <a:pt x="1036849" y="455536"/>
                  </a:cubicBezTo>
                  <a:cubicBezTo>
                    <a:pt x="1022781" y="464114"/>
                    <a:pt x="1006483" y="461540"/>
                    <a:pt x="975389" y="467502"/>
                  </a:cubicBezTo>
                  <a:cubicBezTo>
                    <a:pt x="944294" y="473506"/>
                    <a:pt x="887251" y="471791"/>
                    <a:pt x="876872" y="459782"/>
                  </a:cubicBezTo>
                  <a:cubicBezTo>
                    <a:pt x="866493" y="447816"/>
                    <a:pt x="903549" y="426371"/>
                    <a:pt x="914657" y="429802"/>
                  </a:cubicBezTo>
                  <a:cubicBezTo>
                    <a:pt x="925423" y="433105"/>
                    <a:pt x="919118" y="416077"/>
                    <a:pt x="902091" y="400680"/>
                  </a:cubicBezTo>
                  <a:cubicBezTo>
                    <a:pt x="885064" y="385240"/>
                    <a:pt x="847278" y="375847"/>
                    <a:pt x="848007" y="385240"/>
                  </a:cubicBezTo>
                  <a:cubicBezTo>
                    <a:pt x="848736" y="394676"/>
                    <a:pt x="826520" y="386098"/>
                    <a:pt x="799114" y="380136"/>
                  </a:cubicBezTo>
                  <a:cubicBezTo>
                    <a:pt x="771707" y="374132"/>
                    <a:pt x="768019" y="362980"/>
                    <a:pt x="750220" y="362123"/>
                  </a:cubicBezTo>
                  <a:cubicBezTo>
                    <a:pt x="733064" y="361265"/>
                    <a:pt x="705786" y="355260"/>
                    <a:pt x="685071" y="336432"/>
                  </a:cubicBezTo>
                  <a:cubicBezTo>
                    <a:pt x="664312" y="317561"/>
                    <a:pt x="615462" y="322707"/>
                    <a:pt x="609543" y="339863"/>
                  </a:cubicBezTo>
                  <a:cubicBezTo>
                    <a:pt x="603624" y="356976"/>
                    <a:pt x="587326" y="356161"/>
                    <a:pt x="571028" y="356161"/>
                  </a:cubicBezTo>
                  <a:cubicBezTo>
                    <a:pt x="554730" y="356161"/>
                    <a:pt x="578405" y="334974"/>
                    <a:pt x="572486" y="331328"/>
                  </a:cubicBezTo>
                  <a:cubicBezTo>
                    <a:pt x="564681" y="326482"/>
                    <a:pt x="573216" y="303064"/>
                    <a:pt x="561378" y="301349"/>
                  </a:cubicBezTo>
                  <a:cubicBezTo>
                    <a:pt x="549541" y="299633"/>
                    <a:pt x="538432" y="357877"/>
                    <a:pt x="516216" y="356161"/>
                  </a:cubicBezTo>
                  <a:cubicBezTo>
                    <a:pt x="493999" y="354446"/>
                    <a:pt x="484349" y="294486"/>
                    <a:pt x="465864" y="279089"/>
                  </a:cubicBezTo>
                  <a:cubicBezTo>
                    <a:pt x="447335" y="263649"/>
                    <a:pt x="430308" y="262791"/>
                    <a:pt x="445877" y="285951"/>
                  </a:cubicBezTo>
                  <a:cubicBezTo>
                    <a:pt x="461446" y="309069"/>
                    <a:pt x="432539" y="292814"/>
                    <a:pt x="434040" y="308211"/>
                  </a:cubicBezTo>
                  <a:cubicBezTo>
                    <a:pt x="435541" y="323608"/>
                    <a:pt x="408864" y="341622"/>
                    <a:pt x="409593" y="333044"/>
                  </a:cubicBezTo>
                  <a:cubicBezTo>
                    <a:pt x="410365" y="324466"/>
                    <a:pt x="394796" y="315030"/>
                    <a:pt x="376997" y="339048"/>
                  </a:cubicBezTo>
                  <a:cubicBezTo>
                    <a:pt x="359241" y="363023"/>
                    <a:pt x="346631" y="359592"/>
                    <a:pt x="345130" y="351014"/>
                  </a:cubicBezTo>
                  <a:cubicBezTo>
                    <a:pt x="343629" y="342437"/>
                    <a:pt x="291090" y="373274"/>
                    <a:pt x="293277" y="383567"/>
                  </a:cubicBezTo>
                  <a:cubicBezTo>
                    <a:pt x="295507" y="393861"/>
                    <a:pt x="285128" y="401538"/>
                    <a:pt x="271060" y="400680"/>
                  </a:cubicBezTo>
                  <a:cubicBezTo>
                    <a:pt x="256993" y="399822"/>
                    <a:pt x="268101" y="386141"/>
                    <a:pt x="279209" y="379236"/>
                  </a:cubicBezTo>
                  <a:cubicBezTo>
                    <a:pt x="291690" y="371558"/>
                    <a:pt x="325873" y="339820"/>
                    <a:pt x="343629" y="336432"/>
                  </a:cubicBezTo>
                  <a:cubicBezTo>
                    <a:pt x="359198" y="333430"/>
                    <a:pt x="387248" y="320563"/>
                    <a:pt x="394496" y="311085"/>
                  </a:cubicBezTo>
                  <a:cubicBezTo>
                    <a:pt x="393981" y="311127"/>
                    <a:pt x="393509" y="311213"/>
                    <a:pt x="392995" y="311213"/>
                  </a:cubicBezTo>
                  <a:cubicBezTo>
                    <a:pt x="363315" y="312157"/>
                    <a:pt x="335437" y="320306"/>
                    <a:pt x="307774" y="329184"/>
                  </a:cubicBezTo>
                  <a:cubicBezTo>
                    <a:pt x="305072" y="330170"/>
                    <a:pt x="302413" y="331028"/>
                    <a:pt x="299839" y="331714"/>
                  </a:cubicBezTo>
                  <a:cubicBezTo>
                    <a:pt x="293020" y="333902"/>
                    <a:pt x="286200" y="336132"/>
                    <a:pt x="279338" y="338233"/>
                  </a:cubicBezTo>
                  <a:cubicBezTo>
                    <a:pt x="276850" y="340078"/>
                    <a:pt x="276036" y="342608"/>
                    <a:pt x="277794" y="346683"/>
                  </a:cubicBezTo>
                  <a:cubicBezTo>
                    <a:pt x="283713" y="360364"/>
                    <a:pt x="259266" y="344967"/>
                    <a:pt x="254076" y="354403"/>
                  </a:cubicBezTo>
                  <a:cubicBezTo>
                    <a:pt x="248887" y="363838"/>
                    <a:pt x="239237" y="353545"/>
                    <a:pt x="246656" y="348398"/>
                  </a:cubicBezTo>
                  <a:cubicBezTo>
                    <a:pt x="247385" y="347883"/>
                    <a:pt x="247729" y="347326"/>
                    <a:pt x="247857" y="346768"/>
                  </a:cubicBezTo>
                  <a:cubicBezTo>
                    <a:pt x="238422" y="348913"/>
                    <a:pt x="228857" y="350628"/>
                    <a:pt x="219164" y="351658"/>
                  </a:cubicBezTo>
                  <a:cubicBezTo>
                    <a:pt x="215990" y="352816"/>
                    <a:pt x="212002" y="353545"/>
                    <a:pt x="206641" y="353545"/>
                  </a:cubicBezTo>
                  <a:cubicBezTo>
                    <a:pt x="188884" y="353545"/>
                    <a:pt x="171085" y="368084"/>
                    <a:pt x="182923" y="378378"/>
                  </a:cubicBezTo>
                  <a:cubicBezTo>
                    <a:pt x="194760" y="388671"/>
                    <a:pt x="202180" y="393818"/>
                    <a:pt x="196261" y="400637"/>
                  </a:cubicBezTo>
                  <a:cubicBezTo>
                    <a:pt x="190343" y="407500"/>
                    <a:pt x="171815" y="382667"/>
                    <a:pt x="145909" y="385197"/>
                  </a:cubicBezTo>
                  <a:cubicBezTo>
                    <a:pt x="120004" y="387770"/>
                    <a:pt x="68151" y="351786"/>
                    <a:pt x="68151" y="343251"/>
                  </a:cubicBezTo>
                  <a:cubicBezTo>
                    <a:pt x="68151" y="336303"/>
                    <a:pt x="31695" y="340635"/>
                    <a:pt x="6433" y="337504"/>
                  </a:cubicBezTo>
                  <a:lnTo>
                    <a:pt x="6433" y="929505"/>
                  </a:lnTo>
                  <a:cubicBezTo>
                    <a:pt x="6433" y="929505"/>
                    <a:pt x="19257" y="940571"/>
                    <a:pt x="24190" y="933709"/>
                  </a:cubicBezTo>
                  <a:cubicBezTo>
                    <a:pt x="29122" y="926846"/>
                    <a:pt x="38000" y="936025"/>
                    <a:pt x="54813" y="926846"/>
                  </a:cubicBezTo>
                  <a:cubicBezTo>
                    <a:pt x="71582" y="917711"/>
                    <a:pt x="77501" y="937140"/>
                    <a:pt x="77501" y="946232"/>
                  </a:cubicBezTo>
                  <a:cubicBezTo>
                    <a:pt x="77501" y="955368"/>
                    <a:pt x="101219" y="970250"/>
                    <a:pt x="111083" y="985047"/>
                  </a:cubicBezTo>
                  <a:cubicBezTo>
                    <a:pt x="120948" y="999930"/>
                    <a:pt x="125880" y="1012453"/>
                    <a:pt x="136774" y="1004476"/>
                  </a:cubicBezTo>
                  <a:cubicBezTo>
                    <a:pt x="147625" y="996499"/>
                    <a:pt x="167397" y="991909"/>
                    <a:pt x="167397" y="977027"/>
                  </a:cubicBezTo>
                  <a:cubicBezTo>
                    <a:pt x="167397" y="962187"/>
                    <a:pt x="212817" y="959914"/>
                    <a:pt x="212817" y="979343"/>
                  </a:cubicBezTo>
                  <a:cubicBezTo>
                    <a:pt x="212817" y="998729"/>
                    <a:pt x="259223" y="1021589"/>
                    <a:pt x="284914" y="1074085"/>
                  </a:cubicBezTo>
                  <a:cubicBezTo>
                    <a:pt x="310604" y="1126625"/>
                    <a:pt x="306616" y="1138076"/>
                    <a:pt x="344187" y="1155189"/>
                  </a:cubicBezTo>
                  <a:cubicBezTo>
                    <a:pt x="381715" y="1172345"/>
                    <a:pt x="380728" y="1181437"/>
                    <a:pt x="375796" y="1196320"/>
                  </a:cubicBezTo>
                  <a:cubicBezTo>
                    <a:pt x="370864" y="1211117"/>
                    <a:pt x="398485" y="1219137"/>
                    <a:pt x="382701" y="1231703"/>
                  </a:cubicBezTo>
                  <a:cubicBezTo>
                    <a:pt x="376654" y="1236507"/>
                    <a:pt x="368119" y="1243541"/>
                    <a:pt x="359927" y="1250317"/>
                  </a:cubicBezTo>
                  <a:cubicBezTo>
                    <a:pt x="360656" y="1257866"/>
                    <a:pt x="366532" y="1262712"/>
                    <a:pt x="374081" y="1269961"/>
                  </a:cubicBezTo>
                  <a:cubicBezTo>
                    <a:pt x="379099" y="1274807"/>
                    <a:pt x="373266" y="1276909"/>
                    <a:pt x="368548" y="1279182"/>
                  </a:cubicBezTo>
                  <a:cubicBezTo>
                    <a:pt x="368848" y="1279182"/>
                    <a:pt x="369062" y="1279096"/>
                    <a:pt x="369363" y="1279096"/>
                  </a:cubicBezTo>
                  <a:cubicBezTo>
                    <a:pt x="386089" y="1279096"/>
                    <a:pt x="405047" y="1294022"/>
                    <a:pt x="405904" y="1312293"/>
                  </a:cubicBezTo>
                  <a:cubicBezTo>
                    <a:pt x="407019" y="1312936"/>
                    <a:pt x="408006" y="1314137"/>
                    <a:pt x="408735" y="1315767"/>
                  </a:cubicBezTo>
                  <a:cubicBezTo>
                    <a:pt x="413067" y="1320613"/>
                    <a:pt x="415855" y="1326789"/>
                    <a:pt x="416970" y="1333566"/>
                  </a:cubicBezTo>
                  <a:cubicBezTo>
                    <a:pt x="419715" y="1337940"/>
                    <a:pt x="421473" y="1342787"/>
                    <a:pt x="422417" y="1347762"/>
                  </a:cubicBezTo>
                  <a:cubicBezTo>
                    <a:pt x="429365" y="1341586"/>
                    <a:pt x="442489" y="1364360"/>
                    <a:pt x="448837" y="1368435"/>
                  </a:cubicBezTo>
                  <a:cubicBezTo>
                    <a:pt x="455484" y="1372724"/>
                    <a:pt x="462175" y="1385547"/>
                    <a:pt x="451067" y="1385547"/>
                  </a:cubicBezTo>
                  <a:cubicBezTo>
                    <a:pt x="439958" y="1385547"/>
                    <a:pt x="441417" y="1407807"/>
                    <a:pt x="449566" y="1408665"/>
                  </a:cubicBezTo>
                  <a:cubicBezTo>
                    <a:pt x="457715" y="1409565"/>
                    <a:pt x="456986" y="1421531"/>
                    <a:pt x="456986" y="1429251"/>
                  </a:cubicBezTo>
                  <a:cubicBezTo>
                    <a:pt x="456986" y="1436929"/>
                    <a:pt x="482934" y="1448080"/>
                    <a:pt x="492541" y="1444649"/>
                  </a:cubicBezTo>
                  <a:cubicBezTo>
                    <a:pt x="502148" y="1441218"/>
                    <a:pt x="511069" y="1451468"/>
                    <a:pt x="515487" y="1460904"/>
                  </a:cubicBezTo>
                  <a:cubicBezTo>
                    <a:pt x="519947" y="1470340"/>
                    <a:pt x="537703" y="1477159"/>
                    <a:pt x="544394" y="1471197"/>
                  </a:cubicBezTo>
                  <a:cubicBezTo>
                    <a:pt x="551042" y="1465193"/>
                    <a:pt x="555502" y="1482306"/>
                    <a:pt x="557003" y="1494315"/>
                  </a:cubicBezTo>
                  <a:cubicBezTo>
                    <a:pt x="558462" y="1506324"/>
                    <a:pt x="573301" y="1499462"/>
                    <a:pt x="582179" y="1498604"/>
                  </a:cubicBezTo>
                  <a:cubicBezTo>
                    <a:pt x="591058" y="1497746"/>
                    <a:pt x="596247" y="1512285"/>
                    <a:pt x="602166" y="1509755"/>
                  </a:cubicBezTo>
                  <a:cubicBezTo>
                    <a:pt x="615204" y="1504050"/>
                    <a:pt x="619150" y="1530427"/>
                    <a:pt x="627771" y="1545868"/>
                  </a:cubicBezTo>
                  <a:lnTo>
                    <a:pt x="1548304" y="1540120"/>
                  </a:lnTo>
                  <a:cubicBezTo>
                    <a:pt x="1548304" y="1540120"/>
                    <a:pt x="1548947" y="1513701"/>
                    <a:pt x="1559798" y="1522836"/>
                  </a:cubicBezTo>
                  <a:cubicBezTo>
                    <a:pt x="1570649" y="1531971"/>
                    <a:pt x="1560785" y="1546811"/>
                    <a:pt x="1573609" y="1552558"/>
                  </a:cubicBezTo>
                  <a:cubicBezTo>
                    <a:pt x="1586433" y="1558263"/>
                    <a:pt x="1595353" y="1567398"/>
                    <a:pt x="1602259" y="1563967"/>
                  </a:cubicBezTo>
                  <a:cubicBezTo>
                    <a:pt x="1609164" y="1560536"/>
                    <a:pt x="1621001" y="1549127"/>
                    <a:pt x="1632882" y="1565125"/>
                  </a:cubicBezTo>
                  <a:cubicBezTo>
                    <a:pt x="1644719" y="1581080"/>
                    <a:pt x="1653640" y="1567398"/>
                    <a:pt x="1660545" y="1577692"/>
                  </a:cubicBezTo>
                  <a:cubicBezTo>
                    <a:pt x="1667450" y="1587942"/>
                    <a:pt x="1680274" y="1595962"/>
                    <a:pt x="1689195" y="1583396"/>
                  </a:cubicBezTo>
                  <a:cubicBezTo>
                    <a:pt x="1696401" y="1573188"/>
                    <a:pt x="1723721" y="1585540"/>
                    <a:pt x="1736974" y="1591159"/>
                  </a:cubicBezTo>
                  <a:cubicBezTo>
                    <a:pt x="1753186" y="1576105"/>
                    <a:pt x="1766053" y="1543980"/>
                    <a:pt x="1780550" y="1543980"/>
                  </a:cubicBezTo>
                  <a:cubicBezTo>
                    <a:pt x="1799807" y="1543980"/>
                    <a:pt x="1848701" y="1549084"/>
                    <a:pt x="1851660" y="1578206"/>
                  </a:cubicBezTo>
                  <a:cubicBezTo>
                    <a:pt x="1854619" y="1607371"/>
                    <a:pt x="1884256" y="1579922"/>
                    <a:pt x="1887215" y="1607371"/>
                  </a:cubicBezTo>
                  <a:cubicBezTo>
                    <a:pt x="1889746" y="1630617"/>
                    <a:pt x="1909303" y="1648974"/>
                    <a:pt x="1906044" y="1661326"/>
                  </a:cubicBezTo>
                  <a:cubicBezTo>
                    <a:pt x="1911705" y="1665400"/>
                    <a:pt x="1918739" y="1670804"/>
                    <a:pt x="1925086" y="1676637"/>
                  </a:cubicBezTo>
                  <a:cubicBezTo>
                    <a:pt x="1934479" y="1672991"/>
                    <a:pt x="1959527" y="1677624"/>
                    <a:pt x="1976125" y="1684486"/>
                  </a:cubicBezTo>
                  <a:cubicBezTo>
                    <a:pt x="1996883" y="1693021"/>
                    <a:pt x="2027978" y="1674235"/>
                    <a:pt x="2038357" y="1703314"/>
                  </a:cubicBezTo>
                  <a:cubicBezTo>
                    <a:pt x="2048736" y="1732436"/>
                    <a:pt x="2072797" y="1754395"/>
                    <a:pt x="2050195" y="1756411"/>
                  </a:cubicBezTo>
                  <a:cubicBezTo>
                    <a:pt x="2030937" y="1758127"/>
                    <a:pt x="2005761" y="1727289"/>
                    <a:pt x="2007262" y="1744402"/>
                  </a:cubicBezTo>
                  <a:cubicBezTo>
                    <a:pt x="2008721" y="1761515"/>
                    <a:pt x="1996883" y="1752980"/>
                    <a:pt x="1996883" y="1778671"/>
                  </a:cubicBezTo>
                  <a:cubicBezTo>
                    <a:pt x="1996883" y="1804361"/>
                    <a:pt x="1982044" y="1840346"/>
                    <a:pt x="1973165" y="1838630"/>
                  </a:cubicBezTo>
                  <a:cubicBezTo>
                    <a:pt x="1972822" y="1838544"/>
                    <a:pt x="1972565" y="1838330"/>
                    <a:pt x="1972308" y="1838201"/>
                  </a:cubicBezTo>
                  <a:cubicBezTo>
                    <a:pt x="1970807" y="1847937"/>
                    <a:pt x="1970678" y="1860546"/>
                    <a:pt x="1977712" y="1868481"/>
                  </a:cubicBezTo>
                  <a:cubicBezTo>
                    <a:pt x="1988992" y="1859002"/>
                    <a:pt x="2005161" y="1842704"/>
                    <a:pt x="2019100" y="1843777"/>
                  </a:cubicBezTo>
                  <a:cubicBezTo>
                    <a:pt x="2041317" y="1845449"/>
                    <a:pt x="2047235" y="1860890"/>
                    <a:pt x="2062032" y="1848923"/>
                  </a:cubicBezTo>
                  <a:cubicBezTo>
                    <a:pt x="2076829" y="1836915"/>
                    <a:pt x="2079788" y="1831811"/>
                    <a:pt x="2082790" y="1840346"/>
                  </a:cubicBezTo>
                  <a:cubicBezTo>
                    <a:pt x="2083177" y="1841418"/>
                    <a:pt x="2082876" y="1842790"/>
                    <a:pt x="2082276" y="1844206"/>
                  </a:cubicBezTo>
                  <a:cubicBezTo>
                    <a:pt x="2087937" y="1840731"/>
                    <a:pt x="2091926" y="1837343"/>
                    <a:pt x="2092183" y="1834598"/>
                  </a:cubicBezTo>
                  <a:cubicBezTo>
                    <a:pt x="2092612" y="1830309"/>
                    <a:pt x="2091583" y="1824519"/>
                    <a:pt x="2090296" y="1819287"/>
                  </a:cubicBezTo>
                  <a:cubicBezTo>
                    <a:pt x="2075456" y="1821774"/>
                    <a:pt x="2070610" y="1823061"/>
                    <a:pt x="2066493" y="1811224"/>
                  </a:cubicBezTo>
                  <a:cubicBezTo>
                    <a:pt x="2060574" y="1794111"/>
                    <a:pt x="2110926" y="1776998"/>
                    <a:pt x="2134644" y="1780386"/>
                  </a:cubicBezTo>
                  <a:cubicBezTo>
                    <a:pt x="2157118" y="1783603"/>
                    <a:pt x="2172901" y="1765375"/>
                    <a:pt x="2180793" y="1776569"/>
                  </a:cubicBezTo>
                  <a:cubicBezTo>
                    <a:pt x="2195032" y="1761772"/>
                    <a:pt x="2219307" y="1737540"/>
                    <a:pt x="2225483" y="1737540"/>
                  </a:cubicBezTo>
                  <a:cubicBezTo>
                    <a:pt x="2234361" y="1737540"/>
                    <a:pt x="2340041" y="1736382"/>
                    <a:pt x="2340041" y="1736382"/>
                  </a:cubicBezTo>
                  <a:cubicBezTo>
                    <a:pt x="2340041" y="1736382"/>
                    <a:pt x="2376582" y="1710134"/>
                    <a:pt x="2381515" y="1686159"/>
                  </a:cubicBezTo>
                  <a:cubicBezTo>
                    <a:pt x="2386447" y="1662183"/>
                    <a:pt x="2410165" y="1605055"/>
                    <a:pt x="2423975" y="1617621"/>
                  </a:cubicBezTo>
                  <a:cubicBezTo>
                    <a:pt x="2437785" y="1630188"/>
                    <a:pt x="2467422" y="1621053"/>
                    <a:pt x="2468408" y="1632461"/>
                  </a:cubicBezTo>
                  <a:cubicBezTo>
                    <a:pt x="2469309" y="1643012"/>
                    <a:pt x="2458587" y="1681827"/>
                    <a:pt x="2496586" y="1739899"/>
                  </a:cubicBezTo>
                  <a:cubicBezTo>
                    <a:pt x="2509925" y="1730120"/>
                    <a:pt x="2523735" y="1722486"/>
                    <a:pt x="2531627" y="1723001"/>
                  </a:cubicBezTo>
                  <a:cubicBezTo>
                    <a:pt x="2544966" y="1723858"/>
                    <a:pt x="2564952" y="1703314"/>
                    <a:pt x="2570871" y="1690447"/>
                  </a:cubicBezTo>
                  <a:cubicBezTo>
                    <a:pt x="2576790" y="1677624"/>
                    <a:pt x="2584939" y="1702456"/>
                    <a:pt x="2573101" y="1706745"/>
                  </a:cubicBezTo>
                  <a:cubicBezTo>
                    <a:pt x="2561264" y="1711034"/>
                    <a:pt x="2582751" y="1721285"/>
                    <a:pt x="2603467" y="1720470"/>
                  </a:cubicBezTo>
                  <a:cubicBezTo>
                    <a:pt x="2624182" y="1719612"/>
                    <a:pt x="2593817" y="1729005"/>
                    <a:pt x="2578291" y="1728190"/>
                  </a:cubicBezTo>
                  <a:cubicBezTo>
                    <a:pt x="2562722" y="1727332"/>
                    <a:pt x="2556074" y="1729906"/>
                    <a:pt x="2535316" y="1753881"/>
                  </a:cubicBezTo>
                  <a:cubicBezTo>
                    <a:pt x="2514600" y="1777856"/>
                    <a:pt x="2519747" y="1784718"/>
                    <a:pt x="2531627" y="1796684"/>
                  </a:cubicBezTo>
                  <a:cubicBezTo>
                    <a:pt x="2543464" y="1808693"/>
                    <a:pt x="2559033" y="1803547"/>
                    <a:pt x="2575331" y="1787249"/>
                  </a:cubicBezTo>
                  <a:cubicBezTo>
                    <a:pt x="2591629" y="1770951"/>
                    <a:pt x="2590900" y="1754696"/>
                    <a:pt x="2607155" y="1755553"/>
                  </a:cubicBezTo>
                  <a:cubicBezTo>
                    <a:pt x="2613503" y="1755897"/>
                    <a:pt x="2623753" y="1753366"/>
                    <a:pt x="2634990" y="1749763"/>
                  </a:cubicBezTo>
                  <a:cubicBezTo>
                    <a:pt x="2636234" y="1747876"/>
                    <a:pt x="2637649" y="1746204"/>
                    <a:pt x="2639150" y="1744960"/>
                  </a:cubicBezTo>
                  <a:cubicBezTo>
                    <a:pt x="2642796" y="1741958"/>
                    <a:pt x="2646399" y="1738998"/>
                    <a:pt x="2650045" y="1735996"/>
                  </a:cubicBezTo>
                  <a:cubicBezTo>
                    <a:pt x="2651546" y="1734580"/>
                    <a:pt x="2653175" y="1733294"/>
                    <a:pt x="2654634" y="1731836"/>
                  </a:cubicBezTo>
                  <a:cubicBezTo>
                    <a:pt x="2661667" y="1724673"/>
                    <a:pt x="2670674" y="1721285"/>
                    <a:pt x="2680410" y="1720856"/>
                  </a:cubicBezTo>
                  <a:cubicBezTo>
                    <a:pt x="2682683" y="1720770"/>
                    <a:pt x="2684914" y="1720942"/>
                    <a:pt x="2687101" y="1721414"/>
                  </a:cubicBezTo>
                  <a:cubicBezTo>
                    <a:pt x="2688473" y="1719312"/>
                    <a:pt x="2689889" y="1717296"/>
                    <a:pt x="2691475" y="1715495"/>
                  </a:cubicBezTo>
                  <a:cubicBezTo>
                    <a:pt x="2691133" y="1714423"/>
                    <a:pt x="2690875" y="1713222"/>
                    <a:pt x="2690875" y="1711935"/>
                  </a:cubicBezTo>
                  <a:cubicBezTo>
                    <a:pt x="2690875" y="1707217"/>
                    <a:pt x="2699110" y="1704858"/>
                    <a:pt x="2708803" y="1702499"/>
                  </a:cubicBezTo>
                  <a:cubicBezTo>
                    <a:pt x="2709275" y="1702285"/>
                    <a:pt x="2709703" y="1702028"/>
                    <a:pt x="2710175" y="1701770"/>
                  </a:cubicBezTo>
                  <a:cubicBezTo>
                    <a:pt x="2713607" y="1690962"/>
                    <a:pt x="2722356" y="1682685"/>
                    <a:pt x="2732692" y="1678610"/>
                  </a:cubicBezTo>
                  <a:cubicBezTo>
                    <a:pt x="2729604" y="1677538"/>
                    <a:pt x="2726001" y="1677109"/>
                    <a:pt x="2722742" y="1677667"/>
                  </a:cubicBezTo>
                  <a:cubicBezTo>
                    <a:pt x="2712363" y="1679382"/>
                    <a:pt x="2720512" y="1660554"/>
                    <a:pt x="2722013" y="1651118"/>
                  </a:cubicBezTo>
                  <a:cubicBezTo>
                    <a:pt x="2723514" y="1641682"/>
                    <a:pt x="2699796" y="1655407"/>
                    <a:pt x="2699067" y="1666515"/>
                  </a:cubicBezTo>
                  <a:cubicBezTo>
                    <a:pt x="2698338" y="1677667"/>
                    <a:pt x="2682040" y="1681955"/>
                    <a:pt x="2682040" y="1688818"/>
                  </a:cubicBezTo>
                  <a:cubicBezTo>
                    <a:pt x="2682040" y="1708804"/>
                    <a:pt x="2679810" y="1698253"/>
                    <a:pt x="2667972" y="1705073"/>
                  </a:cubicBezTo>
                  <a:cubicBezTo>
                    <a:pt x="2656135" y="1711935"/>
                    <a:pt x="2610200" y="1705073"/>
                    <a:pt x="2608699" y="1693064"/>
                  </a:cubicBezTo>
                  <a:cubicBezTo>
                    <a:pt x="2607198" y="1681098"/>
                    <a:pt x="2573873" y="1675093"/>
                    <a:pt x="2572415" y="1658795"/>
                  </a:cubicBezTo>
                  <a:cubicBezTo>
                    <a:pt x="2572329" y="1657894"/>
                    <a:pt x="2572200" y="1657037"/>
                    <a:pt x="2572029" y="1656179"/>
                  </a:cubicBezTo>
                  <a:cubicBezTo>
                    <a:pt x="2563322" y="1649017"/>
                    <a:pt x="2557361" y="1638165"/>
                    <a:pt x="2558433" y="1627057"/>
                  </a:cubicBezTo>
                  <a:cubicBezTo>
                    <a:pt x="2559376" y="1617450"/>
                    <a:pt x="2561435" y="1609944"/>
                    <a:pt x="2564352" y="1601667"/>
                  </a:cubicBezTo>
                  <a:cubicBezTo>
                    <a:pt x="2563923" y="1601152"/>
                    <a:pt x="2563494" y="1600637"/>
                    <a:pt x="2563108" y="1600123"/>
                  </a:cubicBezTo>
                  <a:cubicBezTo>
                    <a:pt x="2559977" y="1600895"/>
                    <a:pt x="2556503" y="1602910"/>
                    <a:pt x="2553200" y="1606513"/>
                  </a:cubicBezTo>
                  <a:cubicBezTo>
                    <a:pt x="2540591" y="1620238"/>
                    <a:pt x="2533214" y="1598836"/>
                    <a:pt x="2550241" y="1591116"/>
                  </a:cubicBezTo>
                  <a:cubicBezTo>
                    <a:pt x="2552257" y="1590215"/>
                    <a:pt x="2554444" y="1589314"/>
                    <a:pt x="2556717" y="1588371"/>
                  </a:cubicBezTo>
                  <a:cubicBezTo>
                    <a:pt x="2556674" y="1588242"/>
                    <a:pt x="2556632" y="1588071"/>
                    <a:pt x="2556632" y="1587942"/>
                  </a:cubicBezTo>
                  <a:cubicBezTo>
                    <a:pt x="2552686" y="1583439"/>
                    <a:pt x="2549726" y="1577992"/>
                    <a:pt x="2547968" y="1572330"/>
                  </a:cubicBezTo>
                  <a:cubicBezTo>
                    <a:pt x="2545695" y="1565039"/>
                    <a:pt x="2546553" y="1555947"/>
                    <a:pt x="2549341" y="1548484"/>
                  </a:cubicBezTo>
                  <a:cubicBezTo>
                    <a:pt x="2538961" y="1546511"/>
                    <a:pt x="2531456" y="1540506"/>
                    <a:pt x="2526909" y="1532615"/>
                  </a:cubicBezTo>
                  <a:cubicBezTo>
                    <a:pt x="2492641" y="1540549"/>
                    <a:pt x="2453183" y="1559120"/>
                    <a:pt x="2438429" y="1568856"/>
                  </a:cubicBezTo>
                  <a:cubicBezTo>
                    <a:pt x="2412524" y="1586012"/>
                    <a:pt x="2379928" y="1640824"/>
                    <a:pt x="2365860" y="1640824"/>
                  </a:cubicBezTo>
                  <a:cubicBezTo>
                    <a:pt x="2351792" y="1640824"/>
                    <a:pt x="2390307" y="1611703"/>
                    <a:pt x="2396226" y="1600551"/>
                  </a:cubicBezTo>
                  <a:cubicBezTo>
                    <a:pt x="2402144" y="1589400"/>
                    <a:pt x="2394767" y="1578249"/>
                    <a:pt x="2402916" y="1582581"/>
                  </a:cubicBezTo>
                  <a:cubicBezTo>
                    <a:pt x="2411065" y="1586870"/>
                    <a:pt x="2434011" y="1545739"/>
                    <a:pt x="2449580" y="1532014"/>
                  </a:cubicBezTo>
                  <a:cubicBezTo>
                    <a:pt x="2465149" y="1518333"/>
                    <a:pt x="2482176" y="1531157"/>
                    <a:pt x="2484406" y="1520005"/>
                  </a:cubicBezTo>
                  <a:cubicBezTo>
                    <a:pt x="2486636" y="1508854"/>
                    <a:pt x="2494056" y="1501177"/>
                    <a:pt x="2508853" y="1485737"/>
                  </a:cubicBezTo>
                  <a:cubicBezTo>
                    <a:pt x="2512241" y="1482220"/>
                    <a:pt x="2524122" y="1479646"/>
                    <a:pt x="2540634" y="1477759"/>
                  </a:cubicBezTo>
                  <a:cubicBezTo>
                    <a:pt x="2545180" y="1475486"/>
                    <a:pt x="2550541" y="1474157"/>
                    <a:pt x="2556717" y="1474157"/>
                  </a:cubicBezTo>
                  <a:cubicBezTo>
                    <a:pt x="2560406" y="1474157"/>
                    <a:pt x="2563794" y="1474671"/>
                    <a:pt x="2566925" y="1475529"/>
                  </a:cubicBezTo>
                  <a:cubicBezTo>
                    <a:pt x="2604539" y="1473170"/>
                    <a:pt x="2651975" y="1472870"/>
                    <a:pt x="2683798" y="1473127"/>
                  </a:cubicBezTo>
                  <a:cubicBezTo>
                    <a:pt x="2688388" y="1472270"/>
                    <a:pt x="2692977" y="1472355"/>
                    <a:pt x="2697480" y="1473256"/>
                  </a:cubicBezTo>
                  <a:cubicBezTo>
                    <a:pt x="2707602" y="1473428"/>
                    <a:pt x="2714893" y="1473599"/>
                    <a:pt x="2717724" y="1473728"/>
                  </a:cubicBezTo>
                  <a:cubicBezTo>
                    <a:pt x="2734751" y="1474586"/>
                    <a:pt x="2768076" y="1448037"/>
                    <a:pt x="2777726" y="1430881"/>
                  </a:cubicBezTo>
                  <a:cubicBezTo>
                    <a:pt x="2787376" y="1413769"/>
                    <a:pt x="2799943" y="1413769"/>
                    <a:pt x="2823660" y="1415484"/>
                  </a:cubicBezTo>
                  <a:cubicBezTo>
                    <a:pt x="2847335" y="1417200"/>
                    <a:pt x="2858486" y="1392367"/>
                    <a:pt x="2870324" y="1382931"/>
                  </a:cubicBezTo>
                  <a:cubicBezTo>
                    <a:pt x="2882119" y="1373624"/>
                    <a:pt x="2877658" y="1369378"/>
                    <a:pt x="2867279" y="1366805"/>
                  </a:cubicBezTo>
                  <a:close/>
                  <a:moveTo>
                    <a:pt x="795125" y="567520"/>
                  </a:moveTo>
                  <a:cubicBezTo>
                    <a:pt x="775696" y="595441"/>
                    <a:pt x="769220" y="599515"/>
                    <a:pt x="749190" y="595441"/>
                  </a:cubicBezTo>
                  <a:cubicBezTo>
                    <a:pt x="729161" y="591366"/>
                    <a:pt x="716809" y="602946"/>
                    <a:pt x="726802" y="611138"/>
                  </a:cubicBezTo>
                  <a:cubicBezTo>
                    <a:pt x="736838" y="619330"/>
                    <a:pt x="737396" y="626149"/>
                    <a:pt x="716809" y="631553"/>
                  </a:cubicBezTo>
                  <a:cubicBezTo>
                    <a:pt x="696179" y="637000"/>
                    <a:pt x="682626" y="655400"/>
                    <a:pt x="674391" y="653341"/>
                  </a:cubicBezTo>
                  <a:cubicBezTo>
                    <a:pt x="666157" y="651325"/>
                    <a:pt x="709732" y="615212"/>
                    <a:pt x="698538" y="605691"/>
                  </a:cubicBezTo>
                  <a:cubicBezTo>
                    <a:pt x="687344" y="596170"/>
                    <a:pt x="659680" y="622075"/>
                    <a:pt x="659080" y="633612"/>
                  </a:cubicBezTo>
                  <a:cubicBezTo>
                    <a:pt x="658480" y="645192"/>
                    <a:pt x="640209" y="645878"/>
                    <a:pt x="629057" y="645192"/>
                  </a:cubicBezTo>
                  <a:cubicBezTo>
                    <a:pt x="617863" y="644506"/>
                    <a:pt x="603152" y="632240"/>
                    <a:pt x="614303" y="630910"/>
                  </a:cubicBezTo>
                  <a:cubicBezTo>
                    <a:pt x="625498" y="629538"/>
                    <a:pt x="617820" y="615255"/>
                    <a:pt x="633175" y="608479"/>
                  </a:cubicBezTo>
                  <a:cubicBezTo>
                    <a:pt x="648486" y="601660"/>
                    <a:pt x="630215" y="591452"/>
                    <a:pt x="634933" y="583946"/>
                  </a:cubicBezTo>
                  <a:cubicBezTo>
                    <a:pt x="639651" y="576441"/>
                    <a:pt x="670874" y="591452"/>
                    <a:pt x="671475" y="577813"/>
                  </a:cubicBezTo>
                  <a:cubicBezTo>
                    <a:pt x="672075" y="564174"/>
                    <a:pt x="640252" y="552594"/>
                    <a:pt x="629658" y="560786"/>
                  </a:cubicBezTo>
                  <a:cubicBezTo>
                    <a:pt x="619064" y="568935"/>
                    <a:pt x="594317" y="588021"/>
                    <a:pt x="564895" y="573009"/>
                  </a:cubicBezTo>
                  <a:cubicBezTo>
                    <a:pt x="555631" y="568292"/>
                    <a:pt x="639094" y="558041"/>
                    <a:pt x="653247" y="543073"/>
                  </a:cubicBezTo>
                  <a:cubicBezTo>
                    <a:pt x="667400" y="528104"/>
                    <a:pt x="730962" y="511077"/>
                    <a:pt x="735680" y="524673"/>
                  </a:cubicBezTo>
                  <a:cubicBezTo>
                    <a:pt x="740398" y="538312"/>
                    <a:pt x="701540" y="547190"/>
                    <a:pt x="720369" y="559414"/>
                  </a:cubicBezTo>
                  <a:cubicBezTo>
                    <a:pt x="739197" y="571680"/>
                    <a:pt x="769863" y="563488"/>
                    <a:pt x="776897" y="550578"/>
                  </a:cubicBezTo>
                  <a:cubicBezTo>
                    <a:pt x="783931" y="537540"/>
                    <a:pt x="814554" y="539599"/>
                    <a:pt x="795125" y="567520"/>
                  </a:cubicBezTo>
                  <a:close/>
                  <a:moveTo>
                    <a:pt x="982422" y="842655"/>
                  </a:moveTo>
                  <a:cubicBezTo>
                    <a:pt x="959434" y="865815"/>
                    <a:pt x="961192" y="859682"/>
                    <a:pt x="941206" y="863756"/>
                  </a:cubicBezTo>
                  <a:cubicBezTo>
                    <a:pt x="921177" y="867831"/>
                    <a:pt x="937088" y="891034"/>
                    <a:pt x="912942" y="893050"/>
                  </a:cubicBezTo>
                  <a:cubicBezTo>
                    <a:pt x="888795" y="895108"/>
                    <a:pt x="830508" y="897853"/>
                    <a:pt x="822274" y="882156"/>
                  </a:cubicBezTo>
                  <a:cubicBezTo>
                    <a:pt x="819529" y="876923"/>
                    <a:pt x="854055" y="880783"/>
                    <a:pt x="856414" y="869203"/>
                  </a:cubicBezTo>
                  <a:cubicBezTo>
                    <a:pt x="858773" y="857623"/>
                    <a:pt x="868208" y="839223"/>
                    <a:pt x="882919" y="839223"/>
                  </a:cubicBezTo>
                  <a:cubicBezTo>
                    <a:pt x="897630" y="839223"/>
                    <a:pt x="896472" y="816792"/>
                    <a:pt x="872326" y="803153"/>
                  </a:cubicBezTo>
                  <a:cubicBezTo>
                    <a:pt x="848179" y="789558"/>
                    <a:pt x="907066" y="780679"/>
                    <a:pt x="920619" y="802467"/>
                  </a:cubicBezTo>
                  <a:cubicBezTo>
                    <a:pt x="934172" y="824298"/>
                    <a:pt x="958319" y="839953"/>
                    <a:pt x="971872" y="824298"/>
                  </a:cubicBezTo>
                  <a:cubicBezTo>
                    <a:pt x="985425" y="808600"/>
                    <a:pt x="1062583" y="765025"/>
                    <a:pt x="1062583" y="785483"/>
                  </a:cubicBezTo>
                  <a:cubicBezTo>
                    <a:pt x="1062497" y="805855"/>
                    <a:pt x="1005368" y="819494"/>
                    <a:pt x="982422" y="842655"/>
                  </a:cubicBezTo>
                  <a:close/>
                  <a:moveTo>
                    <a:pt x="1497866" y="1465279"/>
                  </a:moveTo>
                  <a:cubicBezTo>
                    <a:pt x="1481654" y="1467337"/>
                    <a:pt x="1499324" y="1415613"/>
                    <a:pt x="1469731" y="1396742"/>
                  </a:cubicBezTo>
                  <a:cubicBezTo>
                    <a:pt x="1434905" y="1374568"/>
                    <a:pt x="1419379" y="1333351"/>
                    <a:pt x="1419379" y="1311091"/>
                  </a:cubicBezTo>
                  <a:cubicBezTo>
                    <a:pt x="1419379" y="1288832"/>
                    <a:pt x="1448972" y="1278539"/>
                    <a:pt x="1460853" y="1295694"/>
                  </a:cubicBezTo>
                  <a:cubicBezTo>
                    <a:pt x="1472690" y="1312807"/>
                    <a:pt x="1490489" y="1383060"/>
                    <a:pt x="1500825" y="1405319"/>
                  </a:cubicBezTo>
                  <a:cubicBezTo>
                    <a:pt x="1511162" y="1427579"/>
                    <a:pt x="1511162" y="1463563"/>
                    <a:pt x="1497866" y="1465279"/>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70" name="Freeform: Shape 227">
              <a:extLst>
                <a:ext uri="{FF2B5EF4-FFF2-40B4-BE49-F238E27FC236}">
                  <a16:creationId xmlns:a16="http://schemas.microsoft.com/office/drawing/2014/main" id="{BD20BEDB-A343-DF45-979F-D5DFED606D61}"/>
                </a:ext>
              </a:extLst>
            </p:cNvPr>
            <p:cNvSpPr/>
            <p:nvPr/>
          </p:nvSpPr>
          <p:spPr>
            <a:xfrm>
              <a:off x="3854833" y="1469465"/>
              <a:ext cx="180418" cy="118093"/>
            </a:xfrm>
            <a:custGeom>
              <a:avLst/>
              <a:gdLst>
                <a:gd name="connsiteX0" fmla="*/ 230401 w 235891"/>
                <a:gd name="connsiteY0" fmla="*/ 29099 h 154401"/>
                <a:gd name="connsiteX1" fmla="*/ 203724 w 235891"/>
                <a:gd name="connsiteY1" fmla="*/ 11986 h 154401"/>
                <a:gd name="connsiteX2" fmla="*/ 182966 w 235891"/>
                <a:gd name="connsiteY2" fmla="*/ 27383 h 154401"/>
                <a:gd name="connsiteX3" fmla="*/ 138533 w 235891"/>
                <a:gd name="connsiteY3" fmla="*/ 22237 h 154401"/>
                <a:gd name="connsiteX4" fmla="*/ 78916 w 235891"/>
                <a:gd name="connsiteY4" fmla="*/ 57535 h 154401"/>
                <a:gd name="connsiteX5" fmla="*/ 79474 w 235891"/>
                <a:gd name="connsiteY5" fmla="*/ 63453 h 154401"/>
                <a:gd name="connsiteX6" fmla="*/ 43061 w 235891"/>
                <a:gd name="connsiteY6" fmla="*/ 100981 h 154401"/>
                <a:gd name="connsiteX7" fmla="*/ 18657 w 235891"/>
                <a:gd name="connsiteY7" fmla="*/ 98794 h 154401"/>
                <a:gd name="connsiteX8" fmla="*/ 6433 w 235891"/>
                <a:gd name="connsiteY8" fmla="*/ 139153 h 154401"/>
                <a:gd name="connsiteX9" fmla="*/ 21488 w 235891"/>
                <a:gd name="connsiteY9" fmla="*/ 138767 h 154401"/>
                <a:gd name="connsiteX10" fmla="*/ 48165 w 235891"/>
                <a:gd name="connsiteY10" fmla="*/ 119938 h 154401"/>
                <a:gd name="connsiteX11" fmla="*/ 71883 w 235891"/>
                <a:gd name="connsiteY11" fmla="*/ 150776 h 154401"/>
                <a:gd name="connsiteX12" fmla="*/ 100018 w 235891"/>
                <a:gd name="connsiteY12" fmla="*/ 121654 h 154401"/>
                <a:gd name="connsiteX13" fmla="*/ 122235 w 235891"/>
                <a:gd name="connsiteY13" fmla="*/ 104541 h 154401"/>
                <a:gd name="connsiteX14" fmla="*/ 141492 w 235891"/>
                <a:gd name="connsiteY14" fmla="*/ 68557 h 154401"/>
                <a:gd name="connsiteX15" fmla="*/ 151871 w 235891"/>
                <a:gd name="connsiteY15" fmla="*/ 102826 h 154401"/>
                <a:gd name="connsiteX16" fmla="*/ 182966 w 235891"/>
                <a:gd name="connsiteY16" fmla="*/ 94248 h 154401"/>
                <a:gd name="connsiteX17" fmla="*/ 209600 w 235891"/>
                <a:gd name="connsiteY17" fmla="*/ 78851 h 154401"/>
                <a:gd name="connsiteX18" fmla="*/ 209600 w 235891"/>
                <a:gd name="connsiteY18" fmla="*/ 49729 h 154401"/>
                <a:gd name="connsiteX19" fmla="*/ 230401 w 235891"/>
                <a:gd name="connsiteY19" fmla="*/ 29099 h 15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5891" h="154401">
                  <a:moveTo>
                    <a:pt x="230401" y="29099"/>
                  </a:moveTo>
                  <a:cubicBezTo>
                    <a:pt x="239279" y="18805"/>
                    <a:pt x="218564" y="27383"/>
                    <a:pt x="203724" y="11986"/>
                  </a:cubicBezTo>
                  <a:cubicBezTo>
                    <a:pt x="188927" y="-3454"/>
                    <a:pt x="182966" y="17133"/>
                    <a:pt x="182966" y="27383"/>
                  </a:cubicBezTo>
                  <a:cubicBezTo>
                    <a:pt x="182966" y="37677"/>
                    <a:pt x="154830" y="29099"/>
                    <a:pt x="138533" y="22237"/>
                  </a:cubicBezTo>
                  <a:cubicBezTo>
                    <a:pt x="122492" y="15503"/>
                    <a:pt x="102162" y="43553"/>
                    <a:pt x="78916" y="57535"/>
                  </a:cubicBezTo>
                  <a:cubicBezTo>
                    <a:pt x="79217" y="59465"/>
                    <a:pt x="79474" y="61352"/>
                    <a:pt x="79474" y="63453"/>
                  </a:cubicBezTo>
                  <a:cubicBezTo>
                    <a:pt x="79474" y="81896"/>
                    <a:pt x="62618" y="103512"/>
                    <a:pt x="43061" y="100981"/>
                  </a:cubicBezTo>
                  <a:cubicBezTo>
                    <a:pt x="34912" y="99909"/>
                    <a:pt x="26806" y="99223"/>
                    <a:pt x="18657" y="98794"/>
                  </a:cubicBezTo>
                  <a:cubicBezTo>
                    <a:pt x="17928" y="113891"/>
                    <a:pt x="13725" y="127444"/>
                    <a:pt x="6433" y="139153"/>
                  </a:cubicBezTo>
                  <a:cubicBezTo>
                    <a:pt x="11923" y="136537"/>
                    <a:pt x="15269" y="136365"/>
                    <a:pt x="21488" y="138767"/>
                  </a:cubicBezTo>
                  <a:cubicBezTo>
                    <a:pt x="37485" y="144943"/>
                    <a:pt x="40745" y="128473"/>
                    <a:pt x="48165" y="119938"/>
                  </a:cubicBezTo>
                  <a:cubicBezTo>
                    <a:pt x="55542" y="111361"/>
                    <a:pt x="52625" y="150776"/>
                    <a:pt x="71883" y="150776"/>
                  </a:cubicBezTo>
                  <a:cubicBezTo>
                    <a:pt x="88181" y="150776"/>
                    <a:pt x="85221" y="109645"/>
                    <a:pt x="100018" y="121654"/>
                  </a:cubicBezTo>
                  <a:cubicBezTo>
                    <a:pt x="114815" y="133620"/>
                    <a:pt x="119275" y="116507"/>
                    <a:pt x="122235" y="104541"/>
                  </a:cubicBezTo>
                  <a:cubicBezTo>
                    <a:pt x="125194" y="92532"/>
                    <a:pt x="125194" y="71988"/>
                    <a:pt x="141492" y="68557"/>
                  </a:cubicBezTo>
                  <a:cubicBezTo>
                    <a:pt x="157790" y="65126"/>
                    <a:pt x="144451" y="87386"/>
                    <a:pt x="151871" y="102826"/>
                  </a:cubicBezTo>
                  <a:cubicBezTo>
                    <a:pt x="162636" y="125300"/>
                    <a:pt x="181508" y="104541"/>
                    <a:pt x="182966" y="94248"/>
                  </a:cubicBezTo>
                  <a:cubicBezTo>
                    <a:pt x="184467" y="83997"/>
                    <a:pt x="211101" y="90860"/>
                    <a:pt x="209600" y="78851"/>
                  </a:cubicBezTo>
                  <a:cubicBezTo>
                    <a:pt x="208142" y="66842"/>
                    <a:pt x="217020" y="63410"/>
                    <a:pt x="209600" y="49729"/>
                  </a:cubicBezTo>
                  <a:cubicBezTo>
                    <a:pt x="202266" y="35961"/>
                    <a:pt x="221523" y="39350"/>
                    <a:pt x="230401" y="29099"/>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71" name="Freeform: Shape 231">
              <a:extLst>
                <a:ext uri="{FF2B5EF4-FFF2-40B4-BE49-F238E27FC236}">
                  <a16:creationId xmlns:a16="http://schemas.microsoft.com/office/drawing/2014/main" id="{323BB424-3C9B-EF17-58A4-1736D12EDFC3}"/>
                </a:ext>
              </a:extLst>
            </p:cNvPr>
            <p:cNvSpPr/>
            <p:nvPr/>
          </p:nvSpPr>
          <p:spPr>
            <a:xfrm>
              <a:off x="4271876" y="1454109"/>
              <a:ext cx="49205" cy="52485"/>
            </a:xfrm>
            <a:custGeom>
              <a:avLst/>
              <a:gdLst>
                <a:gd name="connsiteX0" fmla="*/ 56939 w 64333"/>
                <a:gd name="connsiteY0" fmla="*/ 59425 h 68622"/>
                <a:gd name="connsiteX1" fmla="*/ 6587 w 64333"/>
                <a:gd name="connsiteY1" fmla="*/ 13190 h 68622"/>
                <a:gd name="connsiteX2" fmla="*/ 56939 w 64333"/>
                <a:gd name="connsiteY2" fmla="*/ 59425 h 68622"/>
              </a:gdLst>
              <a:ahLst/>
              <a:cxnLst>
                <a:cxn ang="0">
                  <a:pos x="connsiteX0" y="connsiteY0"/>
                </a:cxn>
                <a:cxn ang="0">
                  <a:pos x="connsiteX1" y="connsiteY1"/>
                </a:cxn>
                <a:cxn ang="0">
                  <a:pos x="connsiteX2" y="connsiteY2"/>
                </a:cxn>
              </a:cxnLst>
              <a:rect l="l" t="t" r="r" b="b"/>
              <a:pathLst>
                <a:path w="64333" h="68622">
                  <a:moveTo>
                    <a:pt x="56939" y="59425"/>
                  </a:moveTo>
                  <a:cubicBezTo>
                    <a:pt x="68776" y="42312"/>
                    <a:pt x="9546" y="-12543"/>
                    <a:pt x="6587" y="13190"/>
                  </a:cubicBezTo>
                  <a:cubicBezTo>
                    <a:pt x="3627" y="38881"/>
                    <a:pt x="44329" y="77653"/>
                    <a:pt x="56939" y="5942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72" name="Freeform: Shape 232">
              <a:extLst>
                <a:ext uri="{FF2B5EF4-FFF2-40B4-BE49-F238E27FC236}">
                  <a16:creationId xmlns:a16="http://schemas.microsoft.com/office/drawing/2014/main" id="{6A22FD02-8107-8B2A-CEC7-E2238152C841}"/>
                </a:ext>
              </a:extLst>
            </p:cNvPr>
            <p:cNvSpPr/>
            <p:nvPr/>
          </p:nvSpPr>
          <p:spPr>
            <a:xfrm>
              <a:off x="3978022" y="1520521"/>
              <a:ext cx="311632" cy="154176"/>
            </a:xfrm>
            <a:custGeom>
              <a:avLst/>
              <a:gdLst>
                <a:gd name="connsiteX0" fmla="*/ 389289 w 407448"/>
                <a:gd name="connsiteY0" fmla="*/ 65106 h 201579"/>
                <a:gd name="connsiteX1" fmla="*/ 352276 w 407448"/>
                <a:gd name="connsiteY1" fmla="*/ 80503 h 201579"/>
                <a:gd name="connsiteX2" fmla="*/ 313761 w 407448"/>
                <a:gd name="connsiteY2" fmla="*/ 44519 h 201579"/>
                <a:gd name="connsiteX3" fmla="*/ 307928 w 407448"/>
                <a:gd name="connsiteY3" fmla="*/ 33625 h 201579"/>
                <a:gd name="connsiteX4" fmla="*/ 293346 w 407448"/>
                <a:gd name="connsiteY4" fmla="*/ 23160 h 201579"/>
                <a:gd name="connsiteX5" fmla="*/ 282409 w 407448"/>
                <a:gd name="connsiteY5" fmla="*/ 8149 h 201579"/>
                <a:gd name="connsiteX6" fmla="*/ 281251 w 407448"/>
                <a:gd name="connsiteY6" fmla="*/ 6433 h 201579"/>
                <a:gd name="connsiteX7" fmla="*/ 254488 w 407448"/>
                <a:gd name="connsiteY7" fmla="*/ 46192 h 201579"/>
                <a:gd name="connsiteX8" fmla="*/ 257448 w 407448"/>
                <a:gd name="connsiteY8" fmla="*/ 71882 h 201579"/>
                <a:gd name="connsiteX9" fmla="*/ 282624 w 407448"/>
                <a:gd name="connsiteY9" fmla="*/ 101004 h 201579"/>
                <a:gd name="connsiteX10" fmla="*/ 205595 w 407448"/>
                <a:gd name="connsiteY10" fmla="*/ 85607 h 201579"/>
                <a:gd name="connsiteX11" fmla="*/ 127107 w 407448"/>
                <a:gd name="connsiteY11" fmla="*/ 44476 h 201579"/>
                <a:gd name="connsiteX12" fmla="*/ 91552 w 407448"/>
                <a:gd name="connsiteY12" fmla="*/ 22217 h 201579"/>
                <a:gd name="connsiteX13" fmla="*/ 55997 w 407448"/>
                <a:gd name="connsiteY13" fmla="*/ 46192 h 201579"/>
                <a:gd name="connsiteX14" fmla="*/ 60457 w 407448"/>
                <a:gd name="connsiteY14" fmla="*/ 71882 h 201579"/>
                <a:gd name="connsiteX15" fmla="*/ 57498 w 407448"/>
                <a:gd name="connsiteY15" fmla="*/ 78745 h 201579"/>
                <a:gd name="connsiteX16" fmla="*/ 32322 w 407448"/>
                <a:gd name="connsiteY16" fmla="*/ 104435 h 201579"/>
                <a:gd name="connsiteX17" fmla="*/ 66376 w 407448"/>
                <a:gd name="connsiteY17" fmla="*/ 104435 h 201579"/>
                <a:gd name="connsiteX18" fmla="*/ 7103 w 407448"/>
                <a:gd name="connsiteY18" fmla="*/ 126695 h 201579"/>
                <a:gd name="connsiteX19" fmla="*/ 50078 w 407448"/>
                <a:gd name="connsiteY19" fmla="*/ 140420 h 201579"/>
                <a:gd name="connsiteX20" fmla="*/ 96012 w 407448"/>
                <a:gd name="connsiteY20" fmla="*/ 135273 h 201579"/>
                <a:gd name="connsiteX21" fmla="*/ 122689 w 407448"/>
                <a:gd name="connsiteY21" fmla="*/ 123264 h 201579"/>
                <a:gd name="connsiteX22" fmla="*/ 186380 w 407448"/>
                <a:gd name="connsiteY22" fmla="*/ 128411 h 201579"/>
                <a:gd name="connsiteX23" fmla="*/ 137486 w 407448"/>
                <a:gd name="connsiteY23" fmla="*/ 159248 h 201579"/>
                <a:gd name="connsiteX24" fmla="*/ 135985 w 407448"/>
                <a:gd name="connsiteY24" fmla="*/ 195232 h 201579"/>
                <a:gd name="connsiteX25" fmla="*/ 254488 w 407448"/>
                <a:gd name="connsiteY25" fmla="*/ 152386 h 201579"/>
                <a:gd name="connsiteX26" fmla="*/ 301881 w 407448"/>
                <a:gd name="connsiteY26" fmla="*/ 148955 h 201579"/>
                <a:gd name="connsiteX27" fmla="*/ 377409 w 407448"/>
                <a:gd name="connsiteY27" fmla="*/ 143808 h 201579"/>
                <a:gd name="connsiteX28" fmla="*/ 389289 w 407448"/>
                <a:gd name="connsiteY28" fmla="*/ 65106 h 201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7448" h="201579">
                  <a:moveTo>
                    <a:pt x="389289" y="65106"/>
                  </a:moveTo>
                  <a:cubicBezTo>
                    <a:pt x="368574" y="54813"/>
                    <a:pt x="368574" y="77115"/>
                    <a:pt x="352276" y="80503"/>
                  </a:cubicBezTo>
                  <a:cubicBezTo>
                    <a:pt x="335978" y="83934"/>
                    <a:pt x="327100" y="59959"/>
                    <a:pt x="313761" y="44519"/>
                  </a:cubicBezTo>
                  <a:cubicBezTo>
                    <a:pt x="311016" y="41345"/>
                    <a:pt x="309215" y="37571"/>
                    <a:pt x="307928" y="33625"/>
                  </a:cubicBezTo>
                  <a:cubicBezTo>
                    <a:pt x="302567" y="31953"/>
                    <a:pt x="297549" y="28607"/>
                    <a:pt x="293346" y="23160"/>
                  </a:cubicBezTo>
                  <a:cubicBezTo>
                    <a:pt x="289572" y="18271"/>
                    <a:pt x="286184" y="12995"/>
                    <a:pt x="282409" y="8149"/>
                  </a:cubicBezTo>
                  <a:cubicBezTo>
                    <a:pt x="281980" y="7591"/>
                    <a:pt x="281637" y="7034"/>
                    <a:pt x="281251" y="6433"/>
                  </a:cubicBezTo>
                  <a:cubicBezTo>
                    <a:pt x="260879" y="15998"/>
                    <a:pt x="232743" y="43232"/>
                    <a:pt x="254488" y="46192"/>
                  </a:cubicBezTo>
                  <a:cubicBezTo>
                    <a:pt x="279664" y="49623"/>
                    <a:pt x="270786" y="65020"/>
                    <a:pt x="257448" y="71882"/>
                  </a:cubicBezTo>
                  <a:cubicBezTo>
                    <a:pt x="244109" y="78745"/>
                    <a:pt x="288542" y="90711"/>
                    <a:pt x="282624" y="101004"/>
                  </a:cubicBezTo>
                  <a:cubicBezTo>
                    <a:pt x="276705" y="111298"/>
                    <a:pt x="208554" y="102720"/>
                    <a:pt x="205595" y="85607"/>
                  </a:cubicBezTo>
                  <a:cubicBezTo>
                    <a:pt x="202635" y="68494"/>
                    <a:pt x="149324" y="37614"/>
                    <a:pt x="127107" y="44476"/>
                  </a:cubicBezTo>
                  <a:cubicBezTo>
                    <a:pt x="104890" y="51339"/>
                    <a:pt x="113769" y="23932"/>
                    <a:pt x="91552" y="22217"/>
                  </a:cubicBezTo>
                  <a:cubicBezTo>
                    <a:pt x="69335" y="20501"/>
                    <a:pt x="76755" y="44476"/>
                    <a:pt x="55997" y="46192"/>
                  </a:cubicBezTo>
                  <a:cubicBezTo>
                    <a:pt x="35281" y="47907"/>
                    <a:pt x="36739" y="71882"/>
                    <a:pt x="60457" y="71882"/>
                  </a:cubicBezTo>
                  <a:cubicBezTo>
                    <a:pt x="84132" y="71882"/>
                    <a:pt x="91552" y="80460"/>
                    <a:pt x="57498" y="78745"/>
                  </a:cubicBezTo>
                  <a:cubicBezTo>
                    <a:pt x="23444" y="77029"/>
                    <a:pt x="8604" y="111298"/>
                    <a:pt x="32322" y="104435"/>
                  </a:cubicBezTo>
                  <a:cubicBezTo>
                    <a:pt x="55997" y="97573"/>
                    <a:pt x="84175" y="97573"/>
                    <a:pt x="66376" y="104435"/>
                  </a:cubicBezTo>
                  <a:cubicBezTo>
                    <a:pt x="48577" y="111298"/>
                    <a:pt x="198" y="116016"/>
                    <a:pt x="7103" y="126695"/>
                  </a:cubicBezTo>
                  <a:cubicBezTo>
                    <a:pt x="11563" y="133557"/>
                    <a:pt x="30821" y="131842"/>
                    <a:pt x="50078" y="140420"/>
                  </a:cubicBezTo>
                  <a:cubicBezTo>
                    <a:pt x="69335" y="148997"/>
                    <a:pt x="81173" y="154101"/>
                    <a:pt x="96012" y="135273"/>
                  </a:cubicBezTo>
                  <a:cubicBezTo>
                    <a:pt x="110809" y="116444"/>
                    <a:pt x="130066" y="97573"/>
                    <a:pt x="122689" y="123264"/>
                  </a:cubicBezTo>
                  <a:cubicBezTo>
                    <a:pt x="115270" y="148955"/>
                    <a:pt x="146407" y="130126"/>
                    <a:pt x="186380" y="128411"/>
                  </a:cubicBezTo>
                  <a:cubicBezTo>
                    <a:pt x="226396" y="126695"/>
                    <a:pt x="178960" y="155817"/>
                    <a:pt x="137486" y="159248"/>
                  </a:cubicBezTo>
                  <a:cubicBezTo>
                    <a:pt x="96012" y="162679"/>
                    <a:pt x="103432" y="186654"/>
                    <a:pt x="135985" y="195232"/>
                  </a:cubicBezTo>
                  <a:cubicBezTo>
                    <a:pt x="168581" y="203810"/>
                    <a:pt x="238190" y="171257"/>
                    <a:pt x="254488" y="152386"/>
                  </a:cubicBezTo>
                  <a:cubicBezTo>
                    <a:pt x="270786" y="133557"/>
                    <a:pt x="285583" y="162679"/>
                    <a:pt x="301881" y="148955"/>
                  </a:cubicBezTo>
                  <a:cubicBezTo>
                    <a:pt x="318179" y="135273"/>
                    <a:pt x="349274" y="150670"/>
                    <a:pt x="377409" y="143808"/>
                  </a:cubicBezTo>
                  <a:cubicBezTo>
                    <a:pt x="405587" y="137074"/>
                    <a:pt x="410048" y="75399"/>
                    <a:pt x="389289" y="6510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73" name="Freeform: Shape 233">
              <a:extLst>
                <a:ext uri="{FF2B5EF4-FFF2-40B4-BE49-F238E27FC236}">
                  <a16:creationId xmlns:a16="http://schemas.microsoft.com/office/drawing/2014/main" id="{DC62061D-5763-5144-8446-E28DE182933A}"/>
                </a:ext>
              </a:extLst>
            </p:cNvPr>
            <p:cNvSpPr/>
            <p:nvPr/>
          </p:nvSpPr>
          <p:spPr>
            <a:xfrm>
              <a:off x="4040654" y="1444727"/>
              <a:ext cx="42644" cy="26242"/>
            </a:xfrm>
            <a:custGeom>
              <a:avLst/>
              <a:gdLst>
                <a:gd name="connsiteX0" fmla="*/ 51137 w 55756"/>
                <a:gd name="connsiteY0" fmla="*/ 22026 h 34311"/>
                <a:gd name="connsiteX1" fmla="*/ 6704 w 55756"/>
                <a:gd name="connsiteY1" fmla="*/ 11733 h 34311"/>
                <a:gd name="connsiteX2" fmla="*/ 51137 w 55756"/>
                <a:gd name="connsiteY2" fmla="*/ 22026 h 34311"/>
              </a:gdLst>
              <a:ahLst/>
              <a:cxnLst>
                <a:cxn ang="0">
                  <a:pos x="connsiteX0" y="connsiteY0"/>
                </a:cxn>
                <a:cxn ang="0">
                  <a:pos x="connsiteX1" y="connsiteY1"/>
                </a:cxn>
                <a:cxn ang="0">
                  <a:pos x="connsiteX2" y="connsiteY2"/>
                </a:cxn>
              </a:cxnLst>
              <a:rect l="l" t="t" r="r" b="b"/>
              <a:pathLst>
                <a:path w="55756" h="34311">
                  <a:moveTo>
                    <a:pt x="51137" y="22026"/>
                  </a:moveTo>
                  <a:cubicBezTo>
                    <a:pt x="58514" y="1482"/>
                    <a:pt x="2072" y="4870"/>
                    <a:pt x="6704" y="11733"/>
                  </a:cubicBezTo>
                  <a:cubicBezTo>
                    <a:pt x="17083" y="27173"/>
                    <a:pt x="43718" y="42570"/>
                    <a:pt x="51137" y="2202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74" name="Freeform: Shape 234">
              <a:extLst>
                <a:ext uri="{FF2B5EF4-FFF2-40B4-BE49-F238E27FC236}">
                  <a16:creationId xmlns:a16="http://schemas.microsoft.com/office/drawing/2014/main" id="{96E85C87-47DD-F2EE-FAB6-27011D8EB90A}"/>
                </a:ext>
              </a:extLst>
            </p:cNvPr>
            <p:cNvSpPr/>
            <p:nvPr/>
          </p:nvSpPr>
          <p:spPr>
            <a:xfrm>
              <a:off x="4088459" y="1437585"/>
              <a:ext cx="95130" cy="59046"/>
            </a:xfrm>
            <a:custGeom>
              <a:avLst/>
              <a:gdLst>
                <a:gd name="connsiteX0" fmla="*/ 111598 w 124378"/>
                <a:gd name="connsiteY0" fmla="*/ 22788 h 77200"/>
                <a:gd name="connsiteX1" fmla="*/ 90882 w 124378"/>
                <a:gd name="connsiteY1" fmla="*/ 7391 h 77200"/>
                <a:gd name="connsiteX2" fmla="*/ 6433 w 124378"/>
                <a:gd name="connsiteY2" fmla="*/ 38228 h 77200"/>
                <a:gd name="connsiteX3" fmla="*/ 50867 w 124378"/>
                <a:gd name="connsiteY3" fmla="*/ 72497 h 77200"/>
                <a:gd name="connsiteX4" fmla="*/ 98259 w 124378"/>
                <a:gd name="connsiteY4" fmla="*/ 38228 h 77200"/>
                <a:gd name="connsiteX5" fmla="*/ 111598 w 124378"/>
                <a:gd name="connsiteY5" fmla="*/ 22788 h 7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378" h="77200">
                  <a:moveTo>
                    <a:pt x="111598" y="22788"/>
                  </a:moveTo>
                  <a:cubicBezTo>
                    <a:pt x="130855" y="19357"/>
                    <a:pt x="121977" y="2244"/>
                    <a:pt x="90882" y="7391"/>
                  </a:cubicBezTo>
                  <a:cubicBezTo>
                    <a:pt x="59788" y="12538"/>
                    <a:pt x="6433" y="12495"/>
                    <a:pt x="6433" y="38228"/>
                  </a:cubicBezTo>
                  <a:cubicBezTo>
                    <a:pt x="6433" y="58772"/>
                    <a:pt x="16813" y="69066"/>
                    <a:pt x="50867" y="72497"/>
                  </a:cubicBezTo>
                  <a:cubicBezTo>
                    <a:pt x="84921" y="75928"/>
                    <a:pt x="114557" y="38228"/>
                    <a:pt x="98259" y="38228"/>
                  </a:cubicBezTo>
                  <a:cubicBezTo>
                    <a:pt x="81962" y="38228"/>
                    <a:pt x="92341" y="26219"/>
                    <a:pt x="111598" y="2278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75" name="Freeform: Shape 235">
              <a:extLst>
                <a:ext uri="{FF2B5EF4-FFF2-40B4-BE49-F238E27FC236}">
                  <a16:creationId xmlns:a16="http://schemas.microsoft.com/office/drawing/2014/main" id="{810E2764-0953-0CBF-0B3F-50ABF0C0B2A3}"/>
                </a:ext>
              </a:extLst>
            </p:cNvPr>
            <p:cNvSpPr/>
            <p:nvPr/>
          </p:nvSpPr>
          <p:spPr>
            <a:xfrm>
              <a:off x="4080179" y="1396885"/>
              <a:ext cx="114812" cy="39364"/>
            </a:xfrm>
            <a:custGeom>
              <a:avLst/>
              <a:gdLst>
                <a:gd name="connsiteX0" fmla="*/ 120149 w 150112"/>
                <a:gd name="connsiteY0" fmla="*/ 6433 h 51467"/>
                <a:gd name="connsiteX1" fmla="*/ 98276 w 150112"/>
                <a:gd name="connsiteY1" fmla="*/ 21874 h 51467"/>
                <a:gd name="connsiteX2" fmla="*/ 55944 w 150112"/>
                <a:gd name="connsiteY2" fmla="*/ 15612 h 51467"/>
                <a:gd name="connsiteX3" fmla="*/ 9838 w 150112"/>
                <a:gd name="connsiteY3" fmla="*/ 40059 h 51467"/>
                <a:gd name="connsiteX4" fmla="*/ 49811 w 150112"/>
                <a:gd name="connsiteY4" fmla="*/ 43490 h 51467"/>
                <a:gd name="connsiteX5" fmla="*/ 89784 w 150112"/>
                <a:gd name="connsiteY5" fmla="*/ 38343 h 51467"/>
                <a:gd name="connsiteX6" fmla="*/ 146097 w 150112"/>
                <a:gd name="connsiteY6" fmla="*/ 29765 h 51467"/>
                <a:gd name="connsiteX7" fmla="*/ 120149 w 150112"/>
                <a:gd name="connsiteY7" fmla="*/ 6433 h 51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112" h="51467">
                  <a:moveTo>
                    <a:pt x="120149" y="6433"/>
                  </a:moveTo>
                  <a:cubicBezTo>
                    <a:pt x="113244" y="12223"/>
                    <a:pt x="106124" y="17713"/>
                    <a:pt x="98276" y="21874"/>
                  </a:cubicBezTo>
                  <a:cubicBezTo>
                    <a:pt x="81935" y="30623"/>
                    <a:pt x="66323" y="25905"/>
                    <a:pt x="55944" y="15612"/>
                  </a:cubicBezTo>
                  <a:cubicBezTo>
                    <a:pt x="31368" y="21874"/>
                    <a:pt x="-4873" y="26977"/>
                    <a:pt x="9838" y="40059"/>
                  </a:cubicBezTo>
                  <a:cubicBezTo>
                    <a:pt x="21633" y="50566"/>
                    <a:pt x="35014" y="36627"/>
                    <a:pt x="49811" y="43490"/>
                  </a:cubicBezTo>
                  <a:cubicBezTo>
                    <a:pt x="64608" y="50352"/>
                    <a:pt x="79447" y="28092"/>
                    <a:pt x="89784" y="38343"/>
                  </a:cubicBezTo>
                  <a:cubicBezTo>
                    <a:pt x="100163" y="48636"/>
                    <a:pt x="146097" y="57171"/>
                    <a:pt x="146097" y="29765"/>
                  </a:cubicBezTo>
                  <a:cubicBezTo>
                    <a:pt x="146097" y="17413"/>
                    <a:pt x="134389" y="9993"/>
                    <a:pt x="120149" y="6433"/>
                  </a:cubicBezTo>
                  <a:close/>
                </a:path>
              </a:pathLst>
            </a:custGeom>
            <a:grpFill/>
            <a:ln w="1905" cap="flat">
              <a:solidFill>
                <a:schemeClr val="bg1"/>
              </a:solidFill>
              <a:prstDash val="solid"/>
              <a:miter/>
            </a:ln>
          </p:spPr>
          <p:txBody>
            <a:bodyPr rtlCol="0" anchor="ctr"/>
            <a:lstStyle/>
            <a:p>
              <a:endParaRPr lang="en-US" dirty="0">
                <a:sym typeface="+mn-lt"/>
              </a:endParaRPr>
            </a:p>
          </p:txBody>
        </p:sp>
      </p:grpSp>
      <p:grpSp>
        <p:nvGrpSpPr>
          <p:cNvPr id="76" name="Group 17">
            <a:extLst>
              <a:ext uri="{FF2B5EF4-FFF2-40B4-BE49-F238E27FC236}">
                <a16:creationId xmlns:a16="http://schemas.microsoft.com/office/drawing/2014/main" id="{78B199FB-3780-3D11-6AAE-042467B6E20B}"/>
              </a:ext>
            </a:extLst>
          </p:cNvPr>
          <p:cNvGrpSpPr/>
          <p:nvPr/>
        </p:nvGrpSpPr>
        <p:grpSpPr>
          <a:xfrm>
            <a:off x="4280171" y="1049658"/>
            <a:ext cx="2415009" cy="1358060"/>
            <a:chOff x="4280171" y="1049658"/>
            <a:chExt cx="2415009" cy="1358060"/>
          </a:xfrm>
          <a:solidFill>
            <a:schemeClr val="accent6">
              <a:alpha val="50000"/>
            </a:schemeClr>
          </a:solidFill>
        </p:grpSpPr>
        <p:sp>
          <p:nvSpPr>
            <p:cNvPr id="77" name="Freeform: Shape 203">
              <a:extLst>
                <a:ext uri="{FF2B5EF4-FFF2-40B4-BE49-F238E27FC236}">
                  <a16:creationId xmlns:a16="http://schemas.microsoft.com/office/drawing/2014/main" id="{313A73B1-C2FC-66E1-ADC5-2C33CA6E6F03}"/>
                </a:ext>
              </a:extLst>
            </p:cNvPr>
            <p:cNvSpPr/>
            <p:nvPr/>
          </p:nvSpPr>
          <p:spPr>
            <a:xfrm>
              <a:off x="5123898" y="1049658"/>
              <a:ext cx="1571282" cy="1358060"/>
            </a:xfrm>
            <a:custGeom>
              <a:avLst/>
              <a:gdLst>
                <a:gd name="connsiteX0" fmla="*/ 1937139 w 2054397"/>
                <a:gd name="connsiteY0" fmla="*/ 167401 h 1775617"/>
                <a:gd name="connsiteX1" fmla="*/ 1868987 w 2054397"/>
                <a:gd name="connsiteY1" fmla="*/ 203943 h 1775617"/>
                <a:gd name="connsiteX2" fmla="*/ 1800836 w 2054397"/>
                <a:gd name="connsiteY2" fmla="*/ 208532 h 1775617"/>
                <a:gd name="connsiteX3" fmla="*/ 1771200 w 2054397"/>
                <a:gd name="connsiteY3" fmla="*/ 195965 h 1775617"/>
                <a:gd name="connsiteX4" fmla="*/ 1706008 w 2054397"/>
                <a:gd name="connsiteY4" fmla="*/ 246232 h 1775617"/>
                <a:gd name="connsiteX5" fmla="*/ 1649737 w 2054397"/>
                <a:gd name="connsiteY5" fmla="*/ 288478 h 1775617"/>
                <a:gd name="connsiteX6" fmla="*/ 1705022 w 2054397"/>
                <a:gd name="connsiteY6" fmla="*/ 208532 h 1775617"/>
                <a:gd name="connsiteX7" fmla="*/ 1684306 w 2054397"/>
                <a:gd name="connsiteY7" fmla="*/ 152561 h 1775617"/>
                <a:gd name="connsiteX8" fmla="*/ 1641846 w 2054397"/>
                <a:gd name="connsiteY8" fmla="*/ 183399 h 1775617"/>
                <a:gd name="connsiteX9" fmla="*/ 1535180 w 2054397"/>
                <a:gd name="connsiteY9" fmla="*/ 222214 h 1775617"/>
                <a:gd name="connsiteX10" fmla="*/ 1604318 w 2054397"/>
                <a:gd name="connsiteY10" fmla="*/ 171947 h 1775617"/>
                <a:gd name="connsiteX11" fmla="*/ 1469045 w 2054397"/>
                <a:gd name="connsiteY11" fmla="*/ 167401 h 1775617"/>
                <a:gd name="connsiteX12" fmla="*/ 1353501 w 2054397"/>
                <a:gd name="connsiteY12" fmla="*/ 187945 h 1775617"/>
                <a:gd name="connsiteX13" fmla="*/ 1481868 w 2054397"/>
                <a:gd name="connsiteY13" fmla="*/ 149087 h 1775617"/>
                <a:gd name="connsiteX14" fmla="*/ 1638886 w 2054397"/>
                <a:gd name="connsiteY14" fmla="*/ 136521 h 1775617"/>
                <a:gd name="connsiteX15" fmla="*/ 1731699 w 2054397"/>
                <a:gd name="connsiteY15" fmla="*/ 106798 h 1775617"/>
                <a:gd name="connsiteX16" fmla="*/ 1669509 w 2054397"/>
                <a:gd name="connsiteY16" fmla="*/ 78234 h 1775617"/>
                <a:gd name="connsiteX17" fmla="*/ 1624047 w 2054397"/>
                <a:gd name="connsiteY17" fmla="*/ 62236 h 1775617"/>
                <a:gd name="connsiteX18" fmla="*/ 1583559 w 2054397"/>
                <a:gd name="connsiteY18" fmla="*/ 34830 h 1775617"/>
                <a:gd name="connsiteX19" fmla="*/ 1489717 w 2054397"/>
                <a:gd name="connsiteY19" fmla="*/ 21106 h 1775617"/>
                <a:gd name="connsiteX20" fmla="*/ 1388027 w 2054397"/>
                <a:gd name="connsiteY20" fmla="*/ 7424 h 1775617"/>
                <a:gd name="connsiteX21" fmla="*/ 1248808 w 2054397"/>
                <a:gd name="connsiteY21" fmla="*/ 12013 h 1775617"/>
                <a:gd name="connsiteX22" fmla="*/ 1201415 w 2054397"/>
                <a:gd name="connsiteY22" fmla="*/ 21149 h 1775617"/>
                <a:gd name="connsiteX23" fmla="*/ 1168819 w 2054397"/>
                <a:gd name="connsiteY23" fmla="*/ 39462 h 1775617"/>
                <a:gd name="connsiteX24" fmla="*/ 1145102 w 2054397"/>
                <a:gd name="connsiteY24" fmla="*/ 54302 h 1775617"/>
                <a:gd name="connsiteX25" fmla="*/ 1093763 w 2054397"/>
                <a:gd name="connsiteY25" fmla="*/ 41735 h 1775617"/>
                <a:gd name="connsiteX26" fmla="*/ 1002924 w 2054397"/>
                <a:gd name="connsiteY26" fmla="*/ 41735 h 1775617"/>
                <a:gd name="connsiteX27" fmla="*/ 892312 w 2054397"/>
                <a:gd name="connsiteY27" fmla="*/ 56575 h 1775617"/>
                <a:gd name="connsiteX28" fmla="*/ 925894 w 2054397"/>
                <a:gd name="connsiteY28" fmla="*/ 92002 h 1775617"/>
                <a:gd name="connsiteX29" fmla="*/ 866621 w 2054397"/>
                <a:gd name="connsiteY29" fmla="*/ 112546 h 1775617"/>
                <a:gd name="connsiteX30" fmla="*/ 951542 w 2054397"/>
                <a:gd name="connsiteY30" fmla="*/ 174220 h 1775617"/>
                <a:gd name="connsiteX31" fmla="*/ 908095 w 2054397"/>
                <a:gd name="connsiteY31" fmla="*/ 165085 h 1775617"/>
                <a:gd name="connsiteX32" fmla="*/ 834026 w 2054397"/>
                <a:gd name="connsiteY32" fmla="*/ 133132 h 1775617"/>
                <a:gd name="connsiteX33" fmla="*/ 744172 w 2054397"/>
                <a:gd name="connsiteY33" fmla="*/ 110272 h 1775617"/>
                <a:gd name="connsiteX34" fmla="*/ 784660 w 2054397"/>
                <a:gd name="connsiteY34" fmla="*/ 163970 h 1775617"/>
                <a:gd name="connsiteX35" fmla="*/ 738254 w 2054397"/>
                <a:gd name="connsiteY35" fmla="*/ 166243 h 1775617"/>
                <a:gd name="connsiteX36" fmla="*/ 677051 w 2054397"/>
                <a:gd name="connsiteY36" fmla="*/ 127385 h 1775617"/>
                <a:gd name="connsiteX37" fmla="*/ 674091 w 2054397"/>
                <a:gd name="connsiteY37" fmla="*/ 176494 h 1775617"/>
                <a:gd name="connsiteX38" fmla="*/ 646428 w 2054397"/>
                <a:gd name="connsiteY38" fmla="*/ 202742 h 1775617"/>
                <a:gd name="connsiteX39" fmla="*/ 628672 w 2054397"/>
                <a:gd name="connsiteY39" fmla="*/ 123954 h 1775617"/>
                <a:gd name="connsiteX40" fmla="*/ 526938 w 2054397"/>
                <a:gd name="connsiteY40" fmla="*/ 142225 h 1775617"/>
                <a:gd name="connsiteX41" fmla="*/ 486451 w 2054397"/>
                <a:gd name="connsiteY41" fmla="*/ 167358 h 1775617"/>
                <a:gd name="connsiteX42" fmla="*/ 464706 w 2054397"/>
                <a:gd name="connsiteY42" fmla="*/ 175336 h 1775617"/>
                <a:gd name="connsiteX43" fmla="*/ 389650 w 2054397"/>
                <a:gd name="connsiteY43" fmla="*/ 186744 h 1775617"/>
                <a:gd name="connsiteX44" fmla="*/ 399514 w 2054397"/>
                <a:gd name="connsiteY44" fmla="*/ 244988 h 1775617"/>
                <a:gd name="connsiteX45" fmla="*/ 335309 w 2054397"/>
                <a:gd name="connsiteY45" fmla="*/ 233536 h 1775617"/>
                <a:gd name="connsiteX46" fmla="*/ 184210 w 2054397"/>
                <a:gd name="connsiteY46" fmla="*/ 328365 h 1775617"/>
                <a:gd name="connsiteX47" fmla="*/ 266171 w 2054397"/>
                <a:gd name="connsiteY47" fmla="*/ 343161 h 1775617"/>
                <a:gd name="connsiteX48" fmla="*/ 238508 w 2054397"/>
                <a:gd name="connsiteY48" fmla="*/ 414015 h 1775617"/>
                <a:gd name="connsiteX49" fmla="*/ 133815 w 2054397"/>
                <a:gd name="connsiteY49" fmla="*/ 435717 h 1775617"/>
                <a:gd name="connsiteX50" fmla="*/ 6433 w 2054397"/>
                <a:gd name="connsiteY50" fmla="*/ 492845 h 1775617"/>
                <a:gd name="connsiteX51" fmla="*/ 26163 w 2054397"/>
                <a:gd name="connsiteY51" fmla="*/ 521367 h 1775617"/>
                <a:gd name="connsiteX52" fmla="*/ 81490 w 2054397"/>
                <a:gd name="connsiteY52" fmla="*/ 539637 h 1775617"/>
                <a:gd name="connsiteX53" fmla="*/ 172329 w 2054397"/>
                <a:gd name="connsiteY53" fmla="*/ 547615 h 1775617"/>
                <a:gd name="connsiteX54" fmla="*/ 224654 w 2054397"/>
                <a:gd name="connsiteY54" fmla="*/ 570432 h 1775617"/>
                <a:gd name="connsiteX55" fmla="*/ 134801 w 2054397"/>
                <a:gd name="connsiteY55" fmla="*/ 577294 h 1775617"/>
                <a:gd name="connsiteX56" fmla="*/ 52797 w 2054397"/>
                <a:gd name="connsiteY56" fmla="*/ 595565 h 1775617"/>
                <a:gd name="connsiteX57" fmla="*/ 113056 w 2054397"/>
                <a:gd name="connsiteY57" fmla="*/ 613836 h 1775617"/>
                <a:gd name="connsiteX58" fmla="*/ 114043 w 2054397"/>
                <a:gd name="connsiteY58" fmla="*/ 644673 h 1775617"/>
                <a:gd name="connsiteX59" fmla="*/ 153544 w 2054397"/>
                <a:gd name="connsiteY59" fmla="*/ 669806 h 1775617"/>
                <a:gd name="connsiteX60" fmla="*/ 207842 w 2054397"/>
                <a:gd name="connsiteY60" fmla="*/ 676669 h 1775617"/>
                <a:gd name="connsiteX61" fmla="*/ 241424 w 2054397"/>
                <a:gd name="connsiteY61" fmla="*/ 672080 h 1775617"/>
                <a:gd name="connsiteX62" fmla="*/ 285857 w 2054397"/>
                <a:gd name="connsiteY62" fmla="*/ 662944 h 1775617"/>
                <a:gd name="connsiteX63" fmla="*/ 326345 w 2054397"/>
                <a:gd name="connsiteY63" fmla="*/ 653809 h 1775617"/>
                <a:gd name="connsiteX64" fmla="*/ 433997 w 2054397"/>
                <a:gd name="connsiteY64" fmla="*/ 686919 h 1775617"/>
                <a:gd name="connsiteX65" fmla="*/ 487308 w 2054397"/>
                <a:gd name="connsiteY65" fmla="*/ 726892 h 1775617"/>
                <a:gd name="connsiteX66" fmla="*/ 533715 w 2054397"/>
                <a:gd name="connsiteY66" fmla="*/ 778273 h 1775617"/>
                <a:gd name="connsiteX67" fmla="*/ 564338 w 2054397"/>
                <a:gd name="connsiteY67" fmla="*/ 841106 h 1775617"/>
                <a:gd name="connsiteX68" fmla="*/ 588055 w 2054397"/>
                <a:gd name="connsiteY68" fmla="*/ 883352 h 1775617"/>
                <a:gd name="connsiteX69" fmla="*/ 604825 w 2054397"/>
                <a:gd name="connsiteY69" fmla="*/ 923325 h 1775617"/>
                <a:gd name="connsiteX70" fmla="*/ 588055 w 2054397"/>
                <a:gd name="connsiteY70" fmla="*/ 971275 h 1775617"/>
                <a:gd name="connsiteX71" fmla="*/ 603839 w 2054397"/>
                <a:gd name="connsiteY71" fmla="*/ 1023815 h 1775617"/>
                <a:gd name="connsiteX72" fmla="*/ 654191 w 2054397"/>
                <a:gd name="connsiteY72" fmla="*/ 998682 h 1775617"/>
                <a:gd name="connsiteX73" fmla="*/ 666028 w 2054397"/>
                <a:gd name="connsiteY73" fmla="*/ 1037539 h 1775617"/>
                <a:gd name="connsiteX74" fmla="*/ 730233 w 2054397"/>
                <a:gd name="connsiteY74" fmla="*/ 1072923 h 1775617"/>
                <a:gd name="connsiteX75" fmla="*/ 716423 w 2054397"/>
                <a:gd name="connsiteY75" fmla="*/ 1088921 h 1775617"/>
                <a:gd name="connsiteX76" fmla="*/ 627556 w 2054397"/>
                <a:gd name="connsiteY76" fmla="*/ 1080900 h 1775617"/>
                <a:gd name="connsiteX77" fmla="*/ 717410 w 2054397"/>
                <a:gd name="connsiteY77" fmla="*/ 1128894 h 1775617"/>
                <a:gd name="connsiteX78" fmla="*/ 747003 w 2054397"/>
                <a:gd name="connsiteY78" fmla="*/ 1168866 h 1775617"/>
                <a:gd name="connsiteX79" fmla="*/ 740098 w 2054397"/>
                <a:gd name="connsiteY79" fmla="*/ 1222564 h 1775617"/>
                <a:gd name="connsiteX80" fmla="*/ 697638 w 2054397"/>
                <a:gd name="connsiteY80" fmla="*/ 1224837 h 1775617"/>
                <a:gd name="connsiteX81" fmla="*/ 670960 w 2054397"/>
                <a:gd name="connsiteY81" fmla="*/ 1252243 h 1775617"/>
                <a:gd name="connsiteX82" fmla="*/ 643297 w 2054397"/>
                <a:gd name="connsiteY82" fmla="*/ 1309372 h 1775617"/>
                <a:gd name="connsiteX83" fmla="*/ 675893 w 2054397"/>
                <a:gd name="connsiteY83" fmla="*/ 1342482 h 1775617"/>
                <a:gd name="connsiteX84" fmla="*/ 650245 w 2054397"/>
                <a:gd name="connsiteY84" fmla="*/ 1376751 h 1775617"/>
                <a:gd name="connsiteX85" fmla="*/ 696651 w 2054397"/>
                <a:gd name="connsiteY85" fmla="*/ 1432678 h 1775617"/>
                <a:gd name="connsiteX86" fmla="*/ 702570 w 2054397"/>
                <a:gd name="connsiteY86" fmla="*/ 1498943 h 1775617"/>
                <a:gd name="connsiteX87" fmla="*/ 722299 w 2054397"/>
                <a:gd name="connsiteY87" fmla="*/ 1519487 h 1775617"/>
                <a:gd name="connsiteX88" fmla="*/ 739112 w 2054397"/>
                <a:gd name="connsiteY88" fmla="*/ 1558344 h 1775617"/>
                <a:gd name="connsiteX89" fmla="*/ 764802 w 2054397"/>
                <a:gd name="connsiteY89" fmla="*/ 1591455 h 1775617"/>
                <a:gd name="connsiteX90" fmla="*/ 780585 w 2054397"/>
                <a:gd name="connsiteY90" fmla="*/ 1638290 h 1775617"/>
                <a:gd name="connsiteX91" fmla="*/ 818114 w 2054397"/>
                <a:gd name="connsiteY91" fmla="*/ 1684010 h 1775617"/>
                <a:gd name="connsiteX92" fmla="*/ 855642 w 2054397"/>
                <a:gd name="connsiteY92" fmla="*/ 1712574 h 1775617"/>
                <a:gd name="connsiteX93" fmla="*/ 888238 w 2054397"/>
                <a:gd name="connsiteY93" fmla="*/ 1723983 h 1775617"/>
                <a:gd name="connsiteX94" fmla="*/ 927739 w 2054397"/>
                <a:gd name="connsiteY94" fmla="*/ 1743412 h 1775617"/>
                <a:gd name="connsiteX95" fmla="*/ 985982 w 2054397"/>
                <a:gd name="connsiteY95" fmla="*/ 1769660 h 1775617"/>
                <a:gd name="connsiteX96" fmla="*/ 1010687 w 2054397"/>
                <a:gd name="connsiteY96" fmla="*/ 1739980 h 1775617"/>
                <a:gd name="connsiteX97" fmla="*/ 1027456 w 2054397"/>
                <a:gd name="connsiteY97" fmla="*/ 1679464 h 1775617"/>
                <a:gd name="connsiteX98" fmla="*/ 1024497 w 2054397"/>
                <a:gd name="connsiteY98" fmla="*/ 1618947 h 1775617"/>
                <a:gd name="connsiteX99" fmla="*/ 1041310 w 2054397"/>
                <a:gd name="connsiteY99" fmla="*/ 1599518 h 1775617"/>
                <a:gd name="connsiteX100" fmla="*/ 1066957 w 2054397"/>
                <a:gd name="connsiteY100" fmla="*/ 1573227 h 1775617"/>
                <a:gd name="connsiteX101" fmla="*/ 1080768 w 2054397"/>
                <a:gd name="connsiteY101" fmla="*/ 1543547 h 1775617"/>
                <a:gd name="connsiteX102" fmla="*/ 1081754 w 2054397"/>
                <a:gd name="connsiteY102" fmla="*/ 1516141 h 1775617"/>
                <a:gd name="connsiteX103" fmla="*/ 1094578 w 2054397"/>
                <a:gd name="connsiteY103" fmla="*/ 1497870 h 1775617"/>
                <a:gd name="connsiteX104" fmla="*/ 1087673 w 2054397"/>
                <a:gd name="connsiteY104" fmla="*/ 1469306 h 1775617"/>
                <a:gd name="connsiteX105" fmla="*/ 1092605 w 2054397"/>
                <a:gd name="connsiteY105" fmla="*/ 1454466 h 1775617"/>
                <a:gd name="connsiteX106" fmla="*/ 1111391 w 2054397"/>
                <a:gd name="connsiteY106" fmla="*/ 1444173 h 1775617"/>
                <a:gd name="connsiteX107" fmla="*/ 1143000 w 2054397"/>
                <a:gd name="connsiteY107" fmla="*/ 1421356 h 1775617"/>
                <a:gd name="connsiteX108" fmla="*/ 1170664 w 2054397"/>
                <a:gd name="connsiteY108" fmla="*/ 1388202 h 1775617"/>
                <a:gd name="connsiteX109" fmla="*/ 1187434 w 2054397"/>
                <a:gd name="connsiteY109" fmla="*/ 1387087 h 1775617"/>
                <a:gd name="connsiteX110" fmla="*/ 1194339 w 2054397"/>
                <a:gd name="connsiteY110" fmla="*/ 1407631 h 1775617"/>
                <a:gd name="connsiteX111" fmla="*/ 1256571 w 2054397"/>
                <a:gd name="connsiteY111" fmla="*/ 1392749 h 1775617"/>
                <a:gd name="connsiteX112" fmla="*/ 1330641 w 2054397"/>
                <a:gd name="connsiteY112" fmla="*/ 1318550 h 1775617"/>
                <a:gd name="connsiteX113" fmla="*/ 1372115 w 2054397"/>
                <a:gd name="connsiteY113" fmla="*/ 1270600 h 1775617"/>
                <a:gd name="connsiteX114" fmla="*/ 1403681 w 2054397"/>
                <a:gd name="connsiteY114" fmla="*/ 1255760 h 1775617"/>
                <a:gd name="connsiteX115" fmla="*/ 1436277 w 2054397"/>
                <a:gd name="connsiteY115" fmla="*/ 1246625 h 1775617"/>
                <a:gd name="connsiteX116" fmla="*/ 1485686 w 2054397"/>
                <a:gd name="connsiteY116" fmla="*/ 1234058 h 1775617"/>
                <a:gd name="connsiteX117" fmla="*/ 1605175 w 2054397"/>
                <a:gd name="connsiteY117" fmla="*/ 1196359 h 1775617"/>
                <a:gd name="connsiteX118" fmla="*/ 1699961 w 2054397"/>
                <a:gd name="connsiteY118" fmla="*/ 1139230 h 1775617"/>
                <a:gd name="connsiteX119" fmla="*/ 1712827 w 2054397"/>
                <a:gd name="connsiteY119" fmla="*/ 1119844 h 1775617"/>
                <a:gd name="connsiteX120" fmla="*/ 1653555 w 2054397"/>
                <a:gd name="connsiteY120" fmla="*/ 1123275 h 1775617"/>
                <a:gd name="connsiteX121" fmla="*/ 1579485 w 2054397"/>
                <a:gd name="connsiteY121" fmla="*/ 1112982 h 1775617"/>
                <a:gd name="connsiteX122" fmla="*/ 1589349 w 2054397"/>
                <a:gd name="connsiteY122" fmla="*/ 1087848 h 1775617"/>
                <a:gd name="connsiteX123" fmla="*/ 1595268 w 2054397"/>
                <a:gd name="connsiteY123" fmla="*/ 1051307 h 1775617"/>
                <a:gd name="connsiteX124" fmla="*/ 1642660 w 2054397"/>
                <a:gd name="connsiteY124" fmla="*/ 1069578 h 1775617"/>
                <a:gd name="connsiteX125" fmla="*/ 1715701 w 2054397"/>
                <a:gd name="connsiteY125" fmla="*/ 1098142 h 1775617"/>
                <a:gd name="connsiteX126" fmla="*/ 1727581 w 2054397"/>
                <a:gd name="connsiteY126" fmla="*/ 1046760 h 1775617"/>
                <a:gd name="connsiteX127" fmla="*/ 1640645 w 2054397"/>
                <a:gd name="connsiteY127" fmla="*/ 957679 h 1775617"/>
                <a:gd name="connsiteX128" fmla="*/ 1690053 w 2054397"/>
                <a:gd name="connsiteY128" fmla="*/ 964542 h 1775617"/>
                <a:gd name="connsiteX129" fmla="*/ 1721663 w 2054397"/>
                <a:gd name="connsiteY129" fmla="*/ 924569 h 1775617"/>
                <a:gd name="connsiteX130" fmla="*/ 1641674 w 2054397"/>
                <a:gd name="connsiteY130" fmla="*/ 923411 h 1775617"/>
                <a:gd name="connsiteX131" fmla="*/ 1626877 w 2054397"/>
                <a:gd name="connsiteY131" fmla="*/ 898278 h 1775617"/>
                <a:gd name="connsiteX132" fmla="*/ 1639744 w 2054397"/>
                <a:gd name="connsiteY132" fmla="*/ 866325 h 1775617"/>
                <a:gd name="connsiteX133" fmla="*/ 1713814 w 2054397"/>
                <a:gd name="connsiteY133" fmla="*/ 891415 h 1775617"/>
                <a:gd name="connsiteX134" fmla="*/ 1770084 w 2054397"/>
                <a:gd name="connsiteY134" fmla="*/ 875418 h 1775617"/>
                <a:gd name="connsiteX135" fmla="*/ 1725651 w 2054397"/>
                <a:gd name="connsiteY135" fmla="*/ 827468 h 1775617"/>
                <a:gd name="connsiteX136" fmla="*/ 1799721 w 2054397"/>
                <a:gd name="connsiteY136" fmla="*/ 819447 h 1775617"/>
                <a:gd name="connsiteX137" fmla="*/ 1808599 w 2054397"/>
                <a:gd name="connsiteY137" fmla="*/ 793199 h 1775617"/>
                <a:gd name="connsiteX138" fmla="*/ 1748340 w 2054397"/>
                <a:gd name="connsiteY138" fmla="*/ 749838 h 1775617"/>
                <a:gd name="connsiteX139" fmla="*/ 1806583 w 2054397"/>
                <a:gd name="connsiteY139" fmla="*/ 738386 h 1775617"/>
                <a:gd name="connsiteX140" fmla="*/ 1790800 w 2054397"/>
                <a:gd name="connsiteY140" fmla="*/ 667619 h 1775617"/>
                <a:gd name="connsiteX141" fmla="*/ 1731570 w 2054397"/>
                <a:gd name="connsiteY141" fmla="*/ 650506 h 1775617"/>
                <a:gd name="connsiteX142" fmla="*/ 1706866 w 2054397"/>
                <a:gd name="connsiteY142" fmla="*/ 620827 h 1775617"/>
                <a:gd name="connsiteX143" fmla="*/ 1752286 w 2054397"/>
                <a:gd name="connsiteY143" fmla="*/ 613965 h 1775617"/>
                <a:gd name="connsiteX144" fmla="*/ 1843125 w 2054397"/>
                <a:gd name="connsiteY144" fmla="*/ 613965 h 1775617"/>
                <a:gd name="connsiteX145" fmla="*/ 1822367 w 2054397"/>
                <a:gd name="connsiteY145" fmla="*/ 572834 h 1775617"/>
                <a:gd name="connsiteX146" fmla="*/ 1767082 w 2054397"/>
                <a:gd name="connsiteY146" fmla="*/ 559109 h 1775617"/>
                <a:gd name="connsiteX147" fmla="*/ 1812502 w 2054397"/>
                <a:gd name="connsiteY147" fmla="*/ 547701 h 1775617"/>
                <a:gd name="connsiteX148" fmla="*/ 1745338 w 2054397"/>
                <a:gd name="connsiteY148" fmla="*/ 530588 h 1775617"/>
                <a:gd name="connsiteX149" fmla="*/ 1718660 w 2054397"/>
                <a:gd name="connsiteY149" fmla="*/ 532861 h 1775617"/>
                <a:gd name="connsiteX150" fmla="*/ 1739376 w 2054397"/>
                <a:gd name="connsiteY150" fmla="*/ 460893 h 1775617"/>
                <a:gd name="connsiteX151" fmla="*/ 1798606 w 2054397"/>
                <a:gd name="connsiteY151" fmla="*/ 408353 h 1775617"/>
                <a:gd name="connsiteX152" fmla="*/ 1853933 w 2054397"/>
                <a:gd name="connsiteY152" fmla="*/ 369538 h 1775617"/>
                <a:gd name="connsiteX153" fmla="*/ 1831202 w 2054397"/>
                <a:gd name="connsiteY153" fmla="*/ 338701 h 1775617"/>
                <a:gd name="connsiteX154" fmla="*/ 1775918 w 2054397"/>
                <a:gd name="connsiteY154" fmla="*/ 359245 h 1775617"/>
                <a:gd name="connsiteX155" fmla="*/ 1821337 w 2054397"/>
                <a:gd name="connsiteY155" fmla="*/ 327249 h 1775617"/>
                <a:gd name="connsiteX156" fmla="*/ 1905272 w 2054397"/>
                <a:gd name="connsiteY156" fmla="*/ 313568 h 1775617"/>
                <a:gd name="connsiteX157" fmla="*/ 1844068 w 2054397"/>
                <a:gd name="connsiteY157" fmla="*/ 296412 h 1775617"/>
                <a:gd name="connsiteX158" fmla="*/ 1859895 w 2054397"/>
                <a:gd name="connsiteY158" fmla="*/ 283846 h 1775617"/>
                <a:gd name="connsiteX159" fmla="*/ 1932978 w 2054397"/>
                <a:gd name="connsiteY159" fmla="*/ 266733 h 1775617"/>
                <a:gd name="connsiteX160" fmla="*/ 1976425 w 2054397"/>
                <a:gd name="connsiteY160" fmla="*/ 245031 h 1775617"/>
                <a:gd name="connsiteX161" fmla="*/ 2051482 w 2054397"/>
                <a:gd name="connsiteY161" fmla="*/ 205058 h 1775617"/>
                <a:gd name="connsiteX162" fmla="*/ 1937139 w 2054397"/>
                <a:gd name="connsiteY162" fmla="*/ 167401 h 1775617"/>
                <a:gd name="connsiteX163" fmla="*/ 706687 w 2054397"/>
                <a:gd name="connsiteY163" fmla="*/ 1162133 h 1775617"/>
                <a:gd name="connsiteX164" fmla="*/ 680010 w 2054397"/>
                <a:gd name="connsiteY164" fmla="*/ 1133611 h 1775617"/>
                <a:gd name="connsiteX165" fmla="*/ 614818 w 2054397"/>
                <a:gd name="connsiteY165" fmla="*/ 1119930 h 1775617"/>
                <a:gd name="connsiteX166" fmla="*/ 609886 w 2054397"/>
                <a:gd name="connsiteY166" fmla="*/ 1153040 h 1775617"/>
                <a:gd name="connsiteX167" fmla="*/ 646428 w 2054397"/>
                <a:gd name="connsiteY167" fmla="*/ 1178173 h 1775617"/>
                <a:gd name="connsiteX168" fmla="*/ 706687 w 2054397"/>
                <a:gd name="connsiteY168" fmla="*/ 1162133 h 1775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2054397" h="1775617">
                  <a:moveTo>
                    <a:pt x="1937139" y="167401"/>
                  </a:moveTo>
                  <a:cubicBezTo>
                    <a:pt x="1900597" y="167401"/>
                    <a:pt x="1870960" y="174263"/>
                    <a:pt x="1868987" y="203943"/>
                  </a:cubicBezTo>
                  <a:cubicBezTo>
                    <a:pt x="1867015" y="233665"/>
                    <a:pt x="1820608" y="198238"/>
                    <a:pt x="1800836" y="208532"/>
                  </a:cubicBezTo>
                  <a:cubicBezTo>
                    <a:pt x="1781064" y="218825"/>
                    <a:pt x="1790929" y="184557"/>
                    <a:pt x="1771200" y="195965"/>
                  </a:cubicBezTo>
                  <a:cubicBezTo>
                    <a:pt x="1751428" y="207417"/>
                    <a:pt x="1729726" y="234823"/>
                    <a:pt x="1706008" y="246232"/>
                  </a:cubicBezTo>
                  <a:cubicBezTo>
                    <a:pt x="1682290" y="257640"/>
                    <a:pt x="1664534" y="286204"/>
                    <a:pt x="1649737" y="288478"/>
                  </a:cubicBezTo>
                  <a:cubicBezTo>
                    <a:pt x="1634941" y="290751"/>
                    <a:pt x="1681347" y="235938"/>
                    <a:pt x="1705022" y="208532"/>
                  </a:cubicBezTo>
                  <a:cubicBezTo>
                    <a:pt x="1728740" y="181126"/>
                    <a:pt x="1715873" y="149130"/>
                    <a:pt x="1684306" y="152561"/>
                  </a:cubicBezTo>
                  <a:cubicBezTo>
                    <a:pt x="1652696" y="155992"/>
                    <a:pt x="1659602" y="178810"/>
                    <a:pt x="1641846" y="183399"/>
                  </a:cubicBezTo>
                  <a:cubicBezTo>
                    <a:pt x="1624047" y="187988"/>
                    <a:pt x="1539169" y="237053"/>
                    <a:pt x="1535180" y="222214"/>
                  </a:cubicBezTo>
                  <a:cubicBezTo>
                    <a:pt x="1531234" y="207374"/>
                    <a:pt x="1605304" y="182241"/>
                    <a:pt x="1604318" y="171947"/>
                  </a:cubicBezTo>
                  <a:cubicBezTo>
                    <a:pt x="1603331" y="161654"/>
                    <a:pt x="1510519" y="160539"/>
                    <a:pt x="1469045" y="167401"/>
                  </a:cubicBezTo>
                  <a:cubicBezTo>
                    <a:pt x="1427570" y="174263"/>
                    <a:pt x="1354487" y="201670"/>
                    <a:pt x="1353501" y="187945"/>
                  </a:cubicBezTo>
                  <a:cubicBezTo>
                    <a:pt x="1352514" y="174220"/>
                    <a:pt x="1438422" y="154792"/>
                    <a:pt x="1481868" y="149087"/>
                  </a:cubicBezTo>
                  <a:cubicBezTo>
                    <a:pt x="1526302" y="143254"/>
                    <a:pt x="1605304" y="152518"/>
                    <a:pt x="1638886" y="136521"/>
                  </a:cubicBezTo>
                  <a:cubicBezTo>
                    <a:pt x="1672469" y="120523"/>
                    <a:pt x="1722821" y="119408"/>
                    <a:pt x="1731699" y="106798"/>
                  </a:cubicBezTo>
                  <a:cubicBezTo>
                    <a:pt x="1740577" y="94232"/>
                    <a:pt x="1693184" y="77119"/>
                    <a:pt x="1669509" y="78234"/>
                  </a:cubicBezTo>
                  <a:cubicBezTo>
                    <a:pt x="1645791" y="79349"/>
                    <a:pt x="1622116" y="75961"/>
                    <a:pt x="1624047" y="62236"/>
                  </a:cubicBezTo>
                  <a:cubicBezTo>
                    <a:pt x="1626019" y="48512"/>
                    <a:pt x="1587505" y="45124"/>
                    <a:pt x="1583559" y="34830"/>
                  </a:cubicBezTo>
                  <a:cubicBezTo>
                    <a:pt x="1579613" y="24537"/>
                    <a:pt x="1505543" y="32557"/>
                    <a:pt x="1489717" y="21106"/>
                  </a:cubicBezTo>
                  <a:cubicBezTo>
                    <a:pt x="1473934" y="9697"/>
                    <a:pt x="1427485" y="3993"/>
                    <a:pt x="1388027" y="7424"/>
                  </a:cubicBezTo>
                  <a:cubicBezTo>
                    <a:pt x="1348526" y="10855"/>
                    <a:pt x="1267551" y="9740"/>
                    <a:pt x="1248808" y="12013"/>
                  </a:cubicBezTo>
                  <a:cubicBezTo>
                    <a:pt x="1230023" y="14286"/>
                    <a:pt x="1218185" y="22307"/>
                    <a:pt x="1201415" y="21149"/>
                  </a:cubicBezTo>
                  <a:cubicBezTo>
                    <a:pt x="1184646" y="20033"/>
                    <a:pt x="1158955" y="26896"/>
                    <a:pt x="1168819" y="39462"/>
                  </a:cubicBezTo>
                  <a:cubicBezTo>
                    <a:pt x="1186704" y="62194"/>
                    <a:pt x="1142142" y="71415"/>
                    <a:pt x="1145102" y="54302"/>
                  </a:cubicBezTo>
                  <a:cubicBezTo>
                    <a:pt x="1148061" y="37189"/>
                    <a:pt x="1106587" y="29169"/>
                    <a:pt x="1093763" y="41735"/>
                  </a:cubicBezTo>
                  <a:cubicBezTo>
                    <a:pt x="1079138" y="56060"/>
                    <a:pt x="1012788" y="26896"/>
                    <a:pt x="1002924" y="41735"/>
                  </a:cubicBezTo>
                  <a:cubicBezTo>
                    <a:pt x="993016" y="56575"/>
                    <a:pt x="915044" y="52029"/>
                    <a:pt x="892312" y="56575"/>
                  </a:cubicBezTo>
                  <a:cubicBezTo>
                    <a:pt x="869624" y="61164"/>
                    <a:pt x="927867" y="80550"/>
                    <a:pt x="925894" y="92002"/>
                  </a:cubicBezTo>
                  <a:cubicBezTo>
                    <a:pt x="923922" y="103410"/>
                    <a:pt x="851825" y="92002"/>
                    <a:pt x="866621" y="112546"/>
                  </a:cubicBezTo>
                  <a:cubicBezTo>
                    <a:pt x="881461" y="133090"/>
                    <a:pt x="928854" y="147929"/>
                    <a:pt x="951542" y="174220"/>
                  </a:cubicBezTo>
                  <a:cubicBezTo>
                    <a:pt x="974231" y="200469"/>
                    <a:pt x="933786" y="184471"/>
                    <a:pt x="908095" y="165085"/>
                  </a:cubicBezTo>
                  <a:cubicBezTo>
                    <a:pt x="882405" y="145656"/>
                    <a:pt x="849809" y="152518"/>
                    <a:pt x="834026" y="133132"/>
                  </a:cubicBezTo>
                  <a:cubicBezTo>
                    <a:pt x="818199" y="113704"/>
                    <a:pt x="758969" y="98907"/>
                    <a:pt x="744172" y="110272"/>
                  </a:cubicBezTo>
                  <a:cubicBezTo>
                    <a:pt x="726545" y="123911"/>
                    <a:pt x="784660" y="149130"/>
                    <a:pt x="784660" y="163970"/>
                  </a:cubicBezTo>
                  <a:cubicBezTo>
                    <a:pt x="784660" y="178810"/>
                    <a:pt x="745159" y="160539"/>
                    <a:pt x="738254" y="166243"/>
                  </a:cubicBezTo>
                  <a:cubicBezTo>
                    <a:pt x="731349" y="171947"/>
                    <a:pt x="696780" y="127385"/>
                    <a:pt x="677051" y="127385"/>
                  </a:cubicBezTo>
                  <a:cubicBezTo>
                    <a:pt x="657279" y="127385"/>
                    <a:pt x="674091" y="147929"/>
                    <a:pt x="674091" y="176494"/>
                  </a:cubicBezTo>
                  <a:cubicBezTo>
                    <a:pt x="674091" y="205058"/>
                    <a:pt x="635577" y="222171"/>
                    <a:pt x="646428" y="202742"/>
                  </a:cubicBezTo>
                  <a:cubicBezTo>
                    <a:pt x="657279" y="183356"/>
                    <a:pt x="649387" y="133090"/>
                    <a:pt x="628672" y="123954"/>
                  </a:cubicBezTo>
                  <a:cubicBezTo>
                    <a:pt x="607913" y="114819"/>
                    <a:pt x="554602" y="143383"/>
                    <a:pt x="526938" y="142225"/>
                  </a:cubicBezTo>
                  <a:cubicBezTo>
                    <a:pt x="499317" y="141110"/>
                    <a:pt x="462733" y="151360"/>
                    <a:pt x="486451" y="167358"/>
                  </a:cubicBezTo>
                  <a:cubicBezTo>
                    <a:pt x="510168" y="183356"/>
                    <a:pt x="485464" y="192491"/>
                    <a:pt x="464706" y="175336"/>
                  </a:cubicBezTo>
                  <a:cubicBezTo>
                    <a:pt x="443990" y="158180"/>
                    <a:pt x="375839" y="175336"/>
                    <a:pt x="389650" y="186744"/>
                  </a:cubicBezTo>
                  <a:cubicBezTo>
                    <a:pt x="403460" y="198196"/>
                    <a:pt x="408392" y="231306"/>
                    <a:pt x="399514" y="244988"/>
                  </a:cubicBezTo>
                  <a:cubicBezTo>
                    <a:pt x="390636" y="258669"/>
                    <a:pt x="361986" y="231263"/>
                    <a:pt x="335309" y="233536"/>
                  </a:cubicBezTo>
                  <a:cubicBezTo>
                    <a:pt x="308632" y="235852"/>
                    <a:pt x="176318" y="308936"/>
                    <a:pt x="184210" y="328365"/>
                  </a:cubicBezTo>
                  <a:cubicBezTo>
                    <a:pt x="192101" y="347751"/>
                    <a:pt x="248415" y="331796"/>
                    <a:pt x="266171" y="343161"/>
                  </a:cubicBezTo>
                  <a:cubicBezTo>
                    <a:pt x="283927" y="354613"/>
                    <a:pt x="260252" y="396859"/>
                    <a:pt x="238508" y="414015"/>
                  </a:cubicBezTo>
                  <a:cubicBezTo>
                    <a:pt x="216763" y="431170"/>
                    <a:pt x="135788" y="415130"/>
                    <a:pt x="133815" y="435717"/>
                  </a:cubicBezTo>
                  <a:cubicBezTo>
                    <a:pt x="131842" y="456261"/>
                    <a:pt x="6433" y="459692"/>
                    <a:pt x="6433" y="492845"/>
                  </a:cubicBezTo>
                  <a:cubicBezTo>
                    <a:pt x="6433" y="505412"/>
                    <a:pt x="12352" y="517935"/>
                    <a:pt x="26163" y="521367"/>
                  </a:cubicBezTo>
                  <a:cubicBezTo>
                    <a:pt x="43919" y="525784"/>
                    <a:pt x="65664" y="519093"/>
                    <a:pt x="81490" y="539637"/>
                  </a:cubicBezTo>
                  <a:cubicBezTo>
                    <a:pt x="97316" y="560181"/>
                    <a:pt x="141706" y="561339"/>
                    <a:pt x="172329" y="547615"/>
                  </a:cubicBezTo>
                  <a:cubicBezTo>
                    <a:pt x="202952" y="533933"/>
                    <a:pt x="225641" y="549888"/>
                    <a:pt x="224654" y="570432"/>
                  </a:cubicBezTo>
                  <a:cubicBezTo>
                    <a:pt x="223668" y="590976"/>
                    <a:pt x="155560" y="562412"/>
                    <a:pt x="134801" y="577294"/>
                  </a:cubicBezTo>
                  <a:cubicBezTo>
                    <a:pt x="114043" y="592134"/>
                    <a:pt x="49880" y="579567"/>
                    <a:pt x="52797" y="595565"/>
                  </a:cubicBezTo>
                  <a:cubicBezTo>
                    <a:pt x="55756" y="611563"/>
                    <a:pt x="87365" y="608132"/>
                    <a:pt x="113056" y="613836"/>
                  </a:cubicBezTo>
                  <a:cubicBezTo>
                    <a:pt x="138704" y="619583"/>
                    <a:pt x="115029" y="632107"/>
                    <a:pt x="114043" y="644673"/>
                  </a:cubicBezTo>
                  <a:cubicBezTo>
                    <a:pt x="113056" y="657240"/>
                    <a:pt x="127853" y="654924"/>
                    <a:pt x="153544" y="669806"/>
                  </a:cubicBezTo>
                  <a:cubicBezTo>
                    <a:pt x="179235" y="684646"/>
                    <a:pt x="221695" y="693782"/>
                    <a:pt x="207842" y="676669"/>
                  </a:cubicBezTo>
                  <a:cubicBezTo>
                    <a:pt x="194031" y="659513"/>
                    <a:pt x="234519" y="661829"/>
                    <a:pt x="241424" y="672080"/>
                  </a:cubicBezTo>
                  <a:cubicBezTo>
                    <a:pt x="248329" y="682330"/>
                    <a:pt x="267072" y="657240"/>
                    <a:pt x="285857" y="662944"/>
                  </a:cubicBezTo>
                  <a:cubicBezTo>
                    <a:pt x="304643" y="668648"/>
                    <a:pt x="311548" y="642357"/>
                    <a:pt x="326345" y="653809"/>
                  </a:cubicBezTo>
                  <a:cubicBezTo>
                    <a:pt x="341142" y="665260"/>
                    <a:pt x="410279" y="672080"/>
                    <a:pt x="433997" y="686919"/>
                  </a:cubicBezTo>
                  <a:cubicBezTo>
                    <a:pt x="457715" y="701759"/>
                    <a:pt x="490268" y="705190"/>
                    <a:pt x="487308" y="726892"/>
                  </a:cubicBezTo>
                  <a:cubicBezTo>
                    <a:pt x="484349" y="748594"/>
                    <a:pt x="507038" y="764592"/>
                    <a:pt x="533715" y="778273"/>
                  </a:cubicBezTo>
                  <a:cubicBezTo>
                    <a:pt x="560392" y="791998"/>
                    <a:pt x="565324" y="821677"/>
                    <a:pt x="564338" y="841106"/>
                  </a:cubicBezTo>
                  <a:cubicBezTo>
                    <a:pt x="563351" y="860535"/>
                    <a:pt x="592988" y="874217"/>
                    <a:pt x="588055" y="883352"/>
                  </a:cubicBezTo>
                  <a:cubicBezTo>
                    <a:pt x="583123" y="892488"/>
                    <a:pt x="587069" y="905054"/>
                    <a:pt x="604825" y="923325"/>
                  </a:cubicBezTo>
                  <a:cubicBezTo>
                    <a:pt x="622581" y="941596"/>
                    <a:pt x="577161" y="955321"/>
                    <a:pt x="588055" y="971275"/>
                  </a:cubicBezTo>
                  <a:cubicBezTo>
                    <a:pt x="598906" y="987273"/>
                    <a:pt x="572272" y="1018068"/>
                    <a:pt x="603839" y="1023815"/>
                  </a:cubicBezTo>
                  <a:cubicBezTo>
                    <a:pt x="635448" y="1029519"/>
                    <a:pt x="630516" y="998682"/>
                    <a:pt x="654191" y="998682"/>
                  </a:cubicBezTo>
                  <a:cubicBezTo>
                    <a:pt x="677908" y="998682"/>
                    <a:pt x="653204" y="1022657"/>
                    <a:pt x="666028" y="1037539"/>
                  </a:cubicBezTo>
                  <a:cubicBezTo>
                    <a:pt x="678852" y="1052379"/>
                    <a:pt x="705529" y="1048948"/>
                    <a:pt x="730233" y="1072923"/>
                  </a:cubicBezTo>
                  <a:cubicBezTo>
                    <a:pt x="754895" y="1096898"/>
                    <a:pt x="739112" y="1108350"/>
                    <a:pt x="716423" y="1088921"/>
                  </a:cubicBezTo>
                  <a:cubicBezTo>
                    <a:pt x="693735" y="1069492"/>
                    <a:pt x="627556" y="1074081"/>
                    <a:pt x="627556" y="1080900"/>
                  </a:cubicBezTo>
                  <a:cubicBezTo>
                    <a:pt x="627556" y="1087763"/>
                    <a:pt x="700640" y="1135713"/>
                    <a:pt x="717410" y="1128894"/>
                  </a:cubicBezTo>
                  <a:cubicBezTo>
                    <a:pt x="734179" y="1122031"/>
                    <a:pt x="756911" y="1157458"/>
                    <a:pt x="747003" y="1168866"/>
                  </a:cubicBezTo>
                  <a:cubicBezTo>
                    <a:pt x="737096" y="1180275"/>
                    <a:pt x="742071" y="1208839"/>
                    <a:pt x="740098" y="1222564"/>
                  </a:cubicBezTo>
                  <a:cubicBezTo>
                    <a:pt x="738125" y="1236288"/>
                    <a:pt x="713421" y="1222564"/>
                    <a:pt x="697638" y="1224837"/>
                  </a:cubicBezTo>
                  <a:cubicBezTo>
                    <a:pt x="681811" y="1227110"/>
                    <a:pt x="670960" y="1232857"/>
                    <a:pt x="670960" y="1252243"/>
                  </a:cubicBezTo>
                  <a:cubicBezTo>
                    <a:pt x="670960" y="1271715"/>
                    <a:pt x="646256" y="1285354"/>
                    <a:pt x="643297" y="1309372"/>
                  </a:cubicBezTo>
                  <a:cubicBezTo>
                    <a:pt x="640338" y="1333347"/>
                    <a:pt x="663026" y="1332232"/>
                    <a:pt x="675893" y="1342482"/>
                  </a:cubicBezTo>
                  <a:cubicBezTo>
                    <a:pt x="688717" y="1352776"/>
                    <a:pt x="652218" y="1359638"/>
                    <a:pt x="650245" y="1376751"/>
                  </a:cubicBezTo>
                  <a:cubicBezTo>
                    <a:pt x="648272" y="1393864"/>
                    <a:pt x="683827" y="1424701"/>
                    <a:pt x="696651" y="1432678"/>
                  </a:cubicBezTo>
                  <a:cubicBezTo>
                    <a:pt x="709475" y="1440656"/>
                    <a:pt x="697638" y="1479514"/>
                    <a:pt x="702570" y="1498943"/>
                  </a:cubicBezTo>
                  <a:cubicBezTo>
                    <a:pt x="707502" y="1518371"/>
                    <a:pt x="724315" y="1494353"/>
                    <a:pt x="722299" y="1519487"/>
                  </a:cubicBezTo>
                  <a:cubicBezTo>
                    <a:pt x="720326" y="1544620"/>
                    <a:pt x="738082" y="1543462"/>
                    <a:pt x="739112" y="1558344"/>
                  </a:cubicBezTo>
                  <a:cubicBezTo>
                    <a:pt x="740098" y="1573184"/>
                    <a:pt x="770721" y="1570911"/>
                    <a:pt x="764802" y="1591455"/>
                  </a:cubicBezTo>
                  <a:cubicBezTo>
                    <a:pt x="758883" y="1612042"/>
                    <a:pt x="773680" y="1626881"/>
                    <a:pt x="780585" y="1638290"/>
                  </a:cubicBezTo>
                  <a:cubicBezTo>
                    <a:pt x="787491" y="1649741"/>
                    <a:pt x="813181" y="1669127"/>
                    <a:pt x="818114" y="1684010"/>
                  </a:cubicBezTo>
                  <a:cubicBezTo>
                    <a:pt x="823046" y="1698849"/>
                    <a:pt x="837843" y="1718236"/>
                    <a:pt x="855642" y="1712574"/>
                  </a:cubicBezTo>
                  <a:cubicBezTo>
                    <a:pt x="873398" y="1706827"/>
                    <a:pt x="874427" y="1726299"/>
                    <a:pt x="888238" y="1723983"/>
                  </a:cubicBezTo>
                  <a:cubicBezTo>
                    <a:pt x="902091" y="1721710"/>
                    <a:pt x="923793" y="1730845"/>
                    <a:pt x="927739" y="1743412"/>
                  </a:cubicBezTo>
                  <a:cubicBezTo>
                    <a:pt x="931685" y="1755935"/>
                    <a:pt x="974145" y="1767387"/>
                    <a:pt x="985982" y="1769660"/>
                  </a:cubicBezTo>
                  <a:cubicBezTo>
                    <a:pt x="997820" y="1771933"/>
                    <a:pt x="999835" y="1746843"/>
                    <a:pt x="1010687" y="1739980"/>
                  </a:cubicBezTo>
                  <a:cubicBezTo>
                    <a:pt x="1021537" y="1733118"/>
                    <a:pt x="1017592" y="1682852"/>
                    <a:pt x="1027456" y="1679464"/>
                  </a:cubicBezTo>
                  <a:cubicBezTo>
                    <a:pt x="1037321" y="1676032"/>
                    <a:pt x="1034362" y="1623493"/>
                    <a:pt x="1024497" y="1618947"/>
                  </a:cubicBezTo>
                  <a:cubicBezTo>
                    <a:pt x="1014632" y="1614358"/>
                    <a:pt x="1018578" y="1596087"/>
                    <a:pt x="1041310" y="1599518"/>
                  </a:cubicBezTo>
                  <a:cubicBezTo>
                    <a:pt x="1063998" y="1602949"/>
                    <a:pt x="1056106" y="1576658"/>
                    <a:pt x="1066957" y="1573227"/>
                  </a:cubicBezTo>
                  <a:cubicBezTo>
                    <a:pt x="1077809" y="1569796"/>
                    <a:pt x="1072876" y="1545820"/>
                    <a:pt x="1080768" y="1543547"/>
                  </a:cubicBezTo>
                  <a:cubicBezTo>
                    <a:pt x="1088659" y="1541274"/>
                    <a:pt x="1087673" y="1525276"/>
                    <a:pt x="1081754" y="1516141"/>
                  </a:cubicBezTo>
                  <a:cubicBezTo>
                    <a:pt x="1075836" y="1507006"/>
                    <a:pt x="1082741" y="1500143"/>
                    <a:pt x="1094578" y="1497870"/>
                  </a:cubicBezTo>
                  <a:cubicBezTo>
                    <a:pt x="1106459" y="1495597"/>
                    <a:pt x="1103456" y="1476168"/>
                    <a:pt x="1087673" y="1469306"/>
                  </a:cubicBezTo>
                  <a:cubicBezTo>
                    <a:pt x="1071890" y="1462444"/>
                    <a:pt x="1076822" y="1441900"/>
                    <a:pt x="1092605" y="1454466"/>
                  </a:cubicBezTo>
                  <a:cubicBezTo>
                    <a:pt x="1108388" y="1467033"/>
                    <a:pt x="1120269" y="1457897"/>
                    <a:pt x="1111391" y="1444173"/>
                  </a:cubicBezTo>
                  <a:cubicBezTo>
                    <a:pt x="1102513" y="1430448"/>
                    <a:pt x="1122242" y="1423629"/>
                    <a:pt x="1143000" y="1421356"/>
                  </a:cubicBezTo>
                  <a:cubicBezTo>
                    <a:pt x="1163759" y="1419083"/>
                    <a:pt x="1174609" y="1406516"/>
                    <a:pt x="1170664" y="1388202"/>
                  </a:cubicBezTo>
                  <a:cubicBezTo>
                    <a:pt x="1166718" y="1369974"/>
                    <a:pt x="1194382" y="1371089"/>
                    <a:pt x="1187434" y="1387087"/>
                  </a:cubicBezTo>
                  <a:cubicBezTo>
                    <a:pt x="1180528" y="1403042"/>
                    <a:pt x="1184474" y="1419040"/>
                    <a:pt x="1194339" y="1407631"/>
                  </a:cubicBezTo>
                  <a:cubicBezTo>
                    <a:pt x="1204203" y="1396223"/>
                    <a:pt x="1222989" y="1404200"/>
                    <a:pt x="1256571" y="1392749"/>
                  </a:cubicBezTo>
                  <a:cubicBezTo>
                    <a:pt x="1290154" y="1381383"/>
                    <a:pt x="1322749" y="1349345"/>
                    <a:pt x="1330641" y="1318550"/>
                  </a:cubicBezTo>
                  <a:cubicBezTo>
                    <a:pt x="1338532" y="1287713"/>
                    <a:pt x="1377047" y="1291144"/>
                    <a:pt x="1372115" y="1270600"/>
                  </a:cubicBezTo>
                  <a:cubicBezTo>
                    <a:pt x="1367183" y="1250056"/>
                    <a:pt x="1379020" y="1242036"/>
                    <a:pt x="1403681" y="1255760"/>
                  </a:cubicBezTo>
                  <a:cubicBezTo>
                    <a:pt x="1428386" y="1269442"/>
                    <a:pt x="1408657" y="1246625"/>
                    <a:pt x="1436277" y="1246625"/>
                  </a:cubicBezTo>
                  <a:cubicBezTo>
                    <a:pt x="1463941" y="1246625"/>
                    <a:pt x="1459009" y="1235173"/>
                    <a:pt x="1485686" y="1234058"/>
                  </a:cubicBezTo>
                  <a:cubicBezTo>
                    <a:pt x="1512363" y="1232900"/>
                    <a:pt x="1581457" y="1219218"/>
                    <a:pt x="1605175" y="1196359"/>
                  </a:cubicBezTo>
                  <a:cubicBezTo>
                    <a:pt x="1628893" y="1173498"/>
                    <a:pt x="1679245" y="1154113"/>
                    <a:pt x="1699961" y="1139230"/>
                  </a:cubicBezTo>
                  <a:cubicBezTo>
                    <a:pt x="1720719" y="1124390"/>
                    <a:pt x="1725651" y="1111824"/>
                    <a:pt x="1712827" y="1119844"/>
                  </a:cubicBezTo>
                  <a:cubicBezTo>
                    <a:pt x="1699961" y="1127821"/>
                    <a:pt x="1673326" y="1128979"/>
                    <a:pt x="1653555" y="1123275"/>
                  </a:cubicBezTo>
                  <a:cubicBezTo>
                    <a:pt x="1633826" y="1117571"/>
                    <a:pt x="1602216" y="1098142"/>
                    <a:pt x="1579485" y="1112982"/>
                  </a:cubicBezTo>
                  <a:cubicBezTo>
                    <a:pt x="1556796" y="1127821"/>
                    <a:pt x="1570607" y="1091280"/>
                    <a:pt x="1589349" y="1087848"/>
                  </a:cubicBezTo>
                  <a:cubicBezTo>
                    <a:pt x="1608092" y="1084417"/>
                    <a:pt x="1600200" y="1074167"/>
                    <a:pt x="1595268" y="1051307"/>
                  </a:cubicBezTo>
                  <a:cubicBezTo>
                    <a:pt x="1590336" y="1028490"/>
                    <a:pt x="1626877" y="1043286"/>
                    <a:pt x="1642660" y="1069578"/>
                  </a:cubicBezTo>
                  <a:cubicBezTo>
                    <a:pt x="1658444" y="1095869"/>
                    <a:pt x="1689067" y="1107277"/>
                    <a:pt x="1715701" y="1098142"/>
                  </a:cubicBezTo>
                  <a:cubicBezTo>
                    <a:pt x="1742378" y="1089007"/>
                    <a:pt x="1716730" y="1063873"/>
                    <a:pt x="1727581" y="1046760"/>
                  </a:cubicBezTo>
                  <a:cubicBezTo>
                    <a:pt x="1738433" y="1029648"/>
                    <a:pt x="1645620" y="975950"/>
                    <a:pt x="1640645" y="957679"/>
                  </a:cubicBezTo>
                  <a:cubicBezTo>
                    <a:pt x="1635712" y="939409"/>
                    <a:pt x="1664320" y="951975"/>
                    <a:pt x="1690053" y="964542"/>
                  </a:cubicBezTo>
                  <a:cubicBezTo>
                    <a:pt x="1715701" y="977108"/>
                    <a:pt x="1721663" y="940567"/>
                    <a:pt x="1721663" y="924569"/>
                  </a:cubicBezTo>
                  <a:cubicBezTo>
                    <a:pt x="1721663" y="908614"/>
                    <a:pt x="1666378" y="907413"/>
                    <a:pt x="1641674" y="923411"/>
                  </a:cubicBezTo>
                  <a:cubicBezTo>
                    <a:pt x="1616970" y="939366"/>
                    <a:pt x="1593252" y="902867"/>
                    <a:pt x="1626877" y="898278"/>
                  </a:cubicBezTo>
                  <a:cubicBezTo>
                    <a:pt x="1660460" y="893731"/>
                    <a:pt x="1629837" y="877734"/>
                    <a:pt x="1639744" y="866325"/>
                  </a:cubicBezTo>
                  <a:cubicBezTo>
                    <a:pt x="1649609" y="854874"/>
                    <a:pt x="1692069" y="899436"/>
                    <a:pt x="1713814" y="891415"/>
                  </a:cubicBezTo>
                  <a:cubicBezTo>
                    <a:pt x="1735559" y="883438"/>
                    <a:pt x="1751342" y="892573"/>
                    <a:pt x="1770084" y="875418"/>
                  </a:cubicBezTo>
                  <a:cubicBezTo>
                    <a:pt x="1788870" y="858305"/>
                    <a:pt x="1736502" y="842307"/>
                    <a:pt x="1725651" y="827468"/>
                  </a:cubicBezTo>
                  <a:cubicBezTo>
                    <a:pt x="1714801" y="812585"/>
                    <a:pt x="1779949" y="818332"/>
                    <a:pt x="1799721" y="819447"/>
                  </a:cubicBezTo>
                  <a:cubicBezTo>
                    <a:pt x="1819450" y="820605"/>
                    <a:pt x="1824382" y="786337"/>
                    <a:pt x="1808599" y="793199"/>
                  </a:cubicBezTo>
                  <a:cubicBezTo>
                    <a:pt x="1792816" y="800061"/>
                    <a:pt x="1736502" y="770382"/>
                    <a:pt x="1748340" y="749838"/>
                  </a:cubicBezTo>
                  <a:cubicBezTo>
                    <a:pt x="1760177" y="729294"/>
                    <a:pt x="1781922" y="753269"/>
                    <a:pt x="1806583" y="738386"/>
                  </a:cubicBezTo>
                  <a:cubicBezTo>
                    <a:pt x="1831288" y="723547"/>
                    <a:pt x="1808557" y="667619"/>
                    <a:pt x="1790800" y="667619"/>
                  </a:cubicBezTo>
                  <a:cubicBezTo>
                    <a:pt x="1773044" y="667619"/>
                    <a:pt x="1731570" y="660757"/>
                    <a:pt x="1731570" y="650506"/>
                  </a:cubicBezTo>
                  <a:cubicBezTo>
                    <a:pt x="1731570" y="640213"/>
                    <a:pt x="1697001" y="631077"/>
                    <a:pt x="1706866" y="620827"/>
                  </a:cubicBezTo>
                  <a:cubicBezTo>
                    <a:pt x="1716730" y="610533"/>
                    <a:pt x="1729597" y="633393"/>
                    <a:pt x="1752286" y="613965"/>
                  </a:cubicBezTo>
                  <a:cubicBezTo>
                    <a:pt x="1775017" y="594579"/>
                    <a:pt x="1822410" y="618554"/>
                    <a:pt x="1843125" y="613965"/>
                  </a:cubicBezTo>
                  <a:cubicBezTo>
                    <a:pt x="1863884" y="609418"/>
                    <a:pt x="1834204" y="564899"/>
                    <a:pt x="1822367" y="572834"/>
                  </a:cubicBezTo>
                  <a:cubicBezTo>
                    <a:pt x="1810529" y="580854"/>
                    <a:pt x="1770042" y="583084"/>
                    <a:pt x="1767082" y="559109"/>
                  </a:cubicBezTo>
                  <a:cubicBezTo>
                    <a:pt x="1764123" y="535134"/>
                    <a:pt x="1805597" y="559109"/>
                    <a:pt x="1812502" y="547701"/>
                  </a:cubicBezTo>
                  <a:cubicBezTo>
                    <a:pt x="1819407" y="536249"/>
                    <a:pt x="1755245" y="506613"/>
                    <a:pt x="1745338" y="530588"/>
                  </a:cubicBezTo>
                  <a:cubicBezTo>
                    <a:pt x="1735473" y="554563"/>
                    <a:pt x="1699918" y="546585"/>
                    <a:pt x="1718660" y="532861"/>
                  </a:cubicBezTo>
                  <a:cubicBezTo>
                    <a:pt x="1737446" y="519179"/>
                    <a:pt x="1741392" y="480321"/>
                    <a:pt x="1739376" y="460893"/>
                  </a:cubicBezTo>
                  <a:cubicBezTo>
                    <a:pt x="1737403" y="441507"/>
                    <a:pt x="1806540" y="440349"/>
                    <a:pt x="1798606" y="408353"/>
                  </a:cubicBezTo>
                  <a:cubicBezTo>
                    <a:pt x="1790714" y="376401"/>
                    <a:pt x="1831202" y="369538"/>
                    <a:pt x="1853933" y="369538"/>
                  </a:cubicBezTo>
                  <a:cubicBezTo>
                    <a:pt x="1876622" y="369538"/>
                    <a:pt x="1852904" y="335270"/>
                    <a:pt x="1831202" y="338701"/>
                  </a:cubicBezTo>
                  <a:cubicBezTo>
                    <a:pt x="1809457" y="342132"/>
                    <a:pt x="1786768" y="370653"/>
                    <a:pt x="1775918" y="359245"/>
                  </a:cubicBezTo>
                  <a:cubicBezTo>
                    <a:pt x="1765067" y="347793"/>
                    <a:pt x="1801566" y="327249"/>
                    <a:pt x="1821337" y="327249"/>
                  </a:cubicBezTo>
                  <a:cubicBezTo>
                    <a:pt x="1841066" y="327249"/>
                    <a:pt x="1888459" y="324976"/>
                    <a:pt x="1905272" y="313568"/>
                  </a:cubicBezTo>
                  <a:cubicBezTo>
                    <a:pt x="1922041" y="302159"/>
                    <a:pt x="1875635" y="291866"/>
                    <a:pt x="1844068" y="296412"/>
                  </a:cubicBezTo>
                  <a:cubicBezTo>
                    <a:pt x="1812459" y="301001"/>
                    <a:pt x="1812459" y="285004"/>
                    <a:pt x="1859895" y="283846"/>
                  </a:cubicBezTo>
                  <a:cubicBezTo>
                    <a:pt x="1907288" y="282688"/>
                    <a:pt x="1899353" y="271279"/>
                    <a:pt x="1932978" y="266733"/>
                  </a:cubicBezTo>
                  <a:cubicBezTo>
                    <a:pt x="1966561" y="262144"/>
                    <a:pt x="1955667" y="246146"/>
                    <a:pt x="1976425" y="245031"/>
                  </a:cubicBezTo>
                  <a:cubicBezTo>
                    <a:pt x="1997184" y="243916"/>
                    <a:pt x="2051482" y="217624"/>
                    <a:pt x="2051482" y="205058"/>
                  </a:cubicBezTo>
                  <a:cubicBezTo>
                    <a:pt x="2051696" y="192534"/>
                    <a:pt x="1973680" y="167401"/>
                    <a:pt x="1937139" y="167401"/>
                  </a:cubicBezTo>
                  <a:close/>
                  <a:moveTo>
                    <a:pt x="706687" y="1162133"/>
                  </a:moveTo>
                  <a:cubicBezTo>
                    <a:pt x="707674" y="1143862"/>
                    <a:pt x="689918" y="1155270"/>
                    <a:pt x="680010" y="1133611"/>
                  </a:cubicBezTo>
                  <a:cubicBezTo>
                    <a:pt x="670102" y="1111909"/>
                    <a:pt x="619708" y="1102946"/>
                    <a:pt x="614818" y="1119930"/>
                  </a:cubicBezTo>
                  <a:cubicBezTo>
                    <a:pt x="612845" y="1126792"/>
                    <a:pt x="597019" y="1137043"/>
                    <a:pt x="609886" y="1153040"/>
                  </a:cubicBezTo>
                  <a:cubicBezTo>
                    <a:pt x="622710" y="1169038"/>
                    <a:pt x="631588" y="1162176"/>
                    <a:pt x="646428" y="1178173"/>
                  </a:cubicBezTo>
                  <a:cubicBezTo>
                    <a:pt x="661225" y="1194128"/>
                    <a:pt x="705658" y="1180404"/>
                    <a:pt x="706687" y="116213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78" name="Freeform: Shape 204">
              <a:extLst>
                <a:ext uri="{FF2B5EF4-FFF2-40B4-BE49-F238E27FC236}">
                  <a16:creationId xmlns:a16="http://schemas.microsoft.com/office/drawing/2014/main" id="{80B9661B-709C-1FCE-43D3-F8EBCCCD1DEE}"/>
                </a:ext>
              </a:extLst>
            </p:cNvPr>
            <p:cNvSpPr/>
            <p:nvPr/>
          </p:nvSpPr>
          <p:spPr>
            <a:xfrm>
              <a:off x="4649310" y="1465350"/>
              <a:ext cx="49205" cy="36084"/>
            </a:xfrm>
            <a:custGeom>
              <a:avLst/>
              <a:gdLst>
                <a:gd name="connsiteX0" fmla="*/ 49307 w 64333"/>
                <a:gd name="connsiteY0" fmla="*/ 10502 h 47178"/>
                <a:gd name="connsiteX1" fmla="*/ 16711 w 64333"/>
                <a:gd name="connsiteY1" fmla="*/ 39624 h 47178"/>
                <a:gd name="connsiteX2" fmla="*/ 49307 w 64333"/>
                <a:gd name="connsiteY2" fmla="*/ 10502 h 47178"/>
              </a:gdLst>
              <a:ahLst/>
              <a:cxnLst>
                <a:cxn ang="0">
                  <a:pos x="connsiteX0" y="connsiteY0"/>
                </a:cxn>
                <a:cxn ang="0">
                  <a:pos x="connsiteX1" y="connsiteY1"/>
                </a:cxn>
                <a:cxn ang="0">
                  <a:pos x="connsiteX2" y="connsiteY2"/>
                </a:cxn>
              </a:cxnLst>
              <a:rect l="l" t="t" r="r" b="b"/>
              <a:pathLst>
                <a:path w="64333" h="47178">
                  <a:moveTo>
                    <a:pt x="49307" y="10502"/>
                  </a:moveTo>
                  <a:cubicBezTo>
                    <a:pt x="22673" y="-4938"/>
                    <a:pt x="-10781" y="27700"/>
                    <a:pt x="16711" y="39624"/>
                  </a:cubicBezTo>
                  <a:cubicBezTo>
                    <a:pt x="40429" y="49874"/>
                    <a:pt x="75984" y="25899"/>
                    <a:pt x="49307" y="10502"/>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79" name="Freeform: Shape 209">
              <a:extLst>
                <a:ext uri="{FF2B5EF4-FFF2-40B4-BE49-F238E27FC236}">
                  <a16:creationId xmlns:a16="http://schemas.microsoft.com/office/drawing/2014/main" id="{DB7D0176-1F02-9E12-9BB6-5C90DD758136}"/>
                </a:ext>
              </a:extLst>
            </p:cNvPr>
            <p:cNvSpPr/>
            <p:nvPr/>
          </p:nvSpPr>
          <p:spPr>
            <a:xfrm>
              <a:off x="4520966" y="1455420"/>
              <a:ext cx="85289" cy="32803"/>
            </a:xfrm>
            <a:custGeom>
              <a:avLst/>
              <a:gdLst>
                <a:gd name="connsiteX0" fmla="*/ 106029 w 111512"/>
                <a:gd name="connsiteY0" fmla="*/ 9719 h 42889"/>
                <a:gd name="connsiteX1" fmla="*/ 8284 w 111512"/>
                <a:gd name="connsiteY1" fmla="*/ 30306 h 42889"/>
                <a:gd name="connsiteX2" fmla="*/ 106029 w 111512"/>
                <a:gd name="connsiteY2" fmla="*/ 9719 h 42889"/>
              </a:gdLst>
              <a:ahLst/>
              <a:cxnLst>
                <a:cxn ang="0">
                  <a:pos x="connsiteX0" y="connsiteY0"/>
                </a:cxn>
                <a:cxn ang="0">
                  <a:pos x="connsiteX1" y="connsiteY1"/>
                </a:cxn>
                <a:cxn ang="0">
                  <a:pos x="connsiteX2" y="connsiteY2"/>
                </a:cxn>
              </a:cxnLst>
              <a:rect l="l" t="t" r="r" b="b"/>
              <a:pathLst>
                <a:path w="111512" h="42889">
                  <a:moveTo>
                    <a:pt x="106029" y="9719"/>
                  </a:moveTo>
                  <a:cubicBezTo>
                    <a:pt x="103070" y="-532"/>
                    <a:pt x="-9215" y="15123"/>
                    <a:pt x="8284" y="30306"/>
                  </a:cubicBezTo>
                  <a:cubicBezTo>
                    <a:pt x="37878" y="55996"/>
                    <a:pt x="108988" y="20055"/>
                    <a:pt x="106029" y="9719"/>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80" name="Freeform: Shape 211">
              <a:extLst>
                <a:ext uri="{FF2B5EF4-FFF2-40B4-BE49-F238E27FC236}">
                  <a16:creationId xmlns:a16="http://schemas.microsoft.com/office/drawing/2014/main" id="{8B269066-77DB-EE75-A47D-4F404149F94F}"/>
                </a:ext>
              </a:extLst>
            </p:cNvPr>
            <p:cNvSpPr/>
            <p:nvPr/>
          </p:nvSpPr>
          <p:spPr>
            <a:xfrm>
              <a:off x="4471276" y="1386165"/>
              <a:ext cx="91849" cy="72167"/>
            </a:xfrm>
            <a:custGeom>
              <a:avLst/>
              <a:gdLst>
                <a:gd name="connsiteX0" fmla="*/ 50993 w 120090"/>
                <a:gd name="connsiteY0" fmla="*/ 91732 h 94356"/>
                <a:gd name="connsiteX1" fmla="*/ 110266 w 120090"/>
                <a:gd name="connsiteY1" fmla="*/ 79723 h 94356"/>
                <a:gd name="connsiteX2" fmla="*/ 113226 w 120090"/>
                <a:gd name="connsiteY2" fmla="*/ 50601 h 94356"/>
                <a:gd name="connsiteX3" fmla="*/ 77671 w 120090"/>
                <a:gd name="connsiteY3" fmla="*/ 35204 h 94356"/>
                <a:gd name="connsiteX4" fmla="*/ 8061 w 120090"/>
                <a:gd name="connsiteY4" fmla="*/ 9513 h 94356"/>
                <a:gd name="connsiteX5" fmla="*/ 50993 w 120090"/>
                <a:gd name="connsiteY5" fmla="*/ 91732 h 94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090" h="94356">
                  <a:moveTo>
                    <a:pt x="50993" y="91732"/>
                  </a:moveTo>
                  <a:cubicBezTo>
                    <a:pt x="73210" y="91732"/>
                    <a:pt x="91009" y="88301"/>
                    <a:pt x="110266" y="79723"/>
                  </a:cubicBezTo>
                  <a:cubicBezTo>
                    <a:pt x="129524" y="71145"/>
                    <a:pt x="99887" y="71145"/>
                    <a:pt x="113226" y="50601"/>
                  </a:cubicBezTo>
                  <a:cubicBezTo>
                    <a:pt x="126564" y="30057"/>
                    <a:pt x="80630" y="28341"/>
                    <a:pt x="77671" y="35204"/>
                  </a:cubicBezTo>
                  <a:cubicBezTo>
                    <a:pt x="74711" y="42066"/>
                    <a:pt x="16939" y="-5927"/>
                    <a:pt x="8061" y="9513"/>
                  </a:cubicBezTo>
                  <a:cubicBezTo>
                    <a:pt x="-860" y="24910"/>
                    <a:pt x="28777" y="91732"/>
                    <a:pt x="50993" y="91732"/>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81" name="Freeform: Shape 212">
              <a:extLst>
                <a:ext uri="{FF2B5EF4-FFF2-40B4-BE49-F238E27FC236}">
                  <a16:creationId xmlns:a16="http://schemas.microsoft.com/office/drawing/2014/main" id="{1D2FF4A5-1884-D36A-4D33-BECF9834DF42}"/>
                </a:ext>
              </a:extLst>
            </p:cNvPr>
            <p:cNvSpPr/>
            <p:nvPr/>
          </p:nvSpPr>
          <p:spPr>
            <a:xfrm>
              <a:off x="4508454" y="1219124"/>
              <a:ext cx="301791" cy="223063"/>
            </a:xfrm>
            <a:custGeom>
              <a:avLst/>
              <a:gdLst>
                <a:gd name="connsiteX0" fmla="*/ 356435 w 394581"/>
                <a:gd name="connsiteY0" fmla="*/ 167955 h 291647"/>
                <a:gd name="connsiteX1" fmla="*/ 323840 w 394581"/>
                <a:gd name="connsiteY1" fmla="*/ 142264 h 291647"/>
                <a:gd name="connsiteX2" fmla="*/ 309000 w 394581"/>
                <a:gd name="connsiteY2" fmla="*/ 106280 h 291647"/>
                <a:gd name="connsiteX3" fmla="*/ 285282 w 394581"/>
                <a:gd name="connsiteY3" fmla="*/ 99417 h 291647"/>
                <a:gd name="connsiteX4" fmla="*/ 254187 w 394581"/>
                <a:gd name="connsiteY4" fmla="*/ 82305 h 291647"/>
                <a:gd name="connsiteX5" fmla="*/ 149023 w 394581"/>
                <a:gd name="connsiteY5" fmla="*/ 15483 h 291647"/>
                <a:gd name="connsiteX6" fmla="*/ 138644 w 394581"/>
                <a:gd name="connsiteY6" fmla="*/ 6433 h 291647"/>
                <a:gd name="connsiteX7" fmla="*/ 107806 w 394581"/>
                <a:gd name="connsiteY7" fmla="*/ 15269 h 291647"/>
                <a:gd name="connsiteX8" fmla="*/ 94210 w 394581"/>
                <a:gd name="connsiteY8" fmla="*/ 24061 h 291647"/>
                <a:gd name="connsiteX9" fmla="*/ 71994 w 394581"/>
                <a:gd name="connsiteY9" fmla="*/ 39458 h 291647"/>
                <a:gd name="connsiteX10" fmla="*/ 43858 w 394581"/>
                <a:gd name="connsiteY10" fmla="*/ 58287 h 291647"/>
                <a:gd name="connsiteX11" fmla="*/ 49777 w 394581"/>
                <a:gd name="connsiteY11" fmla="*/ 101133 h 291647"/>
                <a:gd name="connsiteX12" fmla="*/ 32021 w 394581"/>
                <a:gd name="connsiteY12" fmla="*/ 119961 h 291647"/>
                <a:gd name="connsiteX13" fmla="*/ 20183 w 394581"/>
                <a:gd name="connsiteY13" fmla="*/ 140505 h 291647"/>
                <a:gd name="connsiteX14" fmla="*/ 52779 w 394581"/>
                <a:gd name="connsiteY14" fmla="*/ 181636 h 291647"/>
                <a:gd name="connsiteX15" fmla="*/ 150524 w 394581"/>
                <a:gd name="connsiteY15" fmla="*/ 185067 h 291647"/>
                <a:gd name="connsiteX16" fmla="*/ 91294 w 394581"/>
                <a:gd name="connsiteY16" fmla="*/ 217620 h 291647"/>
                <a:gd name="connsiteX17" fmla="*/ 138687 w 394581"/>
                <a:gd name="connsiteY17" fmla="*/ 258751 h 291647"/>
                <a:gd name="connsiteX18" fmla="*/ 217174 w 394581"/>
                <a:gd name="connsiteY18" fmla="*/ 284442 h 291647"/>
                <a:gd name="connsiteX19" fmla="*/ 264567 w 394581"/>
                <a:gd name="connsiteY19" fmla="*/ 282726 h 291647"/>
                <a:gd name="connsiteX20" fmla="*/ 298621 w 394581"/>
                <a:gd name="connsiteY20" fmla="*/ 239880 h 291647"/>
                <a:gd name="connsiteX21" fmla="*/ 332675 w 394581"/>
                <a:gd name="connsiteY21" fmla="*/ 207327 h 291647"/>
                <a:gd name="connsiteX22" fmla="*/ 388989 w 394581"/>
                <a:gd name="connsiteY22" fmla="*/ 185067 h 291647"/>
                <a:gd name="connsiteX23" fmla="*/ 356435 w 394581"/>
                <a:gd name="connsiteY23" fmla="*/ 167955 h 29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4581" h="291647">
                  <a:moveTo>
                    <a:pt x="356435" y="167955"/>
                  </a:moveTo>
                  <a:cubicBezTo>
                    <a:pt x="329801" y="171386"/>
                    <a:pt x="312002" y="159377"/>
                    <a:pt x="323840" y="142264"/>
                  </a:cubicBezTo>
                  <a:cubicBezTo>
                    <a:pt x="335677" y="125108"/>
                    <a:pt x="294203" y="120004"/>
                    <a:pt x="309000" y="106280"/>
                  </a:cubicBezTo>
                  <a:cubicBezTo>
                    <a:pt x="323840" y="92598"/>
                    <a:pt x="280865" y="78873"/>
                    <a:pt x="285282" y="99417"/>
                  </a:cubicBezTo>
                  <a:cubicBezTo>
                    <a:pt x="289743" y="119961"/>
                    <a:pt x="258648" y="101133"/>
                    <a:pt x="254187" y="82305"/>
                  </a:cubicBezTo>
                  <a:cubicBezTo>
                    <a:pt x="249727" y="63476"/>
                    <a:pt x="188996" y="56614"/>
                    <a:pt x="149023" y="15483"/>
                  </a:cubicBezTo>
                  <a:cubicBezTo>
                    <a:pt x="145549" y="11923"/>
                    <a:pt x="142075" y="9050"/>
                    <a:pt x="138644" y="6433"/>
                  </a:cubicBezTo>
                  <a:cubicBezTo>
                    <a:pt x="128693" y="10079"/>
                    <a:pt x="118271" y="12695"/>
                    <a:pt x="107806" y="15269"/>
                  </a:cubicBezTo>
                  <a:cubicBezTo>
                    <a:pt x="111194" y="20330"/>
                    <a:pt x="106091" y="25133"/>
                    <a:pt x="94210" y="24061"/>
                  </a:cubicBezTo>
                  <a:cubicBezTo>
                    <a:pt x="74953" y="22345"/>
                    <a:pt x="40899" y="25776"/>
                    <a:pt x="71994" y="39458"/>
                  </a:cubicBezTo>
                  <a:cubicBezTo>
                    <a:pt x="103089" y="53140"/>
                    <a:pt x="69034" y="58287"/>
                    <a:pt x="43858" y="58287"/>
                  </a:cubicBezTo>
                  <a:cubicBezTo>
                    <a:pt x="18639" y="58287"/>
                    <a:pt x="17181" y="95986"/>
                    <a:pt x="49777" y="101133"/>
                  </a:cubicBezTo>
                  <a:cubicBezTo>
                    <a:pt x="82373" y="106280"/>
                    <a:pt x="58655" y="128539"/>
                    <a:pt x="32021" y="119961"/>
                  </a:cubicBezTo>
                  <a:cubicBezTo>
                    <a:pt x="5387" y="111384"/>
                    <a:pt x="-3534" y="126824"/>
                    <a:pt x="20183" y="140505"/>
                  </a:cubicBezTo>
                  <a:cubicBezTo>
                    <a:pt x="42014" y="153158"/>
                    <a:pt x="29062" y="169627"/>
                    <a:pt x="52779" y="181636"/>
                  </a:cubicBezTo>
                  <a:cubicBezTo>
                    <a:pt x="76454" y="193645"/>
                    <a:pt x="144605" y="166196"/>
                    <a:pt x="150524" y="185067"/>
                  </a:cubicBezTo>
                  <a:cubicBezTo>
                    <a:pt x="156443" y="203896"/>
                    <a:pt x="80915" y="205611"/>
                    <a:pt x="91294" y="217620"/>
                  </a:cubicBezTo>
                  <a:cubicBezTo>
                    <a:pt x="101673" y="229629"/>
                    <a:pt x="144605" y="248458"/>
                    <a:pt x="138687" y="258751"/>
                  </a:cubicBezTo>
                  <a:cubicBezTo>
                    <a:pt x="132768" y="269045"/>
                    <a:pt x="209797" y="298166"/>
                    <a:pt x="217174" y="284442"/>
                  </a:cubicBezTo>
                  <a:cubicBezTo>
                    <a:pt x="224594" y="270717"/>
                    <a:pt x="245309" y="274148"/>
                    <a:pt x="264567" y="282726"/>
                  </a:cubicBezTo>
                  <a:cubicBezTo>
                    <a:pt x="283824" y="291261"/>
                    <a:pt x="285325" y="229629"/>
                    <a:pt x="298621" y="239880"/>
                  </a:cubicBezTo>
                  <a:cubicBezTo>
                    <a:pt x="311959" y="250173"/>
                    <a:pt x="310458" y="217620"/>
                    <a:pt x="332675" y="207327"/>
                  </a:cubicBezTo>
                  <a:cubicBezTo>
                    <a:pt x="354891" y="197033"/>
                    <a:pt x="386887" y="196948"/>
                    <a:pt x="388989" y="185067"/>
                  </a:cubicBezTo>
                  <a:cubicBezTo>
                    <a:pt x="390490" y="176532"/>
                    <a:pt x="383113" y="164523"/>
                    <a:pt x="356435" y="16795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82" name="Freeform: Shape 215">
              <a:extLst>
                <a:ext uri="{FF2B5EF4-FFF2-40B4-BE49-F238E27FC236}">
                  <a16:creationId xmlns:a16="http://schemas.microsoft.com/office/drawing/2014/main" id="{5456E029-6140-4706-F2DE-628035039C10}"/>
                </a:ext>
              </a:extLst>
            </p:cNvPr>
            <p:cNvSpPr/>
            <p:nvPr/>
          </p:nvSpPr>
          <p:spPr>
            <a:xfrm>
              <a:off x="4507292" y="1502953"/>
              <a:ext cx="442846" cy="164017"/>
            </a:xfrm>
            <a:custGeom>
              <a:avLst/>
              <a:gdLst>
                <a:gd name="connsiteX0" fmla="*/ 559492 w 579005"/>
                <a:gd name="connsiteY0" fmla="*/ 169737 h 214446"/>
                <a:gd name="connsiteX1" fmla="*/ 559706 w 579005"/>
                <a:gd name="connsiteY1" fmla="*/ 169737 h 214446"/>
                <a:gd name="connsiteX2" fmla="*/ 560779 w 579005"/>
                <a:gd name="connsiteY2" fmla="*/ 163518 h 214446"/>
                <a:gd name="connsiteX3" fmla="*/ 570600 w 579005"/>
                <a:gd name="connsiteY3" fmla="*/ 146791 h 214446"/>
                <a:gd name="connsiteX4" fmla="*/ 575061 w 579005"/>
                <a:gd name="connsiteY4" fmla="*/ 128777 h 214446"/>
                <a:gd name="connsiteX5" fmla="*/ 392009 w 579005"/>
                <a:gd name="connsiteY5" fmla="*/ 118956 h 214446"/>
                <a:gd name="connsiteX6" fmla="*/ 297224 w 579005"/>
                <a:gd name="connsiteY6" fmla="*/ 124102 h 214446"/>
                <a:gd name="connsiteX7" fmla="*/ 242411 w 579005"/>
                <a:gd name="connsiteY7" fmla="*/ 105274 h 214446"/>
                <a:gd name="connsiteX8" fmla="*/ 252791 w 579005"/>
                <a:gd name="connsiteY8" fmla="*/ 69290 h 214446"/>
                <a:gd name="connsiteX9" fmla="*/ 163924 w 579005"/>
                <a:gd name="connsiteY9" fmla="*/ 38452 h 214446"/>
                <a:gd name="connsiteX10" fmla="*/ 92813 w 579005"/>
                <a:gd name="connsiteY10" fmla="*/ 14477 h 214446"/>
                <a:gd name="connsiteX11" fmla="*/ 8364 w 579005"/>
                <a:gd name="connsiteY11" fmla="*/ 28202 h 214446"/>
                <a:gd name="connsiteX12" fmla="*/ 113529 w 579005"/>
                <a:gd name="connsiteY12" fmla="*/ 64186 h 214446"/>
                <a:gd name="connsiteX13" fmla="*/ 157962 w 579005"/>
                <a:gd name="connsiteY13" fmla="*/ 103601 h 214446"/>
                <a:gd name="connsiteX14" fmla="*/ 159463 w 579005"/>
                <a:gd name="connsiteY14" fmla="*/ 163561 h 214446"/>
                <a:gd name="connsiteX15" fmla="*/ 197978 w 579005"/>
                <a:gd name="connsiteY15" fmla="*/ 187536 h 214446"/>
                <a:gd name="connsiteX16" fmla="*/ 252791 w 579005"/>
                <a:gd name="connsiteY16" fmla="*/ 196114 h 214446"/>
                <a:gd name="connsiteX17" fmla="*/ 276465 w 579005"/>
                <a:gd name="connsiteY17" fmla="*/ 184147 h 214446"/>
                <a:gd name="connsiteX18" fmla="*/ 387549 w 579005"/>
                <a:gd name="connsiteY18" fmla="*/ 208123 h 214446"/>
                <a:gd name="connsiteX19" fmla="*/ 461619 w 579005"/>
                <a:gd name="connsiteY19" fmla="*/ 187536 h 214446"/>
                <a:gd name="connsiteX20" fmla="*/ 524022 w 579005"/>
                <a:gd name="connsiteY20" fmla="*/ 199159 h 214446"/>
                <a:gd name="connsiteX21" fmla="*/ 559492 w 579005"/>
                <a:gd name="connsiteY21" fmla="*/ 169737 h 214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9005" h="214446">
                  <a:moveTo>
                    <a:pt x="559492" y="169737"/>
                  </a:moveTo>
                  <a:lnTo>
                    <a:pt x="559706" y="169737"/>
                  </a:lnTo>
                  <a:cubicBezTo>
                    <a:pt x="559921" y="167592"/>
                    <a:pt x="560264" y="165533"/>
                    <a:pt x="560779" y="163518"/>
                  </a:cubicBezTo>
                  <a:cubicBezTo>
                    <a:pt x="562580" y="156698"/>
                    <a:pt x="566054" y="151166"/>
                    <a:pt x="570600" y="146791"/>
                  </a:cubicBezTo>
                  <a:cubicBezTo>
                    <a:pt x="570772" y="140572"/>
                    <a:pt x="572359" y="134310"/>
                    <a:pt x="575061" y="128777"/>
                  </a:cubicBezTo>
                  <a:cubicBezTo>
                    <a:pt x="547783" y="112737"/>
                    <a:pt x="417314" y="102014"/>
                    <a:pt x="392009" y="118956"/>
                  </a:cubicBezTo>
                  <a:cubicBezTo>
                    <a:pt x="363874" y="137827"/>
                    <a:pt x="319440" y="110378"/>
                    <a:pt x="297224" y="124102"/>
                  </a:cubicBezTo>
                  <a:cubicBezTo>
                    <a:pt x="275007" y="137827"/>
                    <a:pt x="282427" y="106990"/>
                    <a:pt x="242411" y="105274"/>
                  </a:cubicBezTo>
                  <a:cubicBezTo>
                    <a:pt x="202439" y="103558"/>
                    <a:pt x="245370" y="79583"/>
                    <a:pt x="252791" y="69290"/>
                  </a:cubicBezTo>
                  <a:cubicBezTo>
                    <a:pt x="260210" y="58996"/>
                    <a:pt x="192059" y="31590"/>
                    <a:pt x="163924" y="38452"/>
                  </a:cubicBezTo>
                  <a:cubicBezTo>
                    <a:pt x="135788" y="45315"/>
                    <a:pt x="119448" y="28202"/>
                    <a:pt x="92813" y="14477"/>
                  </a:cubicBezTo>
                  <a:cubicBezTo>
                    <a:pt x="66136" y="796"/>
                    <a:pt x="-6261" y="4055"/>
                    <a:pt x="8364" y="28202"/>
                  </a:cubicBezTo>
                  <a:cubicBezTo>
                    <a:pt x="18744" y="45315"/>
                    <a:pt x="104651" y="81299"/>
                    <a:pt x="113529" y="64186"/>
                  </a:cubicBezTo>
                  <a:cubicBezTo>
                    <a:pt x="122407" y="47073"/>
                    <a:pt x="144624" y="84730"/>
                    <a:pt x="157962" y="103601"/>
                  </a:cubicBezTo>
                  <a:cubicBezTo>
                    <a:pt x="171301" y="122430"/>
                    <a:pt x="149084" y="129292"/>
                    <a:pt x="159463" y="163561"/>
                  </a:cubicBezTo>
                  <a:cubicBezTo>
                    <a:pt x="169842" y="197829"/>
                    <a:pt x="181680" y="173854"/>
                    <a:pt x="197978" y="187536"/>
                  </a:cubicBezTo>
                  <a:cubicBezTo>
                    <a:pt x="214276" y="201260"/>
                    <a:pt x="239452" y="209838"/>
                    <a:pt x="252791" y="196114"/>
                  </a:cubicBezTo>
                  <a:cubicBezTo>
                    <a:pt x="266129" y="182432"/>
                    <a:pt x="272048" y="172138"/>
                    <a:pt x="276465" y="184147"/>
                  </a:cubicBezTo>
                  <a:cubicBezTo>
                    <a:pt x="283714" y="203662"/>
                    <a:pt x="316481" y="206407"/>
                    <a:pt x="387549" y="208123"/>
                  </a:cubicBezTo>
                  <a:cubicBezTo>
                    <a:pt x="458659" y="209838"/>
                    <a:pt x="440860" y="173854"/>
                    <a:pt x="461619" y="187536"/>
                  </a:cubicBezTo>
                  <a:cubicBezTo>
                    <a:pt x="475686" y="196843"/>
                    <a:pt x="502063" y="199802"/>
                    <a:pt x="524022" y="199159"/>
                  </a:cubicBezTo>
                  <a:cubicBezTo>
                    <a:pt x="527797" y="182560"/>
                    <a:pt x="542508" y="169737"/>
                    <a:pt x="559492" y="16973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83" name="Freeform: Shape 216">
              <a:extLst>
                <a:ext uri="{FF2B5EF4-FFF2-40B4-BE49-F238E27FC236}">
                  <a16:creationId xmlns:a16="http://schemas.microsoft.com/office/drawing/2014/main" id="{778BE93A-FF8A-AA77-9F8E-5BA18721A488}"/>
                </a:ext>
              </a:extLst>
            </p:cNvPr>
            <p:cNvSpPr/>
            <p:nvPr/>
          </p:nvSpPr>
          <p:spPr>
            <a:xfrm>
              <a:off x="4640277" y="1091321"/>
              <a:ext cx="793842" cy="472369"/>
            </a:xfrm>
            <a:custGeom>
              <a:avLst/>
              <a:gdLst>
                <a:gd name="connsiteX0" fmla="*/ 1004725 w 1037921"/>
                <a:gd name="connsiteY0" fmla="*/ 60946 h 617606"/>
                <a:gd name="connsiteX1" fmla="*/ 954030 w 1037921"/>
                <a:gd name="connsiteY1" fmla="*/ 44476 h 617606"/>
                <a:gd name="connsiteX2" fmla="*/ 953558 w 1037921"/>
                <a:gd name="connsiteY2" fmla="*/ 44090 h 617606"/>
                <a:gd name="connsiteX3" fmla="*/ 945752 w 1037921"/>
                <a:gd name="connsiteY3" fmla="*/ 36670 h 617606"/>
                <a:gd name="connsiteX4" fmla="*/ 944894 w 1037921"/>
                <a:gd name="connsiteY4" fmla="*/ 35941 h 617606"/>
                <a:gd name="connsiteX5" fmla="*/ 942235 w 1037921"/>
                <a:gd name="connsiteY5" fmla="*/ 34011 h 617606"/>
                <a:gd name="connsiteX6" fmla="*/ 933400 w 1037921"/>
                <a:gd name="connsiteY6" fmla="*/ 28693 h 617606"/>
                <a:gd name="connsiteX7" fmla="*/ 931298 w 1037921"/>
                <a:gd name="connsiteY7" fmla="*/ 28050 h 617606"/>
                <a:gd name="connsiteX8" fmla="*/ 914357 w 1037921"/>
                <a:gd name="connsiteY8" fmla="*/ 25004 h 617606"/>
                <a:gd name="connsiteX9" fmla="*/ 890082 w 1037921"/>
                <a:gd name="connsiteY9" fmla="*/ 20801 h 617606"/>
                <a:gd name="connsiteX10" fmla="*/ 873698 w 1037921"/>
                <a:gd name="connsiteY10" fmla="*/ 25090 h 617606"/>
                <a:gd name="connsiteX11" fmla="*/ 871339 w 1037921"/>
                <a:gd name="connsiteY11" fmla="*/ 25090 h 617606"/>
                <a:gd name="connsiteX12" fmla="*/ 838872 w 1037921"/>
                <a:gd name="connsiteY12" fmla="*/ 37013 h 617606"/>
                <a:gd name="connsiteX13" fmla="*/ 834454 w 1037921"/>
                <a:gd name="connsiteY13" fmla="*/ 24790 h 617606"/>
                <a:gd name="connsiteX14" fmla="*/ 807520 w 1037921"/>
                <a:gd name="connsiteY14" fmla="*/ 8535 h 617606"/>
                <a:gd name="connsiteX15" fmla="*/ 771879 w 1037921"/>
                <a:gd name="connsiteY15" fmla="*/ 6433 h 617606"/>
                <a:gd name="connsiteX16" fmla="*/ 766732 w 1037921"/>
                <a:gd name="connsiteY16" fmla="*/ 14025 h 617606"/>
                <a:gd name="connsiteX17" fmla="*/ 735294 w 1037921"/>
                <a:gd name="connsiteY17" fmla="*/ 32596 h 617606"/>
                <a:gd name="connsiteX18" fmla="*/ 686100 w 1037921"/>
                <a:gd name="connsiteY18" fmla="*/ 14539 h 617606"/>
                <a:gd name="connsiteX19" fmla="*/ 643468 w 1037921"/>
                <a:gd name="connsiteY19" fmla="*/ 29465 h 617606"/>
                <a:gd name="connsiteX20" fmla="*/ 548297 w 1037921"/>
                <a:gd name="connsiteY20" fmla="*/ 27492 h 617606"/>
                <a:gd name="connsiteX21" fmla="*/ 508238 w 1037921"/>
                <a:gd name="connsiteY21" fmla="*/ 9393 h 617606"/>
                <a:gd name="connsiteX22" fmla="*/ 458187 w 1037921"/>
                <a:gd name="connsiteY22" fmla="*/ 21573 h 617606"/>
                <a:gd name="connsiteX23" fmla="*/ 397455 w 1037921"/>
                <a:gd name="connsiteY23" fmla="*/ 18142 h 617606"/>
                <a:gd name="connsiteX24" fmla="*/ 379699 w 1037921"/>
                <a:gd name="connsiteY24" fmla="*/ 28436 h 617606"/>
                <a:gd name="connsiteX25" fmla="*/ 358941 w 1037921"/>
                <a:gd name="connsiteY25" fmla="*/ 47264 h 617606"/>
                <a:gd name="connsiteX26" fmla="*/ 304128 w 1037921"/>
                <a:gd name="connsiteY26" fmla="*/ 60989 h 617606"/>
                <a:gd name="connsiteX27" fmla="*/ 264155 w 1037921"/>
                <a:gd name="connsiteY27" fmla="*/ 72998 h 617606"/>
                <a:gd name="connsiteX28" fmla="*/ 206383 w 1037921"/>
                <a:gd name="connsiteY28" fmla="*/ 66135 h 617606"/>
                <a:gd name="connsiteX29" fmla="*/ 173788 w 1037921"/>
                <a:gd name="connsiteY29" fmla="*/ 88395 h 617606"/>
                <a:gd name="connsiteX30" fmla="*/ 151571 w 1037921"/>
                <a:gd name="connsiteY30" fmla="*/ 107223 h 617606"/>
                <a:gd name="connsiteX31" fmla="*/ 99718 w 1037921"/>
                <a:gd name="connsiteY31" fmla="*/ 98645 h 617606"/>
                <a:gd name="connsiteX32" fmla="*/ 73041 w 1037921"/>
                <a:gd name="connsiteY32" fmla="*/ 122621 h 617606"/>
                <a:gd name="connsiteX33" fmla="*/ 21531 w 1037921"/>
                <a:gd name="connsiteY33" fmla="*/ 122235 h 617606"/>
                <a:gd name="connsiteX34" fmla="*/ 6433 w 1037921"/>
                <a:gd name="connsiteY34" fmla="*/ 145566 h 617606"/>
                <a:gd name="connsiteX35" fmla="*/ 27106 w 1037921"/>
                <a:gd name="connsiteY35" fmla="*/ 138018 h 617606"/>
                <a:gd name="connsiteX36" fmla="*/ 46363 w 1037921"/>
                <a:gd name="connsiteY36" fmla="*/ 143165 h 617606"/>
                <a:gd name="connsiteX37" fmla="*/ 59702 w 1037921"/>
                <a:gd name="connsiteY37" fmla="*/ 158562 h 617606"/>
                <a:gd name="connsiteX38" fmla="*/ 49323 w 1037921"/>
                <a:gd name="connsiteY38" fmla="*/ 184252 h 617606"/>
                <a:gd name="connsiteX39" fmla="*/ 80417 w 1037921"/>
                <a:gd name="connsiteY39" fmla="*/ 208228 h 617606"/>
                <a:gd name="connsiteX40" fmla="*/ 164867 w 1037921"/>
                <a:gd name="connsiteY40" fmla="*/ 211659 h 617606"/>
                <a:gd name="connsiteX41" fmla="*/ 175246 w 1037921"/>
                <a:gd name="connsiteY41" fmla="*/ 230487 h 617606"/>
                <a:gd name="connsiteX42" fmla="*/ 270031 w 1037921"/>
                <a:gd name="connsiteY42" fmla="*/ 239065 h 617606"/>
                <a:gd name="connsiteX43" fmla="*/ 305586 w 1037921"/>
                <a:gd name="connsiteY43" fmla="*/ 233918 h 617606"/>
                <a:gd name="connsiteX44" fmla="*/ 412252 w 1037921"/>
                <a:gd name="connsiteY44" fmla="*/ 194503 h 617606"/>
                <a:gd name="connsiteX45" fmla="*/ 412252 w 1037921"/>
                <a:gd name="connsiteY45" fmla="*/ 227056 h 617606"/>
                <a:gd name="connsiteX46" fmla="*/ 302627 w 1037921"/>
                <a:gd name="connsiteY46" fmla="*/ 254462 h 617606"/>
                <a:gd name="connsiteX47" fmla="*/ 344101 w 1037921"/>
                <a:gd name="connsiteY47" fmla="*/ 305844 h 617606"/>
                <a:gd name="connsiteX48" fmla="*/ 287830 w 1037921"/>
                <a:gd name="connsiteY48" fmla="*/ 287015 h 617606"/>
                <a:gd name="connsiteX49" fmla="*/ 182666 w 1037921"/>
                <a:gd name="connsiteY49" fmla="*/ 259609 h 617606"/>
                <a:gd name="connsiteX50" fmla="*/ 184124 w 1037921"/>
                <a:gd name="connsiteY50" fmla="*/ 321284 h 617606"/>
                <a:gd name="connsiteX51" fmla="*/ 246356 w 1037921"/>
                <a:gd name="connsiteY51" fmla="*/ 367518 h 617606"/>
                <a:gd name="connsiteX52" fmla="*/ 311548 w 1037921"/>
                <a:gd name="connsiteY52" fmla="*/ 413753 h 617606"/>
                <a:gd name="connsiteX53" fmla="*/ 221180 w 1037921"/>
                <a:gd name="connsiteY53" fmla="*/ 393209 h 617606"/>
                <a:gd name="connsiteX54" fmla="*/ 135273 w 1037921"/>
                <a:gd name="connsiteY54" fmla="*/ 437728 h 617606"/>
                <a:gd name="connsiteX55" fmla="*/ 215261 w 1037921"/>
                <a:gd name="connsiteY55" fmla="*/ 439444 h 617606"/>
                <a:gd name="connsiteX56" fmla="*/ 207885 w 1037921"/>
                <a:gd name="connsiteY56" fmla="*/ 463419 h 617606"/>
                <a:gd name="connsiteX57" fmla="*/ 246399 w 1037921"/>
                <a:gd name="connsiteY57" fmla="*/ 514800 h 617606"/>
                <a:gd name="connsiteX58" fmla="*/ 201966 w 1037921"/>
                <a:gd name="connsiteY58" fmla="*/ 509654 h 617606"/>
                <a:gd name="connsiteX59" fmla="*/ 144194 w 1037921"/>
                <a:gd name="connsiteY59" fmla="*/ 475385 h 617606"/>
                <a:gd name="connsiteX60" fmla="*/ 139733 w 1037921"/>
                <a:gd name="connsiteY60" fmla="*/ 513085 h 617606"/>
                <a:gd name="connsiteX61" fmla="*/ 138232 w 1037921"/>
                <a:gd name="connsiteY61" fmla="*/ 537060 h 617606"/>
                <a:gd name="connsiteX62" fmla="*/ 70081 w 1037921"/>
                <a:gd name="connsiteY62" fmla="*/ 576475 h 617606"/>
                <a:gd name="connsiteX63" fmla="*/ 179706 w 1037921"/>
                <a:gd name="connsiteY63" fmla="*/ 590200 h 617606"/>
                <a:gd name="connsiteX64" fmla="*/ 238936 w 1037921"/>
                <a:gd name="connsiteY64" fmla="*/ 593631 h 617606"/>
                <a:gd name="connsiteX65" fmla="*/ 307088 w 1037921"/>
                <a:gd name="connsiteY65" fmla="*/ 585053 h 617606"/>
                <a:gd name="connsiteX66" fmla="*/ 357440 w 1037921"/>
                <a:gd name="connsiteY66" fmla="*/ 603881 h 617606"/>
                <a:gd name="connsiteX67" fmla="*/ 410794 w 1037921"/>
                <a:gd name="connsiteY67" fmla="*/ 598735 h 617606"/>
                <a:gd name="connsiteX68" fmla="*/ 447807 w 1037921"/>
                <a:gd name="connsiteY68" fmla="*/ 585053 h 617606"/>
                <a:gd name="connsiteX69" fmla="*/ 459645 w 1037921"/>
                <a:gd name="connsiteY69" fmla="*/ 582608 h 617606"/>
                <a:gd name="connsiteX70" fmla="*/ 463505 w 1037921"/>
                <a:gd name="connsiteY70" fmla="*/ 572572 h 617606"/>
                <a:gd name="connsiteX71" fmla="*/ 467794 w 1037921"/>
                <a:gd name="connsiteY71" fmla="*/ 566739 h 617606"/>
                <a:gd name="connsiteX72" fmla="*/ 462647 w 1037921"/>
                <a:gd name="connsiteY72" fmla="*/ 550785 h 617606"/>
                <a:gd name="connsiteX73" fmla="*/ 422631 w 1037921"/>
                <a:gd name="connsiteY73" fmla="*/ 550785 h 617606"/>
                <a:gd name="connsiteX74" fmla="*/ 353022 w 1037921"/>
                <a:gd name="connsiteY74" fmla="*/ 535344 h 617606"/>
                <a:gd name="connsiteX75" fmla="*/ 354523 w 1037921"/>
                <a:gd name="connsiteY75" fmla="*/ 513085 h 617606"/>
                <a:gd name="connsiteX76" fmla="*/ 441932 w 1037921"/>
                <a:gd name="connsiteY76" fmla="*/ 509654 h 617606"/>
                <a:gd name="connsiteX77" fmla="*/ 447850 w 1037921"/>
                <a:gd name="connsiteY77" fmla="*/ 471954 h 617606"/>
                <a:gd name="connsiteX78" fmla="*/ 510082 w 1037921"/>
                <a:gd name="connsiteY78" fmla="*/ 466807 h 617606"/>
                <a:gd name="connsiteX79" fmla="*/ 526338 w 1037921"/>
                <a:gd name="connsiteY79" fmla="*/ 461832 h 617606"/>
                <a:gd name="connsiteX80" fmla="*/ 549884 w 1037921"/>
                <a:gd name="connsiteY80" fmla="*/ 420187 h 617606"/>
                <a:gd name="connsiteX81" fmla="*/ 549627 w 1037921"/>
                <a:gd name="connsiteY81" fmla="*/ 415126 h 617606"/>
                <a:gd name="connsiteX82" fmla="*/ 567683 w 1037921"/>
                <a:gd name="connsiteY82" fmla="*/ 382744 h 617606"/>
                <a:gd name="connsiteX83" fmla="*/ 574717 w 1037921"/>
                <a:gd name="connsiteY83" fmla="*/ 379056 h 617606"/>
                <a:gd name="connsiteX84" fmla="*/ 487866 w 1037921"/>
                <a:gd name="connsiteY84" fmla="*/ 365760 h 617606"/>
                <a:gd name="connsiteX85" fmla="*/ 563394 w 1037921"/>
                <a:gd name="connsiteY85" fmla="*/ 343500 h 617606"/>
                <a:gd name="connsiteX86" fmla="*/ 604868 w 1037921"/>
                <a:gd name="connsiteY86" fmla="*/ 307516 h 617606"/>
                <a:gd name="connsiteX87" fmla="*/ 659080 w 1037921"/>
                <a:gd name="connsiteY87" fmla="*/ 313950 h 617606"/>
                <a:gd name="connsiteX88" fmla="*/ 682026 w 1037921"/>
                <a:gd name="connsiteY88" fmla="*/ 285085 h 617606"/>
                <a:gd name="connsiteX89" fmla="*/ 717152 w 1037921"/>
                <a:gd name="connsiteY89" fmla="*/ 257550 h 617606"/>
                <a:gd name="connsiteX90" fmla="*/ 727917 w 1037921"/>
                <a:gd name="connsiteY90" fmla="*/ 251417 h 617606"/>
                <a:gd name="connsiteX91" fmla="*/ 755409 w 1037921"/>
                <a:gd name="connsiteY91" fmla="*/ 246742 h 617606"/>
                <a:gd name="connsiteX92" fmla="*/ 803360 w 1037921"/>
                <a:gd name="connsiteY92" fmla="*/ 215004 h 617606"/>
                <a:gd name="connsiteX93" fmla="*/ 914443 w 1037921"/>
                <a:gd name="connsiteY93" fmla="*/ 160192 h 617606"/>
                <a:gd name="connsiteX94" fmla="*/ 815197 w 1037921"/>
                <a:gd name="connsiteY94" fmla="*/ 153329 h 617606"/>
                <a:gd name="connsiteX95" fmla="*/ 893727 w 1037921"/>
                <a:gd name="connsiteY95" fmla="*/ 132785 h 617606"/>
                <a:gd name="connsiteX96" fmla="*/ 995933 w 1037921"/>
                <a:gd name="connsiteY96" fmla="*/ 98517 h 617606"/>
                <a:gd name="connsiteX97" fmla="*/ 1004725 w 1037921"/>
                <a:gd name="connsiteY97" fmla="*/ 60946 h 61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037921" h="617606">
                  <a:moveTo>
                    <a:pt x="1004725" y="60946"/>
                  </a:moveTo>
                  <a:cubicBezTo>
                    <a:pt x="983152" y="65363"/>
                    <a:pt x="959477" y="58415"/>
                    <a:pt x="954030" y="44476"/>
                  </a:cubicBezTo>
                  <a:cubicBezTo>
                    <a:pt x="953901" y="44348"/>
                    <a:pt x="953687" y="44219"/>
                    <a:pt x="953558" y="44090"/>
                  </a:cubicBezTo>
                  <a:cubicBezTo>
                    <a:pt x="951027" y="41517"/>
                    <a:pt x="948368" y="39158"/>
                    <a:pt x="945752" y="36670"/>
                  </a:cubicBezTo>
                  <a:cubicBezTo>
                    <a:pt x="945366" y="36327"/>
                    <a:pt x="945195" y="36199"/>
                    <a:pt x="944894" y="35941"/>
                  </a:cubicBezTo>
                  <a:cubicBezTo>
                    <a:pt x="943994" y="35298"/>
                    <a:pt x="943136" y="34655"/>
                    <a:pt x="942235" y="34011"/>
                  </a:cubicBezTo>
                  <a:cubicBezTo>
                    <a:pt x="939362" y="32038"/>
                    <a:pt x="936359" y="30409"/>
                    <a:pt x="933400" y="28693"/>
                  </a:cubicBezTo>
                  <a:cubicBezTo>
                    <a:pt x="932714" y="28436"/>
                    <a:pt x="931985" y="28264"/>
                    <a:pt x="931298" y="28050"/>
                  </a:cubicBezTo>
                  <a:cubicBezTo>
                    <a:pt x="922849" y="28736"/>
                    <a:pt x="915001" y="29551"/>
                    <a:pt x="914357" y="25004"/>
                  </a:cubicBezTo>
                  <a:cubicBezTo>
                    <a:pt x="913628" y="19815"/>
                    <a:pt x="904192" y="18571"/>
                    <a:pt x="890082" y="20801"/>
                  </a:cubicBezTo>
                  <a:cubicBezTo>
                    <a:pt x="885021" y="23503"/>
                    <a:pt x="879360" y="25090"/>
                    <a:pt x="873698" y="25090"/>
                  </a:cubicBezTo>
                  <a:lnTo>
                    <a:pt x="871339" y="25090"/>
                  </a:lnTo>
                  <a:cubicBezTo>
                    <a:pt x="861303" y="27964"/>
                    <a:pt x="850238" y="31953"/>
                    <a:pt x="838872" y="37013"/>
                  </a:cubicBezTo>
                  <a:cubicBezTo>
                    <a:pt x="812195" y="48894"/>
                    <a:pt x="821073" y="36070"/>
                    <a:pt x="834454" y="24790"/>
                  </a:cubicBezTo>
                  <a:cubicBezTo>
                    <a:pt x="823046" y="23846"/>
                    <a:pt x="813481" y="17670"/>
                    <a:pt x="807520" y="8535"/>
                  </a:cubicBezTo>
                  <a:cubicBezTo>
                    <a:pt x="795768" y="8106"/>
                    <a:pt x="783287" y="7506"/>
                    <a:pt x="771879" y="6433"/>
                  </a:cubicBezTo>
                  <a:cubicBezTo>
                    <a:pt x="769992" y="8707"/>
                    <a:pt x="768233" y="11108"/>
                    <a:pt x="766732" y="14025"/>
                  </a:cubicBezTo>
                  <a:cubicBezTo>
                    <a:pt x="761371" y="24704"/>
                    <a:pt x="747218" y="33883"/>
                    <a:pt x="735294" y="32596"/>
                  </a:cubicBezTo>
                  <a:cubicBezTo>
                    <a:pt x="715522" y="30494"/>
                    <a:pt x="699010" y="24490"/>
                    <a:pt x="686100" y="14539"/>
                  </a:cubicBezTo>
                  <a:cubicBezTo>
                    <a:pt x="673920" y="22731"/>
                    <a:pt x="659852" y="28007"/>
                    <a:pt x="643468" y="29465"/>
                  </a:cubicBezTo>
                  <a:cubicBezTo>
                    <a:pt x="611516" y="32339"/>
                    <a:pt x="580035" y="19558"/>
                    <a:pt x="548297" y="27492"/>
                  </a:cubicBezTo>
                  <a:cubicBezTo>
                    <a:pt x="529683" y="32124"/>
                    <a:pt x="515444" y="22817"/>
                    <a:pt x="508238" y="9393"/>
                  </a:cubicBezTo>
                  <a:cubicBezTo>
                    <a:pt x="479545" y="5919"/>
                    <a:pt x="491512" y="38343"/>
                    <a:pt x="458187" y="21573"/>
                  </a:cubicBezTo>
                  <a:cubicBezTo>
                    <a:pt x="424132" y="4418"/>
                    <a:pt x="387076" y="12995"/>
                    <a:pt x="397455" y="18142"/>
                  </a:cubicBezTo>
                  <a:cubicBezTo>
                    <a:pt x="407835" y="23289"/>
                    <a:pt x="394496" y="33539"/>
                    <a:pt x="379699" y="28436"/>
                  </a:cubicBezTo>
                  <a:cubicBezTo>
                    <a:pt x="364902" y="23289"/>
                    <a:pt x="351564" y="30151"/>
                    <a:pt x="358941" y="47264"/>
                  </a:cubicBezTo>
                  <a:cubicBezTo>
                    <a:pt x="366360" y="64420"/>
                    <a:pt x="304128" y="42117"/>
                    <a:pt x="304128" y="60989"/>
                  </a:cubicBezTo>
                  <a:cubicBezTo>
                    <a:pt x="304128" y="79817"/>
                    <a:pt x="281912" y="90110"/>
                    <a:pt x="264155" y="72998"/>
                  </a:cubicBezTo>
                  <a:cubicBezTo>
                    <a:pt x="246356" y="55842"/>
                    <a:pt x="190085" y="50738"/>
                    <a:pt x="206383" y="66135"/>
                  </a:cubicBezTo>
                  <a:cubicBezTo>
                    <a:pt x="222681" y="81533"/>
                    <a:pt x="156031" y="72998"/>
                    <a:pt x="173788" y="88395"/>
                  </a:cubicBezTo>
                  <a:cubicBezTo>
                    <a:pt x="191544" y="103792"/>
                    <a:pt x="151571" y="115801"/>
                    <a:pt x="151571" y="107223"/>
                  </a:cubicBezTo>
                  <a:cubicBezTo>
                    <a:pt x="151571" y="98645"/>
                    <a:pt x="114515" y="83248"/>
                    <a:pt x="99718" y="98645"/>
                  </a:cubicBezTo>
                  <a:cubicBezTo>
                    <a:pt x="84921" y="114086"/>
                    <a:pt x="80460" y="132914"/>
                    <a:pt x="73041" y="122621"/>
                  </a:cubicBezTo>
                  <a:cubicBezTo>
                    <a:pt x="67207" y="114514"/>
                    <a:pt x="45634" y="114986"/>
                    <a:pt x="21531" y="122235"/>
                  </a:cubicBezTo>
                  <a:cubicBezTo>
                    <a:pt x="16083" y="129397"/>
                    <a:pt x="11023" y="138661"/>
                    <a:pt x="6433" y="145566"/>
                  </a:cubicBezTo>
                  <a:cubicBezTo>
                    <a:pt x="13167" y="145009"/>
                    <a:pt x="20844" y="142736"/>
                    <a:pt x="27106" y="138018"/>
                  </a:cubicBezTo>
                  <a:cubicBezTo>
                    <a:pt x="47865" y="122578"/>
                    <a:pt x="64162" y="132871"/>
                    <a:pt x="46363" y="143165"/>
                  </a:cubicBezTo>
                  <a:cubicBezTo>
                    <a:pt x="28564" y="153415"/>
                    <a:pt x="34526" y="160277"/>
                    <a:pt x="59702" y="158562"/>
                  </a:cubicBezTo>
                  <a:cubicBezTo>
                    <a:pt x="84878" y="156846"/>
                    <a:pt x="49323" y="167140"/>
                    <a:pt x="49323" y="184252"/>
                  </a:cubicBezTo>
                  <a:cubicBezTo>
                    <a:pt x="49323" y="201365"/>
                    <a:pt x="78959" y="191115"/>
                    <a:pt x="80417" y="208228"/>
                  </a:cubicBezTo>
                  <a:cubicBezTo>
                    <a:pt x="81876" y="225340"/>
                    <a:pt x="145566" y="232203"/>
                    <a:pt x="164867" y="211659"/>
                  </a:cubicBezTo>
                  <a:cubicBezTo>
                    <a:pt x="184124" y="191115"/>
                    <a:pt x="176704" y="216805"/>
                    <a:pt x="175246" y="230487"/>
                  </a:cubicBezTo>
                  <a:cubicBezTo>
                    <a:pt x="173745" y="244169"/>
                    <a:pt x="265613" y="256178"/>
                    <a:pt x="270031" y="239065"/>
                  </a:cubicBezTo>
                  <a:cubicBezTo>
                    <a:pt x="274492" y="221952"/>
                    <a:pt x="287830" y="228772"/>
                    <a:pt x="305586" y="233918"/>
                  </a:cubicBezTo>
                  <a:cubicBezTo>
                    <a:pt x="323343" y="239065"/>
                    <a:pt x="410751" y="215090"/>
                    <a:pt x="412252" y="194503"/>
                  </a:cubicBezTo>
                  <a:cubicBezTo>
                    <a:pt x="413753" y="173959"/>
                    <a:pt x="440387" y="204796"/>
                    <a:pt x="412252" y="227056"/>
                  </a:cubicBezTo>
                  <a:cubicBezTo>
                    <a:pt x="384117" y="249316"/>
                    <a:pt x="327803" y="245927"/>
                    <a:pt x="302627" y="254462"/>
                  </a:cubicBezTo>
                  <a:cubicBezTo>
                    <a:pt x="277451" y="263040"/>
                    <a:pt x="318925" y="283584"/>
                    <a:pt x="344101" y="305844"/>
                  </a:cubicBezTo>
                  <a:cubicBezTo>
                    <a:pt x="369277" y="328103"/>
                    <a:pt x="311505" y="316137"/>
                    <a:pt x="287830" y="287015"/>
                  </a:cubicBezTo>
                  <a:cubicBezTo>
                    <a:pt x="264112" y="257893"/>
                    <a:pt x="210801" y="257893"/>
                    <a:pt x="182666" y="259609"/>
                  </a:cubicBezTo>
                  <a:cubicBezTo>
                    <a:pt x="154530" y="261325"/>
                    <a:pt x="163408" y="321284"/>
                    <a:pt x="184124" y="321284"/>
                  </a:cubicBezTo>
                  <a:cubicBezTo>
                    <a:pt x="204882" y="321284"/>
                    <a:pt x="225598" y="329862"/>
                    <a:pt x="246356" y="367518"/>
                  </a:cubicBezTo>
                  <a:cubicBezTo>
                    <a:pt x="267115" y="405218"/>
                    <a:pt x="311548" y="396640"/>
                    <a:pt x="311548" y="413753"/>
                  </a:cubicBezTo>
                  <a:cubicBezTo>
                    <a:pt x="311548" y="430866"/>
                    <a:pt x="253776" y="400071"/>
                    <a:pt x="221180" y="393209"/>
                  </a:cubicBezTo>
                  <a:cubicBezTo>
                    <a:pt x="188584" y="386347"/>
                    <a:pt x="136731" y="410322"/>
                    <a:pt x="135273" y="437728"/>
                  </a:cubicBezTo>
                  <a:cubicBezTo>
                    <a:pt x="133772" y="465135"/>
                    <a:pt x="182666" y="461703"/>
                    <a:pt x="215261" y="439444"/>
                  </a:cubicBezTo>
                  <a:cubicBezTo>
                    <a:pt x="247857" y="417184"/>
                    <a:pt x="224140" y="446306"/>
                    <a:pt x="207885" y="463419"/>
                  </a:cubicBezTo>
                  <a:cubicBezTo>
                    <a:pt x="191586" y="480532"/>
                    <a:pt x="246399" y="494256"/>
                    <a:pt x="246399" y="514800"/>
                  </a:cubicBezTo>
                  <a:cubicBezTo>
                    <a:pt x="246399" y="535344"/>
                    <a:pt x="206426" y="528482"/>
                    <a:pt x="201966" y="509654"/>
                  </a:cubicBezTo>
                  <a:cubicBezTo>
                    <a:pt x="197505" y="490825"/>
                    <a:pt x="182709" y="471954"/>
                    <a:pt x="144194" y="475385"/>
                  </a:cubicBezTo>
                  <a:cubicBezTo>
                    <a:pt x="105679" y="478816"/>
                    <a:pt x="116016" y="509654"/>
                    <a:pt x="139733" y="513085"/>
                  </a:cubicBezTo>
                  <a:cubicBezTo>
                    <a:pt x="163451" y="516516"/>
                    <a:pt x="164909" y="537060"/>
                    <a:pt x="138232" y="537060"/>
                  </a:cubicBezTo>
                  <a:cubicBezTo>
                    <a:pt x="111598" y="537060"/>
                    <a:pt x="51424" y="556403"/>
                    <a:pt x="70081" y="576475"/>
                  </a:cubicBezTo>
                  <a:cubicBezTo>
                    <a:pt x="90797" y="598735"/>
                    <a:pt x="166368" y="576475"/>
                    <a:pt x="179706" y="590200"/>
                  </a:cubicBezTo>
                  <a:cubicBezTo>
                    <a:pt x="193045" y="603924"/>
                    <a:pt x="230058" y="609028"/>
                    <a:pt x="238936" y="593631"/>
                  </a:cubicBezTo>
                  <a:cubicBezTo>
                    <a:pt x="247815" y="578191"/>
                    <a:pt x="277451" y="585053"/>
                    <a:pt x="307088" y="585053"/>
                  </a:cubicBezTo>
                  <a:cubicBezTo>
                    <a:pt x="336724" y="585053"/>
                    <a:pt x="344144" y="590200"/>
                    <a:pt x="357440" y="603881"/>
                  </a:cubicBezTo>
                  <a:cubicBezTo>
                    <a:pt x="370778" y="617563"/>
                    <a:pt x="394496" y="612459"/>
                    <a:pt x="410794" y="598735"/>
                  </a:cubicBezTo>
                  <a:cubicBezTo>
                    <a:pt x="427092" y="585053"/>
                    <a:pt x="427092" y="585053"/>
                    <a:pt x="447807" y="585053"/>
                  </a:cubicBezTo>
                  <a:cubicBezTo>
                    <a:pt x="452654" y="585053"/>
                    <a:pt x="456557" y="584152"/>
                    <a:pt x="459645" y="582608"/>
                  </a:cubicBezTo>
                  <a:cubicBezTo>
                    <a:pt x="460502" y="578963"/>
                    <a:pt x="461832" y="575489"/>
                    <a:pt x="463505" y="572572"/>
                  </a:cubicBezTo>
                  <a:cubicBezTo>
                    <a:pt x="464748" y="570385"/>
                    <a:pt x="466207" y="568498"/>
                    <a:pt x="467794" y="566739"/>
                  </a:cubicBezTo>
                  <a:cubicBezTo>
                    <a:pt x="467451" y="561979"/>
                    <a:pt x="465821" y="556575"/>
                    <a:pt x="462647" y="550785"/>
                  </a:cubicBezTo>
                  <a:cubicBezTo>
                    <a:pt x="452268" y="531956"/>
                    <a:pt x="425633" y="564466"/>
                    <a:pt x="422631" y="550785"/>
                  </a:cubicBezTo>
                  <a:cubicBezTo>
                    <a:pt x="418986" y="533843"/>
                    <a:pt x="394496" y="528482"/>
                    <a:pt x="353022" y="535344"/>
                  </a:cubicBezTo>
                  <a:cubicBezTo>
                    <a:pt x="311548" y="542207"/>
                    <a:pt x="329304" y="504507"/>
                    <a:pt x="354523" y="513085"/>
                  </a:cubicBezTo>
                  <a:cubicBezTo>
                    <a:pt x="379699" y="521663"/>
                    <a:pt x="413796" y="518231"/>
                    <a:pt x="441932" y="509654"/>
                  </a:cubicBezTo>
                  <a:cubicBezTo>
                    <a:pt x="470067" y="501076"/>
                    <a:pt x="447850" y="485679"/>
                    <a:pt x="447850" y="471954"/>
                  </a:cubicBezTo>
                  <a:cubicBezTo>
                    <a:pt x="447850" y="458229"/>
                    <a:pt x="483405" y="466807"/>
                    <a:pt x="510082" y="466807"/>
                  </a:cubicBezTo>
                  <a:cubicBezTo>
                    <a:pt x="515186" y="466807"/>
                    <a:pt x="520719" y="464963"/>
                    <a:pt x="526338" y="461832"/>
                  </a:cubicBezTo>
                  <a:cubicBezTo>
                    <a:pt x="531656" y="445534"/>
                    <a:pt x="538475" y="431424"/>
                    <a:pt x="549884" y="420187"/>
                  </a:cubicBezTo>
                  <a:cubicBezTo>
                    <a:pt x="549798" y="418514"/>
                    <a:pt x="549627" y="416884"/>
                    <a:pt x="549627" y="415126"/>
                  </a:cubicBezTo>
                  <a:cubicBezTo>
                    <a:pt x="549412" y="402859"/>
                    <a:pt x="556489" y="388148"/>
                    <a:pt x="567683" y="382744"/>
                  </a:cubicBezTo>
                  <a:cubicBezTo>
                    <a:pt x="570042" y="381586"/>
                    <a:pt x="572401" y="380342"/>
                    <a:pt x="574717" y="379056"/>
                  </a:cubicBezTo>
                  <a:cubicBezTo>
                    <a:pt x="564080" y="360485"/>
                    <a:pt x="513943" y="365760"/>
                    <a:pt x="487866" y="365760"/>
                  </a:cubicBezTo>
                  <a:cubicBezTo>
                    <a:pt x="458229" y="365760"/>
                    <a:pt x="507123" y="340069"/>
                    <a:pt x="563394" y="343500"/>
                  </a:cubicBezTo>
                  <a:cubicBezTo>
                    <a:pt x="619708" y="346932"/>
                    <a:pt x="594489" y="317810"/>
                    <a:pt x="604868" y="307516"/>
                  </a:cubicBezTo>
                  <a:cubicBezTo>
                    <a:pt x="613875" y="298595"/>
                    <a:pt x="635191" y="314207"/>
                    <a:pt x="659080" y="313950"/>
                  </a:cubicBezTo>
                  <a:cubicBezTo>
                    <a:pt x="670660" y="303399"/>
                    <a:pt x="681082" y="292291"/>
                    <a:pt x="682026" y="285085"/>
                  </a:cubicBezTo>
                  <a:cubicBezTo>
                    <a:pt x="684042" y="269602"/>
                    <a:pt x="703041" y="256821"/>
                    <a:pt x="717152" y="257550"/>
                  </a:cubicBezTo>
                  <a:cubicBezTo>
                    <a:pt x="716723" y="262740"/>
                    <a:pt x="720283" y="260724"/>
                    <a:pt x="727917" y="251417"/>
                  </a:cubicBezTo>
                  <a:cubicBezTo>
                    <a:pt x="737653" y="245027"/>
                    <a:pt x="747175" y="244126"/>
                    <a:pt x="755409" y="246742"/>
                  </a:cubicBezTo>
                  <a:cubicBezTo>
                    <a:pt x="768791" y="237778"/>
                    <a:pt x="784660" y="227099"/>
                    <a:pt x="803360" y="215004"/>
                  </a:cubicBezTo>
                  <a:cubicBezTo>
                    <a:pt x="864091" y="175589"/>
                    <a:pt x="911484" y="182451"/>
                    <a:pt x="914443" y="160192"/>
                  </a:cubicBezTo>
                  <a:cubicBezTo>
                    <a:pt x="917402" y="137932"/>
                    <a:pt x="829994" y="160192"/>
                    <a:pt x="815197" y="153329"/>
                  </a:cubicBezTo>
                  <a:cubicBezTo>
                    <a:pt x="800400" y="146467"/>
                    <a:pt x="875928" y="127639"/>
                    <a:pt x="893727" y="132785"/>
                  </a:cubicBezTo>
                  <a:cubicBezTo>
                    <a:pt x="911484" y="137932"/>
                    <a:pt x="935201" y="132785"/>
                    <a:pt x="995933" y="98517"/>
                  </a:cubicBezTo>
                  <a:cubicBezTo>
                    <a:pt x="1056535" y="64377"/>
                    <a:pt x="1029901" y="55799"/>
                    <a:pt x="1004725" y="6094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84" name="Freeform: Shape 229">
              <a:extLst>
                <a:ext uri="{FF2B5EF4-FFF2-40B4-BE49-F238E27FC236}">
                  <a16:creationId xmlns:a16="http://schemas.microsoft.com/office/drawing/2014/main" id="{13F166B2-EF71-8FDE-3F74-4B3236D58C84}"/>
                </a:ext>
              </a:extLst>
            </p:cNvPr>
            <p:cNvSpPr/>
            <p:nvPr/>
          </p:nvSpPr>
          <p:spPr>
            <a:xfrm>
              <a:off x="4280171" y="1349480"/>
              <a:ext cx="173858" cy="111532"/>
            </a:xfrm>
            <a:custGeom>
              <a:avLst/>
              <a:gdLst>
                <a:gd name="connsiteX0" fmla="*/ 207529 w 227313"/>
                <a:gd name="connsiteY0" fmla="*/ 84883 h 145823"/>
                <a:gd name="connsiteX1" fmla="*/ 167556 w 227313"/>
                <a:gd name="connsiteY1" fmla="*/ 57477 h 145823"/>
                <a:gd name="connsiteX2" fmla="*/ 132001 w 227313"/>
                <a:gd name="connsiteY2" fmla="*/ 30071 h 145823"/>
                <a:gd name="connsiteX3" fmla="*/ 109784 w 227313"/>
                <a:gd name="connsiteY3" fmla="*/ 26640 h 145823"/>
                <a:gd name="connsiteX4" fmla="*/ 29538 w 227313"/>
                <a:gd name="connsiteY4" fmla="*/ 7554 h 145823"/>
                <a:gd name="connsiteX5" fmla="*/ 10195 w 227313"/>
                <a:gd name="connsiteY5" fmla="*/ 20120 h 145823"/>
                <a:gd name="connsiteX6" fmla="*/ 6678 w 227313"/>
                <a:gd name="connsiteY6" fmla="*/ 20892 h 145823"/>
                <a:gd name="connsiteX7" fmla="*/ 35715 w 227313"/>
                <a:gd name="connsiteY7" fmla="*/ 52373 h 145823"/>
                <a:gd name="connsiteX8" fmla="*/ 80148 w 227313"/>
                <a:gd name="connsiteY8" fmla="*/ 76348 h 145823"/>
                <a:gd name="connsiteX9" fmla="*/ 26836 w 227313"/>
                <a:gd name="connsiteY9" fmla="*/ 86642 h 145823"/>
                <a:gd name="connsiteX10" fmla="*/ 69769 w 227313"/>
                <a:gd name="connsiteY10" fmla="*/ 100323 h 145823"/>
                <a:gd name="connsiteX11" fmla="*/ 158635 w 227313"/>
                <a:gd name="connsiteY11" fmla="*/ 119152 h 145823"/>
                <a:gd name="connsiteX12" fmla="*/ 220868 w 227313"/>
                <a:gd name="connsiteY12" fmla="*/ 127730 h 145823"/>
                <a:gd name="connsiteX13" fmla="*/ 207529 w 227313"/>
                <a:gd name="connsiteY13" fmla="*/ 84883 h 14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7313" h="145823">
                  <a:moveTo>
                    <a:pt x="207529" y="84883"/>
                  </a:moveTo>
                  <a:cubicBezTo>
                    <a:pt x="214949" y="67770"/>
                    <a:pt x="183811" y="57477"/>
                    <a:pt x="167556" y="57477"/>
                  </a:cubicBezTo>
                  <a:cubicBezTo>
                    <a:pt x="151258" y="57477"/>
                    <a:pt x="145339" y="23251"/>
                    <a:pt x="132001" y="30071"/>
                  </a:cubicBezTo>
                  <a:cubicBezTo>
                    <a:pt x="118662" y="36933"/>
                    <a:pt x="109784" y="48899"/>
                    <a:pt x="109784" y="26640"/>
                  </a:cubicBezTo>
                  <a:cubicBezTo>
                    <a:pt x="109784" y="8540"/>
                    <a:pt x="58918" y="3994"/>
                    <a:pt x="29538" y="7554"/>
                  </a:cubicBezTo>
                  <a:cubicBezTo>
                    <a:pt x="25335" y="13301"/>
                    <a:pt x="18988" y="17847"/>
                    <a:pt x="10195" y="20120"/>
                  </a:cubicBezTo>
                  <a:cubicBezTo>
                    <a:pt x="9037" y="20421"/>
                    <a:pt x="7836" y="20592"/>
                    <a:pt x="6678" y="20892"/>
                  </a:cubicBezTo>
                  <a:cubicBezTo>
                    <a:pt x="4148" y="36761"/>
                    <a:pt x="21733" y="63138"/>
                    <a:pt x="35715" y="52373"/>
                  </a:cubicBezTo>
                  <a:cubicBezTo>
                    <a:pt x="53471" y="38649"/>
                    <a:pt x="86067" y="60951"/>
                    <a:pt x="80148" y="76348"/>
                  </a:cubicBezTo>
                  <a:cubicBezTo>
                    <a:pt x="74229" y="91788"/>
                    <a:pt x="22976" y="73260"/>
                    <a:pt x="26836" y="86642"/>
                  </a:cubicBezTo>
                  <a:cubicBezTo>
                    <a:pt x="28338" y="91788"/>
                    <a:pt x="34256" y="112332"/>
                    <a:pt x="69769" y="100323"/>
                  </a:cubicBezTo>
                  <a:cubicBezTo>
                    <a:pt x="105324" y="88314"/>
                    <a:pt x="134960" y="96892"/>
                    <a:pt x="158635" y="119152"/>
                  </a:cubicBezTo>
                  <a:cubicBezTo>
                    <a:pt x="182353" y="141454"/>
                    <a:pt x="204570" y="149989"/>
                    <a:pt x="220868" y="127730"/>
                  </a:cubicBezTo>
                  <a:cubicBezTo>
                    <a:pt x="237166" y="105427"/>
                    <a:pt x="200152" y="101996"/>
                    <a:pt x="207529" y="8488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85" name="Freeform: Shape 230">
              <a:extLst>
                <a:ext uri="{FF2B5EF4-FFF2-40B4-BE49-F238E27FC236}">
                  <a16:creationId xmlns:a16="http://schemas.microsoft.com/office/drawing/2014/main" id="{B65E4003-B751-36F9-7775-C44AC71C5B09}"/>
                </a:ext>
              </a:extLst>
            </p:cNvPr>
            <p:cNvSpPr/>
            <p:nvPr/>
          </p:nvSpPr>
          <p:spPr>
            <a:xfrm>
              <a:off x="4421606" y="1302714"/>
              <a:ext cx="45925" cy="32803"/>
            </a:xfrm>
            <a:custGeom>
              <a:avLst/>
              <a:gdLst>
                <a:gd name="connsiteX0" fmla="*/ 53745 w 60045"/>
                <a:gd name="connsiteY0" fmla="*/ 32974 h 42889"/>
                <a:gd name="connsiteX1" fmla="*/ 9312 w 60045"/>
                <a:gd name="connsiteY1" fmla="*/ 14145 h 42889"/>
                <a:gd name="connsiteX2" fmla="*/ 53745 w 60045"/>
                <a:gd name="connsiteY2" fmla="*/ 32974 h 42889"/>
              </a:gdLst>
              <a:ahLst/>
              <a:cxnLst>
                <a:cxn ang="0">
                  <a:pos x="connsiteX0" y="connsiteY0"/>
                </a:cxn>
                <a:cxn ang="0">
                  <a:pos x="connsiteX1" y="connsiteY1"/>
                </a:cxn>
                <a:cxn ang="0">
                  <a:pos x="connsiteX2" y="connsiteY2"/>
                </a:cxn>
              </a:cxnLst>
              <a:rect l="l" t="t" r="r" b="b"/>
              <a:pathLst>
                <a:path w="60045" h="42889">
                  <a:moveTo>
                    <a:pt x="53745" y="32974"/>
                  </a:moveTo>
                  <a:cubicBezTo>
                    <a:pt x="64125" y="12387"/>
                    <a:pt x="-8701" y="-3740"/>
                    <a:pt x="9312" y="14145"/>
                  </a:cubicBezTo>
                  <a:cubicBezTo>
                    <a:pt x="19648" y="24396"/>
                    <a:pt x="43366" y="53518"/>
                    <a:pt x="53745" y="32974"/>
                  </a:cubicBezTo>
                  <a:close/>
                </a:path>
              </a:pathLst>
            </a:custGeom>
            <a:grpFill/>
            <a:ln w="1905" cap="flat">
              <a:solidFill>
                <a:schemeClr val="bg1"/>
              </a:solidFill>
              <a:prstDash val="solid"/>
              <a:miter/>
            </a:ln>
          </p:spPr>
          <p:txBody>
            <a:bodyPr rtlCol="0" anchor="ctr"/>
            <a:lstStyle/>
            <a:p>
              <a:endParaRPr lang="en-US" dirty="0">
                <a:sym typeface="+mn-lt"/>
              </a:endParaRPr>
            </a:p>
          </p:txBody>
        </p:sp>
      </p:grpSp>
      <p:grpSp>
        <p:nvGrpSpPr>
          <p:cNvPr id="86" name="Group 18">
            <a:extLst>
              <a:ext uri="{FF2B5EF4-FFF2-40B4-BE49-F238E27FC236}">
                <a16:creationId xmlns:a16="http://schemas.microsoft.com/office/drawing/2014/main" id="{6CE9B91F-260E-528B-CB41-0D23E497BBBD}"/>
              </a:ext>
            </a:extLst>
          </p:cNvPr>
          <p:cNvGrpSpPr/>
          <p:nvPr/>
        </p:nvGrpSpPr>
        <p:grpSpPr>
          <a:xfrm>
            <a:off x="6377744" y="1278235"/>
            <a:ext cx="1760685" cy="2089382"/>
            <a:chOff x="6377744" y="1278235"/>
            <a:chExt cx="1760685" cy="2089382"/>
          </a:xfrm>
          <a:solidFill>
            <a:schemeClr val="accent1">
              <a:alpha val="50000"/>
            </a:schemeClr>
          </a:solidFill>
        </p:grpSpPr>
        <p:sp>
          <p:nvSpPr>
            <p:cNvPr id="87" name="Freeform: Shape 131">
              <a:extLst>
                <a:ext uri="{FF2B5EF4-FFF2-40B4-BE49-F238E27FC236}">
                  <a16:creationId xmlns:a16="http://schemas.microsoft.com/office/drawing/2014/main" id="{71D601E9-4796-126B-50A2-7D2F4A6292DD}"/>
                </a:ext>
              </a:extLst>
            </p:cNvPr>
            <p:cNvSpPr/>
            <p:nvPr/>
          </p:nvSpPr>
          <p:spPr>
            <a:xfrm>
              <a:off x="7652939" y="3105285"/>
              <a:ext cx="485490" cy="223063"/>
            </a:xfrm>
            <a:custGeom>
              <a:avLst/>
              <a:gdLst>
                <a:gd name="connsiteX0" fmla="*/ 613146 w 634761"/>
                <a:gd name="connsiteY0" fmla="*/ 202266 h 291647"/>
                <a:gd name="connsiteX1" fmla="*/ 613146 w 634761"/>
                <a:gd name="connsiteY1" fmla="*/ 161092 h 291647"/>
                <a:gd name="connsiteX2" fmla="*/ 611816 w 634761"/>
                <a:gd name="connsiteY2" fmla="*/ 129097 h 291647"/>
                <a:gd name="connsiteX3" fmla="*/ 620566 w 634761"/>
                <a:gd name="connsiteY3" fmla="*/ 109239 h 291647"/>
                <a:gd name="connsiteX4" fmla="*/ 614432 w 634761"/>
                <a:gd name="connsiteY4" fmla="*/ 95043 h 291647"/>
                <a:gd name="connsiteX5" fmla="*/ 588785 w 634761"/>
                <a:gd name="connsiteY5" fmla="*/ 82476 h 291647"/>
                <a:gd name="connsiteX6" fmla="*/ 579864 w 634761"/>
                <a:gd name="connsiteY6" fmla="*/ 49323 h 291647"/>
                <a:gd name="connsiteX7" fmla="*/ 556189 w 634761"/>
                <a:gd name="connsiteY7" fmla="*/ 27621 h 291647"/>
                <a:gd name="connsiteX8" fmla="*/ 521277 w 634761"/>
                <a:gd name="connsiteY8" fmla="*/ 28864 h 291647"/>
                <a:gd name="connsiteX9" fmla="*/ 459388 w 634761"/>
                <a:gd name="connsiteY9" fmla="*/ 52797 h 291647"/>
                <a:gd name="connsiteX10" fmla="*/ 401144 w 634761"/>
                <a:gd name="connsiteY10" fmla="*/ 54512 h 291647"/>
                <a:gd name="connsiteX11" fmla="*/ 361643 w 634761"/>
                <a:gd name="connsiteY11" fmla="*/ 39673 h 291647"/>
                <a:gd name="connsiteX12" fmla="*/ 332006 w 634761"/>
                <a:gd name="connsiteY12" fmla="*/ 24233 h 291647"/>
                <a:gd name="connsiteX13" fmla="*/ 282126 w 634761"/>
                <a:gd name="connsiteY13" fmla="*/ 8835 h 291647"/>
                <a:gd name="connsiteX14" fmla="*/ 180907 w 634761"/>
                <a:gd name="connsiteY14" fmla="*/ 44819 h 291647"/>
                <a:gd name="connsiteX15" fmla="*/ 107824 w 634761"/>
                <a:gd name="connsiteY15" fmla="*/ 49409 h 291647"/>
                <a:gd name="connsiteX16" fmla="*/ 91012 w 634761"/>
                <a:gd name="connsiteY16" fmla="*/ 79088 h 291647"/>
                <a:gd name="connsiteX17" fmla="*/ 20887 w 634761"/>
                <a:gd name="connsiteY17" fmla="*/ 85950 h 291647"/>
                <a:gd name="connsiteX18" fmla="*/ 13982 w 634761"/>
                <a:gd name="connsiteY18" fmla="*/ 114515 h 291647"/>
                <a:gd name="connsiteX19" fmla="*/ 27835 w 634761"/>
                <a:gd name="connsiteY19" fmla="*/ 125322 h 291647"/>
                <a:gd name="connsiteX20" fmla="*/ 30795 w 634761"/>
                <a:gd name="connsiteY20" fmla="*/ 153887 h 291647"/>
                <a:gd name="connsiteX21" fmla="*/ 31781 w 634761"/>
                <a:gd name="connsiteY21" fmla="*/ 180693 h 291647"/>
                <a:gd name="connsiteX22" fmla="*/ 31781 w 634761"/>
                <a:gd name="connsiteY22" fmla="*/ 201837 h 291647"/>
                <a:gd name="connsiteX23" fmla="*/ 48551 w 634761"/>
                <a:gd name="connsiteY23" fmla="*/ 221823 h 291647"/>
                <a:gd name="connsiteX24" fmla="*/ 70296 w 634761"/>
                <a:gd name="connsiteY24" fmla="*/ 237264 h 291647"/>
                <a:gd name="connsiteX25" fmla="*/ 87066 w 634761"/>
                <a:gd name="connsiteY25" fmla="*/ 243011 h 291647"/>
                <a:gd name="connsiteX26" fmla="*/ 107781 w 634761"/>
                <a:gd name="connsiteY26" fmla="*/ 267544 h 291647"/>
                <a:gd name="connsiteX27" fmla="*/ 150713 w 634761"/>
                <a:gd name="connsiteY27" fmla="*/ 258408 h 291647"/>
                <a:gd name="connsiteX28" fmla="*/ 177862 w 634761"/>
                <a:gd name="connsiteY28" fmla="*/ 244126 h 291647"/>
                <a:gd name="connsiteX29" fmla="*/ 223282 w 634761"/>
                <a:gd name="connsiteY29" fmla="*/ 274963 h 291647"/>
                <a:gd name="connsiteX30" fmla="*/ 257850 w 634761"/>
                <a:gd name="connsiteY30" fmla="*/ 268101 h 291647"/>
                <a:gd name="connsiteX31" fmla="*/ 288945 w 634761"/>
                <a:gd name="connsiteY31" fmla="*/ 245241 h 291647"/>
                <a:gd name="connsiteX32" fmla="*/ 314636 w 634761"/>
                <a:gd name="connsiteY32" fmla="*/ 252661 h 291647"/>
                <a:gd name="connsiteX33" fmla="*/ 340284 w 634761"/>
                <a:gd name="connsiteY33" fmla="*/ 244683 h 291647"/>
                <a:gd name="connsiteX34" fmla="*/ 331406 w 634761"/>
                <a:gd name="connsiteY34" fmla="*/ 275521 h 291647"/>
                <a:gd name="connsiteX35" fmla="*/ 332178 w 634761"/>
                <a:gd name="connsiteY35" fmla="*/ 288602 h 291647"/>
                <a:gd name="connsiteX36" fmla="*/ 351950 w 634761"/>
                <a:gd name="connsiteY36" fmla="*/ 261796 h 291647"/>
                <a:gd name="connsiteX37" fmla="*/ 365160 w 634761"/>
                <a:gd name="connsiteY37" fmla="*/ 252661 h 291647"/>
                <a:gd name="connsiteX38" fmla="*/ 395483 w 634761"/>
                <a:gd name="connsiteY38" fmla="*/ 252661 h 291647"/>
                <a:gd name="connsiteX39" fmla="*/ 416584 w 634761"/>
                <a:gd name="connsiteY39" fmla="*/ 248115 h 291647"/>
                <a:gd name="connsiteX40" fmla="*/ 454841 w 634761"/>
                <a:gd name="connsiteY40" fmla="*/ 249616 h 291647"/>
                <a:gd name="connsiteX41" fmla="*/ 499660 w 634761"/>
                <a:gd name="connsiteY41" fmla="*/ 234347 h 291647"/>
                <a:gd name="connsiteX42" fmla="*/ 536589 w 634761"/>
                <a:gd name="connsiteY42" fmla="*/ 228257 h 291647"/>
                <a:gd name="connsiteX43" fmla="*/ 549112 w 634761"/>
                <a:gd name="connsiteY43" fmla="*/ 232589 h 291647"/>
                <a:gd name="connsiteX44" fmla="*/ 563994 w 634761"/>
                <a:gd name="connsiteY44" fmla="*/ 219507 h 291647"/>
                <a:gd name="connsiteX45" fmla="*/ 593631 w 634761"/>
                <a:gd name="connsiteY45" fmla="*/ 226370 h 291647"/>
                <a:gd name="connsiteX46" fmla="*/ 628886 w 634761"/>
                <a:gd name="connsiteY46" fmla="*/ 232803 h 291647"/>
                <a:gd name="connsiteX47" fmla="*/ 613146 w 634761"/>
                <a:gd name="connsiteY47" fmla="*/ 202266 h 291647"/>
                <a:gd name="connsiteX48" fmla="*/ 56957 w 634761"/>
                <a:gd name="connsiteY48" fmla="*/ 55070 h 291647"/>
                <a:gd name="connsiteX49" fmla="*/ 101905 w 634761"/>
                <a:gd name="connsiteY49" fmla="*/ 49923 h 291647"/>
                <a:gd name="connsiteX50" fmla="*/ 76729 w 634761"/>
                <a:gd name="connsiteY50" fmla="*/ 26506 h 291647"/>
                <a:gd name="connsiteX51" fmla="*/ 68495 w 634761"/>
                <a:gd name="connsiteY51" fmla="*/ 6433 h 291647"/>
                <a:gd name="connsiteX52" fmla="*/ 54984 w 634761"/>
                <a:gd name="connsiteY52" fmla="*/ 9350 h 291647"/>
                <a:gd name="connsiteX53" fmla="*/ 20930 w 634761"/>
                <a:gd name="connsiteY53" fmla="*/ 9350 h 291647"/>
                <a:gd name="connsiteX54" fmla="*/ 23890 w 634761"/>
                <a:gd name="connsiteY54" fmla="*/ 35040 h 291647"/>
                <a:gd name="connsiteX55" fmla="*/ 14240 w 634761"/>
                <a:gd name="connsiteY55" fmla="*/ 53054 h 291647"/>
                <a:gd name="connsiteX56" fmla="*/ 6433 w 634761"/>
                <a:gd name="connsiteY56" fmla="*/ 66307 h 291647"/>
                <a:gd name="connsiteX57" fmla="*/ 25862 w 634761"/>
                <a:gd name="connsiteY57" fmla="*/ 77329 h 291647"/>
                <a:gd name="connsiteX58" fmla="*/ 56957 w 634761"/>
                <a:gd name="connsiteY58" fmla="*/ 55070 h 29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634761" h="291647">
                  <a:moveTo>
                    <a:pt x="613146" y="202266"/>
                  </a:moveTo>
                  <a:cubicBezTo>
                    <a:pt x="607871" y="200765"/>
                    <a:pt x="615805" y="167225"/>
                    <a:pt x="613146" y="161092"/>
                  </a:cubicBezTo>
                  <a:cubicBezTo>
                    <a:pt x="610487" y="155002"/>
                    <a:pt x="603882" y="129097"/>
                    <a:pt x="611816" y="129097"/>
                  </a:cubicBezTo>
                  <a:cubicBezTo>
                    <a:pt x="619022" y="129097"/>
                    <a:pt x="611087" y="110354"/>
                    <a:pt x="620566" y="109239"/>
                  </a:cubicBezTo>
                  <a:cubicBezTo>
                    <a:pt x="618550" y="102720"/>
                    <a:pt x="616363" y="96801"/>
                    <a:pt x="614432" y="95043"/>
                  </a:cubicBezTo>
                  <a:cubicBezTo>
                    <a:pt x="609500" y="90496"/>
                    <a:pt x="594660" y="99632"/>
                    <a:pt x="588785" y="82476"/>
                  </a:cubicBezTo>
                  <a:cubicBezTo>
                    <a:pt x="582866" y="65363"/>
                    <a:pt x="588785" y="63047"/>
                    <a:pt x="579864" y="49323"/>
                  </a:cubicBezTo>
                  <a:cubicBezTo>
                    <a:pt x="570985" y="35641"/>
                    <a:pt x="567040" y="21916"/>
                    <a:pt x="556189" y="27621"/>
                  </a:cubicBezTo>
                  <a:cubicBezTo>
                    <a:pt x="551171" y="30237"/>
                    <a:pt x="536674" y="30194"/>
                    <a:pt x="521277" y="28864"/>
                  </a:cubicBezTo>
                  <a:cubicBezTo>
                    <a:pt x="505236" y="45763"/>
                    <a:pt x="470110" y="57343"/>
                    <a:pt x="459388" y="52797"/>
                  </a:cubicBezTo>
                  <a:cubicBezTo>
                    <a:pt x="446049" y="47135"/>
                    <a:pt x="420401" y="54512"/>
                    <a:pt x="401144" y="54512"/>
                  </a:cubicBezTo>
                  <a:cubicBezTo>
                    <a:pt x="381887" y="54512"/>
                    <a:pt x="376440" y="38515"/>
                    <a:pt x="361643" y="39673"/>
                  </a:cubicBezTo>
                  <a:cubicBezTo>
                    <a:pt x="346846" y="40831"/>
                    <a:pt x="346846" y="24233"/>
                    <a:pt x="332006" y="24233"/>
                  </a:cubicBezTo>
                  <a:cubicBezTo>
                    <a:pt x="317210" y="24233"/>
                    <a:pt x="328575" y="15655"/>
                    <a:pt x="282126" y="8835"/>
                  </a:cubicBezTo>
                  <a:cubicBezTo>
                    <a:pt x="235677" y="1973"/>
                    <a:pt x="195704" y="29980"/>
                    <a:pt x="180907" y="44819"/>
                  </a:cubicBezTo>
                  <a:cubicBezTo>
                    <a:pt x="166111" y="59702"/>
                    <a:pt x="112756" y="45377"/>
                    <a:pt x="107824" y="49409"/>
                  </a:cubicBezTo>
                  <a:cubicBezTo>
                    <a:pt x="102891" y="53397"/>
                    <a:pt x="108810" y="71111"/>
                    <a:pt x="91012" y="79088"/>
                  </a:cubicBezTo>
                  <a:cubicBezTo>
                    <a:pt x="73255" y="87108"/>
                    <a:pt x="34226" y="79088"/>
                    <a:pt x="20887" y="85950"/>
                  </a:cubicBezTo>
                  <a:cubicBezTo>
                    <a:pt x="7549" y="92770"/>
                    <a:pt x="2659" y="115630"/>
                    <a:pt x="13982" y="114515"/>
                  </a:cubicBezTo>
                  <a:cubicBezTo>
                    <a:pt x="25348" y="113356"/>
                    <a:pt x="31266" y="119661"/>
                    <a:pt x="27835" y="125322"/>
                  </a:cubicBezTo>
                  <a:cubicBezTo>
                    <a:pt x="24361" y="131027"/>
                    <a:pt x="37185" y="147024"/>
                    <a:pt x="30795" y="153887"/>
                  </a:cubicBezTo>
                  <a:cubicBezTo>
                    <a:pt x="24404" y="160749"/>
                    <a:pt x="23890" y="173830"/>
                    <a:pt x="31781" y="180693"/>
                  </a:cubicBezTo>
                  <a:cubicBezTo>
                    <a:pt x="39673" y="187555"/>
                    <a:pt x="41131" y="200121"/>
                    <a:pt x="31781" y="201837"/>
                  </a:cubicBezTo>
                  <a:cubicBezTo>
                    <a:pt x="22389" y="203553"/>
                    <a:pt x="48079" y="216119"/>
                    <a:pt x="48551" y="221823"/>
                  </a:cubicBezTo>
                  <a:cubicBezTo>
                    <a:pt x="49023" y="227528"/>
                    <a:pt x="70296" y="230401"/>
                    <a:pt x="70296" y="237264"/>
                  </a:cubicBezTo>
                  <a:cubicBezTo>
                    <a:pt x="70296" y="244126"/>
                    <a:pt x="76686" y="246399"/>
                    <a:pt x="87066" y="243011"/>
                  </a:cubicBezTo>
                  <a:cubicBezTo>
                    <a:pt x="97445" y="239580"/>
                    <a:pt x="101390" y="256135"/>
                    <a:pt x="107781" y="267544"/>
                  </a:cubicBezTo>
                  <a:cubicBezTo>
                    <a:pt x="114171" y="278952"/>
                    <a:pt x="150713" y="270932"/>
                    <a:pt x="150713" y="258408"/>
                  </a:cubicBezTo>
                  <a:cubicBezTo>
                    <a:pt x="150713" y="245842"/>
                    <a:pt x="161564" y="242410"/>
                    <a:pt x="177862" y="244126"/>
                  </a:cubicBezTo>
                  <a:cubicBezTo>
                    <a:pt x="194160" y="245842"/>
                    <a:pt x="215433" y="271532"/>
                    <a:pt x="223282" y="274963"/>
                  </a:cubicBezTo>
                  <a:cubicBezTo>
                    <a:pt x="231173" y="278352"/>
                    <a:pt x="247472" y="268101"/>
                    <a:pt x="257850" y="268101"/>
                  </a:cubicBezTo>
                  <a:cubicBezTo>
                    <a:pt x="268230" y="268101"/>
                    <a:pt x="283026" y="249230"/>
                    <a:pt x="288945" y="245241"/>
                  </a:cubicBezTo>
                  <a:cubicBezTo>
                    <a:pt x="294864" y="241252"/>
                    <a:pt x="305243" y="258408"/>
                    <a:pt x="314636" y="252661"/>
                  </a:cubicBezTo>
                  <a:cubicBezTo>
                    <a:pt x="323986" y="246957"/>
                    <a:pt x="334365" y="240652"/>
                    <a:pt x="340284" y="244683"/>
                  </a:cubicBezTo>
                  <a:cubicBezTo>
                    <a:pt x="346203" y="248672"/>
                    <a:pt x="325959" y="266385"/>
                    <a:pt x="331406" y="275521"/>
                  </a:cubicBezTo>
                  <a:cubicBezTo>
                    <a:pt x="333593" y="279209"/>
                    <a:pt x="333121" y="283841"/>
                    <a:pt x="332178" y="288602"/>
                  </a:cubicBezTo>
                  <a:cubicBezTo>
                    <a:pt x="352636" y="285342"/>
                    <a:pt x="350706" y="268959"/>
                    <a:pt x="351950" y="261796"/>
                  </a:cubicBezTo>
                  <a:cubicBezTo>
                    <a:pt x="353279" y="254162"/>
                    <a:pt x="358555" y="246571"/>
                    <a:pt x="365160" y="252661"/>
                  </a:cubicBezTo>
                  <a:cubicBezTo>
                    <a:pt x="371722" y="258794"/>
                    <a:pt x="380986" y="260295"/>
                    <a:pt x="395483" y="252661"/>
                  </a:cubicBezTo>
                  <a:cubicBezTo>
                    <a:pt x="409979" y="245027"/>
                    <a:pt x="411309" y="240480"/>
                    <a:pt x="416584" y="248115"/>
                  </a:cubicBezTo>
                  <a:cubicBezTo>
                    <a:pt x="421860" y="255706"/>
                    <a:pt x="433697" y="249616"/>
                    <a:pt x="454841" y="249616"/>
                  </a:cubicBezTo>
                  <a:cubicBezTo>
                    <a:pt x="475943" y="249616"/>
                    <a:pt x="479889" y="232846"/>
                    <a:pt x="499660" y="234347"/>
                  </a:cubicBezTo>
                  <a:cubicBezTo>
                    <a:pt x="519433" y="235848"/>
                    <a:pt x="536589" y="228257"/>
                    <a:pt x="536589" y="228257"/>
                  </a:cubicBezTo>
                  <a:lnTo>
                    <a:pt x="549112" y="232589"/>
                  </a:lnTo>
                  <a:cubicBezTo>
                    <a:pt x="554216" y="227142"/>
                    <a:pt x="553873" y="221008"/>
                    <a:pt x="563994" y="219507"/>
                  </a:cubicBezTo>
                  <a:cubicBezTo>
                    <a:pt x="579778" y="217234"/>
                    <a:pt x="585740" y="230959"/>
                    <a:pt x="593631" y="226370"/>
                  </a:cubicBezTo>
                  <a:cubicBezTo>
                    <a:pt x="601523" y="221781"/>
                    <a:pt x="626656" y="252918"/>
                    <a:pt x="628886" y="232803"/>
                  </a:cubicBezTo>
                  <a:cubicBezTo>
                    <a:pt x="630259" y="228214"/>
                    <a:pt x="618421" y="203810"/>
                    <a:pt x="613146" y="202266"/>
                  </a:cubicBezTo>
                  <a:close/>
                  <a:moveTo>
                    <a:pt x="56957" y="55070"/>
                  </a:moveTo>
                  <a:cubicBezTo>
                    <a:pt x="68795" y="49923"/>
                    <a:pt x="95429" y="56785"/>
                    <a:pt x="101905" y="49923"/>
                  </a:cubicBezTo>
                  <a:cubicBezTo>
                    <a:pt x="108295" y="43104"/>
                    <a:pt x="85093" y="34526"/>
                    <a:pt x="76729" y="26506"/>
                  </a:cubicBezTo>
                  <a:cubicBezTo>
                    <a:pt x="71840" y="21831"/>
                    <a:pt x="70124" y="13167"/>
                    <a:pt x="68495" y="6433"/>
                  </a:cubicBezTo>
                  <a:cubicBezTo>
                    <a:pt x="64592" y="9479"/>
                    <a:pt x="59487" y="11966"/>
                    <a:pt x="54984" y="9350"/>
                  </a:cubicBezTo>
                  <a:cubicBezTo>
                    <a:pt x="46106" y="4203"/>
                    <a:pt x="24618" y="7634"/>
                    <a:pt x="20930" y="9350"/>
                  </a:cubicBezTo>
                  <a:cubicBezTo>
                    <a:pt x="17242" y="11066"/>
                    <a:pt x="23890" y="25605"/>
                    <a:pt x="23890" y="35040"/>
                  </a:cubicBezTo>
                  <a:cubicBezTo>
                    <a:pt x="23890" y="44433"/>
                    <a:pt x="14240" y="47007"/>
                    <a:pt x="14240" y="53054"/>
                  </a:cubicBezTo>
                  <a:cubicBezTo>
                    <a:pt x="14240" y="57686"/>
                    <a:pt x="10722" y="60817"/>
                    <a:pt x="6433" y="66307"/>
                  </a:cubicBezTo>
                  <a:cubicBezTo>
                    <a:pt x="12953" y="71925"/>
                    <a:pt x="19215" y="77329"/>
                    <a:pt x="25862" y="77329"/>
                  </a:cubicBezTo>
                  <a:cubicBezTo>
                    <a:pt x="39673" y="77329"/>
                    <a:pt x="45077" y="60216"/>
                    <a:pt x="56957" y="5507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88" name="Freeform: Shape 141">
              <a:extLst>
                <a:ext uri="{FF2B5EF4-FFF2-40B4-BE49-F238E27FC236}">
                  <a16:creationId xmlns:a16="http://schemas.microsoft.com/office/drawing/2014/main" id="{D23CAA14-456E-7977-17BC-78C15F6EC3FE}"/>
                </a:ext>
              </a:extLst>
            </p:cNvPr>
            <p:cNvSpPr/>
            <p:nvPr/>
          </p:nvSpPr>
          <p:spPr>
            <a:xfrm>
              <a:off x="7359847" y="2612940"/>
              <a:ext cx="252586" cy="236184"/>
            </a:xfrm>
            <a:custGeom>
              <a:avLst/>
              <a:gdLst>
                <a:gd name="connsiteX0" fmla="*/ 10114 w 330247"/>
                <a:gd name="connsiteY0" fmla="*/ 66391 h 308803"/>
                <a:gd name="connsiteX1" fmla="*/ 9385 w 330247"/>
                <a:gd name="connsiteY1" fmla="*/ 106664 h 308803"/>
                <a:gd name="connsiteX2" fmla="*/ 11616 w 330247"/>
                <a:gd name="connsiteY2" fmla="*/ 122062 h 308803"/>
                <a:gd name="connsiteX3" fmla="*/ 19035 w 330247"/>
                <a:gd name="connsiteY3" fmla="*/ 140933 h 308803"/>
                <a:gd name="connsiteX4" fmla="*/ 23495 w 330247"/>
                <a:gd name="connsiteY4" fmla="*/ 161477 h 308803"/>
                <a:gd name="connsiteX5" fmla="*/ 31645 w 330247"/>
                <a:gd name="connsiteY5" fmla="*/ 192314 h 308803"/>
                <a:gd name="connsiteX6" fmla="*/ 32631 w 330247"/>
                <a:gd name="connsiteY6" fmla="*/ 209599 h 308803"/>
                <a:gd name="connsiteX7" fmla="*/ 51974 w 330247"/>
                <a:gd name="connsiteY7" fmla="*/ 222551 h 308803"/>
                <a:gd name="connsiteX8" fmla="*/ 74019 w 330247"/>
                <a:gd name="connsiteY8" fmla="*/ 240436 h 308803"/>
                <a:gd name="connsiteX9" fmla="*/ 91690 w 330247"/>
                <a:gd name="connsiteY9" fmla="*/ 249357 h 308803"/>
                <a:gd name="connsiteX10" fmla="*/ 110432 w 330247"/>
                <a:gd name="connsiteY10" fmla="*/ 245540 h 308803"/>
                <a:gd name="connsiteX11" fmla="*/ 119225 w 330247"/>
                <a:gd name="connsiteY11" fmla="*/ 259565 h 308803"/>
                <a:gd name="connsiteX12" fmla="*/ 141313 w 330247"/>
                <a:gd name="connsiteY12" fmla="*/ 265955 h 308803"/>
                <a:gd name="connsiteX13" fmla="*/ 156753 w 330247"/>
                <a:gd name="connsiteY13" fmla="*/ 288944 h 308803"/>
                <a:gd name="connsiteX14" fmla="*/ 176611 w 330247"/>
                <a:gd name="connsiteY14" fmla="*/ 286371 h 308803"/>
                <a:gd name="connsiteX15" fmla="*/ 205303 w 330247"/>
                <a:gd name="connsiteY15" fmla="*/ 290188 h 308803"/>
                <a:gd name="connsiteX16" fmla="*/ 230651 w 330247"/>
                <a:gd name="connsiteY16" fmla="*/ 292761 h 308803"/>
                <a:gd name="connsiteX17" fmla="*/ 259301 w 330247"/>
                <a:gd name="connsiteY17" fmla="*/ 300395 h 308803"/>
                <a:gd name="connsiteX18" fmla="*/ 278859 w 330247"/>
                <a:gd name="connsiteY18" fmla="*/ 305885 h 308803"/>
                <a:gd name="connsiteX19" fmla="*/ 277486 w 330247"/>
                <a:gd name="connsiteY19" fmla="*/ 280538 h 308803"/>
                <a:gd name="connsiteX20" fmla="*/ 308581 w 330247"/>
                <a:gd name="connsiteY20" fmla="*/ 243696 h 308803"/>
                <a:gd name="connsiteX21" fmla="*/ 323378 w 330247"/>
                <a:gd name="connsiteY21" fmla="*/ 230014 h 308803"/>
                <a:gd name="connsiteX22" fmla="*/ 310039 w 330247"/>
                <a:gd name="connsiteY22" fmla="*/ 192314 h 308803"/>
                <a:gd name="connsiteX23" fmla="*/ 307809 w 330247"/>
                <a:gd name="connsiteY23" fmla="*/ 158046 h 308803"/>
                <a:gd name="connsiteX24" fmla="*/ 296701 w 330247"/>
                <a:gd name="connsiteY24" fmla="*/ 138360 h 308803"/>
                <a:gd name="connsiteX25" fmla="*/ 315958 w 330247"/>
                <a:gd name="connsiteY25" fmla="*/ 118673 h 308803"/>
                <a:gd name="connsiteX26" fmla="*/ 314500 w 330247"/>
                <a:gd name="connsiteY26" fmla="*/ 85263 h 308803"/>
                <a:gd name="connsiteX27" fmla="*/ 309310 w 330247"/>
                <a:gd name="connsiteY27" fmla="*/ 56141 h 308803"/>
                <a:gd name="connsiteX28" fmla="*/ 283405 w 330247"/>
                <a:gd name="connsiteY28" fmla="*/ 34739 h 308803"/>
                <a:gd name="connsiteX29" fmla="*/ 282161 w 330247"/>
                <a:gd name="connsiteY29" fmla="*/ 32981 h 308803"/>
                <a:gd name="connsiteX30" fmla="*/ 195353 w 330247"/>
                <a:gd name="connsiteY30" fmla="*/ 28734 h 308803"/>
                <a:gd name="connsiteX31" fmla="*/ 178455 w 330247"/>
                <a:gd name="connsiteY31" fmla="*/ 21615 h 308803"/>
                <a:gd name="connsiteX32" fmla="*/ 160184 w 330247"/>
                <a:gd name="connsiteY32" fmla="*/ 32466 h 308803"/>
                <a:gd name="connsiteX33" fmla="*/ 144401 w 330247"/>
                <a:gd name="connsiteY33" fmla="*/ 8491 h 308803"/>
                <a:gd name="connsiteX34" fmla="*/ 71317 w 330247"/>
                <a:gd name="connsiteY34" fmla="*/ 32466 h 308803"/>
                <a:gd name="connsiteX35" fmla="*/ 19507 w 330247"/>
                <a:gd name="connsiteY35" fmla="*/ 53010 h 308803"/>
                <a:gd name="connsiteX36" fmla="*/ 9986 w 330247"/>
                <a:gd name="connsiteY36" fmla="*/ 61759 h 308803"/>
                <a:gd name="connsiteX37" fmla="*/ 10114 w 330247"/>
                <a:gd name="connsiteY37" fmla="*/ 66391 h 30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0247" h="308803">
                  <a:moveTo>
                    <a:pt x="10114" y="66391"/>
                  </a:moveTo>
                  <a:cubicBezTo>
                    <a:pt x="12344" y="73254"/>
                    <a:pt x="14575" y="97229"/>
                    <a:pt x="9385" y="106664"/>
                  </a:cubicBezTo>
                  <a:cubicBezTo>
                    <a:pt x="4195" y="116057"/>
                    <a:pt x="6426" y="118631"/>
                    <a:pt x="11616" y="122062"/>
                  </a:cubicBezTo>
                  <a:cubicBezTo>
                    <a:pt x="16805" y="125493"/>
                    <a:pt x="19035" y="134071"/>
                    <a:pt x="19035" y="140933"/>
                  </a:cubicBezTo>
                  <a:cubicBezTo>
                    <a:pt x="19035" y="147795"/>
                    <a:pt x="22724" y="146937"/>
                    <a:pt x="23495" y="161477"/>
                  </a:cubicBezTo>
                  <a:cubicBezTo>
                    <a:pt x="24225" y="176016"/>
                    <a:pt x="27184" y="186310"/>
                    <a:pt x="31645" y="192314"/>
                  </a:cubicBezTo>
                  <a:cubicBezTo>
                    <a:pt x="35119" y="196989"/>
                    <a:pt x="34475" y="204195"/>
                    <a:pt x="32631" y="209599"/>
                  </a:cubicBezTo>
                  <a:cubicBezTo>
                    <a:pt x="38850" y="214917"/>
                    <a:pt x="45841" y="220021"/>
                    <a:pt x="51974" y="222551"/>
                  </a:cubicBezTo>
                  <a:cubicBezTo>
                    <a:pt x="67414" y="228942"/>
                    <a:pt x="72947" y="234046"/>
                    <a:pt x="74019" y="240436"/>
                  </a:cubicBezTo>
                  <a:cubicBezTo>
                    <a:pt x="75134" y="246827"/>
                    <a:pt x="88387" y="258278"/>
                    <a:pt x="91690" y="249357"/>
                  </a:cubicBezTo>
                  <a:cubicBezTo>
                    <a:pt x="94992" y="240436"/>
                    <a:pt x="103785" y="245540"/>
                    <a:pt x="110432" y="245540"/>
                  </a:cubicBezTo>
                  <a:cubicBezTo>
                    <a:pt x="117080" y="245540"/>
                    <a:pt x="118152" y="254461"/>
                    <a:pt x="119225" y="259565"/>
                  </a:cubicBezTo>
                  <a:cubicBezTo>
                    <a:pt x="120340" y="264669"/>
                    <a:pt x="135780" y="262138"/>
                    <a:pt x="141313" y="265955"/>
                  </a:cubicBezTo>
                  <a:cubicBezTo>
                    <a:pt x="146802" y="269772"/>
                    <a:pt x="149033" y="283840"/>
                    <a:pt x="156753" y="288944"/>
                  </a:cubicBezTo>
                  <a:cubicBezTo>
                    <a:pt x="164516" y="294005"/>
                    <a:pt x="171078" y="282553"/>
                    <a:pt x="176611" y="286371"/>
                  </a:cubicBezTo>
                  <a:cubicBezTo>
                    <a:pt x="182101" y="290188"/>
                    <a:pt x="196468" y="294005"/>
                    <a:pt x="205303" y="290188"/>
                  </a:cubicBezTo>
                  <a:cubicBezTo>
                    <a:pt x="214096" y="286371"/>
                    <a:pt x="219629" y="294005"/>
                    <a:pt x="230651" y="292761"/>
                  </a:cubicBezTo>
                  <a:cubicBezTo>
                    <a:pt x="241673" y="291474"/>
                    <a:pt x="256042" y="296535"/>
                    <a:pt x="259301" y="300395"/>
                  </a:cubicBezTo>
                  <a:cubicBezTo>
                    <a:pt x="261059" y="302411"/>
                    <a:pt x="270367" y="304427"/>
                    <a:pt x="278859" y="305885"/>
                  </a:cubicBezTo>
                  <a:cubicBezTo>
                    <a:pt x="281046" y="300653"/>
                    <a:pt x="276800" y="284483"/>
                    <a:pt x="277486" y="280538"/>
                  </a:cubicBezTo>
                  <a:cubicBezTo>
                    <a:pt x="278215" y="276292"/>
                    <a:pt x="304120" y="249700"/>
                    <a:pt x="308581" y="243696"/>
                  </a:cubicBezTo>
                  <a:cubicBezTo>
                    <a:pt x="313041" y="237691"/>
                    <a:pt x="319732" y="237691"/>
                    <a:pt x="323378" y="230014"/>
                  </a:cubicBezTo>
                  <a:cubicBezTo>
                    <a:pt x="327109" y="222294"/>
                    <a:pt x="312998" y="197461"/>
                    <a:pt x="310039" y="192314"/>
                  </a:cubicBezTo>
                  <a:cubicBezTo>
                    <a:pt x="307080" y="187168"/>
                    <a:pt x="305579" y="166624"/>
                    <a:pt x="307809" y="158046"/>
                  </a:cubicBezTo>
                  <a:cubicBezTo>
                    <a:pt x="310039" y="149511"/>
                    <a:pt x="296701" y="144364"/>
                    <a:pt x="296701" y="138360"/>
                  </a:cubicBezTo>
                  <a:cubicBezTo>
                    <a:pt x="296701" y="132355"/>
                    <a:pt x="309267" y="122062"/>
                    <a:pt x="315958" y="118673"/>
                  </a:cubicBezTo>
                  <a:cubicBezTo>
                    <a:pt x="322605" y="115242"/>
                    <a:pt x="320419" y="91224"/>
                    <a:pt x="314500" y="85263"/>
                  </a:cubicBezTo>
                  <a:cubicBezTo>
                    <a:pt x="308581" y="79258"/>
                    <a:pt x="305621" y="68150"/>
                    <a:pt x="309310" y="56141"/>
                  </a:cubicBezTo>
                  <a:cubicBezTo>
                    <a:pt x="312998" y="44175"/>
                    <a:pt x="287094" y="34739"/>
                    <a:pt x="283405" y="34739"/>
                  </a:cubicBezTo>
                  <a:cubicBezTo>
                    <a:pt x="282805" y="34739"/>
                    <a:pt x="282418" y="33967"/>
                    <a:pt x="282161" y="32981"/>
                  </a:cubicBezTo>
                  <a:cubicBezTo>
                    <a:pt x="259044" y="37913"/>
                    <a:pt x="199813" y="30793"/>
                    <a:pt x="195353" y="28734"/>
                  </a:cubicBezTo>
                  <a:cubicBezTo>
                    <a:pt x="192437" y="27405"/>
                    <a:pt x="184931" y="24274"/>
                    <a:pt x="178455" y="21615"/>
                  </a:cubicBezTo>
                  <a:cubicBezTo>
                    <a:pt x="175538" y="27276"/>
                    <a:pt x="169405" y="32466"/>
                    <a:pt x="160184" y="32466"/>
                  </a:cubicBezTo>
                  <a:cubicBezTo>
                    <a:pt x="145902" y="32466"/>
                    <a:pt x="144872" y="15911"/>
                    <a:pt x="144401" y="8491"/>
                  </a:cubicBezTo>
                  <a:cubicBezTo>
                    <a:pt x="143929" y="1071"/>
                    <a:pt x="86629" y="14795"/>
                    <a:pt x="71317" y="32466"/>
                  </a:cubicBezTo>
                  <a:cubicBezTo>
                    <a:pt x="56049" y="50179"/>
                    <a:pt x="20493" y="43317"/>
                    <a:pt x="19507" y="53010"/>
                  </a:cubicBezTo>
                  <a:cubicBezTo>
                    <a:pt x="18778" y="60044"/>
                    <a:pt x="13460" y="63732"/>
                    <a:pt x="9986" y="61759"/>
                  </a:cubicBezTo>
                  <a:cubicBezTo>
                    <a:pt x="9728" y="63432"/>
                    <a:pt x="9642" y="65019"/>
                    <a:pt x="10114" y="6639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89" name="Freeform: Shape 142">
              <a:extLst>
                <a:ext uri="{FF2B5EF4-FFF2-40B4-BE49-F238E27FC236}">
                  <a16:creationId xmlns:a16="http://schemas.microsoft.com/office/drawing/2014/main" id="{0B4188A8-BB8C-DCFD-EF3B-D7E8184D3A36}"/>
                </a:ext>
              </a:extLst>
            </p:cNvPr>
            <p:cNvSpPr/>
            <p:nvPr/>
          </p:nvSpPr>
          <p:spPr>
            <a:xfrm>
              <a:off x="7394920" y="2989485"/>
              <a:ext cx="98410" cy="108251"/>
            </a:xfrm>
            <a:custGeom>
              <a:avLst/>
              <a:gdLst>
                <a:gd name="connsiteX0" fmla="*/ 95071 w 128667"/>
                <a:gd name="connsiteY0" fmla="*/ 125114 h 141534"/>
                <a:gd name="connsiteX1" fmla="*/ 120290 w 128667"/>
                <a:gd name="connsiteY1" fmla="*/ 82096 h 141534"/>
                <a:gd name="connsiteX2" fmla="*/ 124493 w 128667"/>
                <a:gd name="connsiteY2" fmla="*/ 30543 h 141534"/>
                <a:gd name="connsiteX3" fmla="*/ 94342 w 128667"/>
                <a:gd name="connsiteY3" fmla="*/ 12915 h 141534"/>
                <a:gd name="connsiteX4" fmla="*/ 42746 w 128667"/>
                <a:gd name="connsiteY4" fmla="*/ 6954 h 141534"/>
                <a:gd name="connsiteX5" fmla="*/ 21344 w 128667"/>
                <a:gd name="connsiteY5" fmla="*/ 12101 h 141534"/>
                <a:gd name="connsiteX6" fmla="*/ 6590 w 128667"/>
                <a:gd name="connsiteY6" fmla="*/ 22308 h 141534"/>
                <a:gd name="connsiteX7" fmla="*/ 22073 w 128667"/>
                <a:gd name="connsiteY7" fmla="*/ 48728 h 141534"/>
                <a:gd name="connsiteX8" fmla="*/ 49351 w 128667"/>
                <a:gd name="connsiteY8" fmla="*/ 87114 h 141534"/>
                <a:gd name="connsiteX9" fmla="*/ 76500 w 128667"/>
                <a:gd name="connsiteY9" fmla="*/ 122412 h 141534"/>
                <a:gd name="connsiteX10" fmla="*/ 93656 w 128667"/>
                <a:gd name="connsiteY10" fmla="*/ 137080 h 141534"/>
                <a:gd name="connsiteX11" fmla="*/ 95071 w 128667"/>
                <a:gd name="connsiteY11" fmla="*/ 125114 h 14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8667" h="141534">
                  <a:moveTo>
                    <a:pt x="95071" y="125114"/>
                  </a:moveTo>
                  <a:cubicBezTo>
                    <a:pt x="93742" y="117437"/>
                    <a:pt x="114972" y="82096"/>
                    <a:pt x="120290" y="82096"/>
                  </a:cubicBezTo>
                  <a:cubicBezTo>
                    <a:pt x="124707" y="82096"/>
                    <a:pt x="126337" y="48170"/>
                    <a:pt x="124493" y="30543"/>
                  </a:cubicBezTo>
                  <a:cubicBezTo>
                    <a:pt x="108023" y="17376"/>
                    <a:pt x="94342" y="12915"/>
                    <a:pt x="94342" y="12915"/>
                  </a:cubicBezTo>
                  <a:cubicBezTo>
                    <a:pt x="94342" y="12915"/>
                    <a:pt x="50123" y="10385"/>
                    <a:pt x="42746" y="6954"/>
                  </a:cubicBezTo>
                  <a:cubicBezTo>
                    <a:pt x="35369" y="3565"/>
                    <a:pt x="27992" y="18062"/>
                    <a:pt x="21344" y="12101"/>
                  </a:cubicBezTo>
                  <a:cubicBezTo>
                    <a:pt x="14696" y="6139"/>
                    <a:pt x="5089" y="13773"/>
                    <a:pt x="6590" y="22308"/>
                  </a:cubicBezTo>
                  <a:cubicBezTo>
                    <a:pt x="8049" y="30843"/>
                    <a:pt x="22073" y="35947"/>
                    <a:pt x="22073" y="48728"/>
                  </a:cubicBezTo>
                  <a:cubicBezTo>
                    <a:pt x="22073" y="61509"/>
                    <a:pt x="50123" y="80294"/>
                    <a:pt x="49351" y="87114"/>
                  </a:cubicBezTo>
                  <a:cubicBezTo>
                    <a:pt x="48837" y="91917"/>
                    <a:pt x="66163" y="104913"/>
                    <a:pt x="76500" y="122412"/>
                  </a:cubicBezTo>
                  <a:cubicBezTo>
                    <a:pt x="81990" y="126443"/>
                    <a:pt x="87866" y="131676"/>
                    <a:pt x="93656" y="137080"/>
                  </a:cubicBezTo>
                  <a:cubicBezTo>
                    <a:pt x="94857" y="131461"/>
                    <a:pt x="95414" y="127087"/>
                    <a:pt x="95071" y="12511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90" name="Freeform: Shape 143">
              <a:extLst>
                <a:ext uri="{FF2B5EF4-FFF2-40B4-BE49-F238E27FC236}">
                  <a16:creationId xmlns:a16="http://schemas.microsoft.com/office/drawing/2014/main" id="{8BBAA129-650A-0BA0-67CB-39881B26F40B}"/>
                </a:ext>
              </a:extLst>
            </p:cNvPr>
            <p:cNvSpPr/>
            <p:nvPr/>
          </p:nvSpPr>
          <p:spPr>
            <a:xfrm>
              <a:off x="7348688" y="2940415"/>
              <a:ext cx="144335" cy="147615"/>
            </a:xfrm>
            <a:custGeom>
              <a:avLst/>
              <a:gdLst>
                <a:gd name="connsiteX0" fmla="*/ 109840 w 188712"/>
                <a:gd name="connsiteY0" fmla="*/ 151314 h 193001"/>
                <a:gd name="connsiteX1" fmla="*/ 82562 w 188712"/>
                <a:gd name="connsiteY1" fmla="*/ 112928 h 193001"/>
                <a:gd name="connsiteX2" fmla="*/ 67079 w 188712"/>
                <a:gd name="connsiteY2" fmla="*/ 86508 h 193001"/>
                <a:gd name="connsiteX3" fmla="*/ 81833 w 188712"/>
                <a:gd name="connsiteY3" fmla="*/ 76300 h 193001"/>
                <a:gd name="connsiteX4" fmla="*/ 103235 w 188712"/>
                <a:gd name="connsiteY4" fmla="*/ 71153 h 193001"/>
                <a:gd name="connsiteX5" fmla="*/ 154831 w 188712"/>
                <a:gd name="connsiteY5" fmla="*/ 77115 h 193001"/>
                <a:gd name="connsiteX6" fmla="*/ 184982 w 188712"/>
                <a:gd name="connsiteY6" fmla="*/ 94743 h 193001"/>
                <a:gd name="connsiteX7" fmla="*/ 183438 w 188712"/>
                <a:gd name="connsiteY7" fmla="*/ 86422 h 193001"/>
                <a:gd name="connsiteX8" fmla="*/ 172844 w 188712"/>
                <a:gd name="connsiteY8" fmla="*/ 58801 h 193001"/>
                <a:gd name="connsiteX9" fmla="*/ 164137 w 188712"/>
                <a:gd name="connsiteY9" fmla="*/ 35427 h 193001"/>
                <a:gd name="connsiteX10" fmla="*/ 152600 w 188712"/>
                <a:gd name="connsiteY10" fmla="*/ 39329 h 193001"/>
                <a:gd name="connsiteX11" fmla="*/ 118418 w 188712"/>
                <a:gd name="connsiteY11" fmla="*/ 30366 h 193001"/>
                <a:gd name="connsiteX12" fmla="*/ 90668 w 188712"/>
                <a:gd name="connsiteY12" fmla="*/ 6433 h 193001"/>
                <a:gd name="connsiteX13" fmla="*/ 70682 w 188712"/>
                <a:gd name="connsiteY13" fmla="*/ 21916 h 193001"/>
                <a:gd name="connsiteX14" fmla="*/ 62533 w 188712"/>
                <a:gd name="connsiteY14" fmla="*/ 40788 h 193001"/>
                <a:gd name="connsiteX15" fmla="*/ 50695 w 188712"/>
                <a:gd name="connsiteY15" fmla="*/ 57901 h 193001"/>
                <a:gd name="connsiteX16" fmla="*/ 29980 w 188712"/>
                <a:gd name="connsiteY16" fmla="*/ 57043 h 193001"/>
                <a:gd name="connsiteX17" fmla="*/ 6433 w 188712"/>
                <a:gd name="connsiteY17" fmla="*/ 62275 h 193001"/>
                <a:gd name="connsiteX18" fmla="*/ 12438 w 188712"/>
                <a:gd name="connsiteY18" fmla="*/ 78745 h 193001"/>
                <a:gd name="connsiteX19" fmla="*/ 38129 w 188712"/>
                <a:gd name="connsiteY19" fmla="*/ 91311 h 193001"/>
                <a:gd name="connsiteX20" fmla="*/ 67722 w 188712"/>
                <a:gd name="connsiteY20" fmla="*/ 145566 h 193001"/>
                <a:gd name="connsiteX21" fmla="*/ 94399 w 188712"/>
                <a:gd name="connsiteY21" fmla="*/ 162122 h 193001"/>
                <a:gd name="connsiteX22" fmla="*/ 123093 w 188712"/>
                <a:gd name="connsiteY22" fmla="*/ 179835 h 193001"/>
                <a:gd name="connsiteX23" fmla="*/ 137118 w 188712"/>
                <a:gd name="connsiteY23" fmla="*/ 186611 h 193001"/>
                <a:gd name="connsiteX24" fmla="*/ 109840 w 188712"/>
                <a:gd name="connsiteY24" fmla="*/ 151314 h 19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8712" h="193001">
                  <a:moveTo>
                    <a:pt x="109840" y="151314"/>
                  </a:moveTo>
                  <a:cubicBezTo>
                    <a:pt x="110569" y="144494"/>
                    <a:pt x="82562" y="125709"/>
                    <a:pt x="82562" y="112928"/>
                  </a:cubicBezTo>
                  <a:cubicBezTo>
                    <a:pt x="82562" y="100146"/>
                    <a:pt x="68580" y="95000"/>
                    <a:pt x="67079" y="86508"/>
                  </a:cubicBezTo>
                  <a:cubicBezTo>
                    <a:pt x="65578" y="77973"/>
                    <a:pt x="75185" y="70339"/>
                    <a:pt x="81833" y="76300"/>
                  </a:cubicBezTo>
                  <a:cubicBezTo>
                    <a:pt x="88481" y="82262"/>
                    <a:pt x="95858" y="67765"/>
                    <a:pt x="103235" y="71153"/>
                  </a:cubicBezTo>
                  <a:cubicBezTo>
                    <a:pt x="110612" y="74585"/>
                    <a:pt x="154831" y="77115"/>
                    <a:pt x="154831" y="77115"/>
                  </a:cubicBezTo>
                  <a:cubicBezTo>
                    <a:pt x="154831" y="77115"/>
                    <a:pt x="168512" y="81618"/>
                    <a:pt x="184982" y="94743"/>
                  </a:cubicBezTo>
                  <a:cubicBezTo>
                    <a:pt x="184639" y="91183"/>
                    <a:pt x="184124" y="88223"/>
                    <a:pt x="183438" y="86422"/>
                  </a:cubicBezTo>
                  <a:cubicBezTo>
                    <a:pt x="179492" y="75657"/>
                    <a:pt x="183438" y="63391"/>
                    <a:pt x="172844" y="58801"/>
                  </a:cubicBezTo>
                  <a:cubicBezTo>
                    <a:pt x="167397" y="56400"/>
                    <a:pt x="165081" y="45463"/>
                    <a:pt x="164137" y="35427"/>
                  </a:cubicBezTo>
                  <a:cubicBezTo>
                    <a:pt x="159163" y="37185"/>
                    <a:pt x="154916" y="38643"/>
                    <a:pt x="152600" y="39329"/>
                  </a:cubicBezTo>
                  <a:cubicBezTo>
                    <a:pt x="143765" y="41860"/>
                    <a:pt x="125022" y="40573"/>
                    <a:pt x="118418" y="30366"/>
                  </a:cubicBezTo>
                  <a:cubicBezTo>
                    <a:pt x="113485" y="22774"/>
                    <a:pt x="98174" y="11623"/>
                    <a:pt x="90668" y="6433"/>
                  </a:cubicBezTo>
                  <a:cubicBezTo>
                    <a:pt x="87580" y="9564"/>
                    <a:pt x="75829" y="21187"/>
                    <a:pt x="70682" y="21916"/>
                  </a:cubicBezTo>
                  <a:cubicBezTo>
                    <a:pt x="64763" y="22774"/>
                    <a:pt x="68452" y="40788"/>
                    <a:pt x="62533" y="40788"/>
                  </a:cubicBezTo>
                  <a:cubicBezTo>
                    <a:pt x="56614" y="40788"/>
                    <a:pt x="52154" y="52797"/>
                    <a:pt x="50695" y="57901"/>
                  </a:cubicBezTo>
                  <a:cubicBezTo>
                    <a:pt x="49237" y="63047"/>
                    <a:pt x="35898" y="54469"/>
                    <a:pt x="29980" y="57043"/>
                  </a:cubicBezTo>
                  <a:cubicBezTo>
                    <a:pt x="25734" y="58887"/>
                    <a:pt x="13253" y="61160"/>
                    <a:pt x="6433" y="62275"/>
                  </a:cubicBezTo>
                  <a:cubicBezTo>
                    <a:pt x="7463" y="70081"/>
                    <a:pt x="7077" y="78745"/>
                    <a:pt x="12438" y="78745"/>
                  </a:cubicBezTo>
                  <a:cubicBezTo>
                    <a:pt x="21316" y="78745"/>
                    <a:pt x="37614" y="77630"/>
                    <a:pt x="38129" y="91311"/>
                  </a:cubicBezTo>
                  <a:cubicBezTo>
                    <a:pt x="38600" y="104993"/>
                    <a:pt x="59831" y="135273"/>
                    <a:pt x="67722" y="145566"/>
                  </a:cubicBezTo>
                  <a:cubicBezTo>
                    <a:pt x="75614" y="155860"/>
                    <a:pt x="93413" y="153587"/>
                    <a:pt x="94399" y="162122"/>
                  </a:cubicBezTo>
                  <a:cubicBezTo>
                    <a:pt x="95429" y="170699"/>
                    <a:pt x="108253" y="178677"/>
                    <a:pt x="123093" y="179835"/>
                  </a:cubicBezTo>
                  <a:cubicBezTo>
                    <a:pt x="127124" y="180135"/>
                    <a:pt x="131928" y="182837"/>
                    <a:pt x="137118" y="186611"/>
                  </a:cubicBezTo>
                  <a:cubicBezTo>
                    <a:pt x="126652" y="169070"/>
                    <a:pt x="109368" y="156074"/>
                    <a:pt x="109840" y="15131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91" name="Freeform: Shape 144">
              <a:extLst>
                <a:ext uri="{FF2B5EF4-FFF2-40B4-BE49-F238E27FC236}">
                  <a16:creationId xmlns:a16="http://schemas.microsoft.com/office/drawing/2014/main" id="{21253B43-18A8-3AC4-B051-FCCAEBBC5F73}"/>
                </a:ext>
              </a:extLst>
            </p:cNvPr>
            <p:cNvSpPr/>
            <p:nvPr/>
          </p:nvSpPr>
          <p:spPr>
            <a:xfrm>
              <a:off x="7481017" y="3084553"/>
              <a:ext cx="55766" cy="118093"/>
            </a:xfrm>
            <a:custGeom>
              <a:avLst/>
              <a:gdLst>
                <a:gd name="connsiteX0" fmla="*/ 46449 w 72911"/>
                <a:gd name="connsiteY0" fmla="*/ 127253 h 154401"/>
                <a:gd name="connsiteX1" fmla="*/ 54598 w 72911"/>
                <a:gd name="connsiteY1" fmla="*/ 112670 h 154401"/>
                <a:gd name="connsiteX2" fmla="*/ 66435 w 72911"/>
                <a:gd name="connsiteY2" fmla="*/ 90411 h 154401"/>
                <a:gd name="connsiteX3" fmla="*/ 67164 w 72911"/>
                <a:gd name="connsiteY3" fmla="*/ 89339 h 154401"/>
                <a:gd name="connsiteX4" fmla="*/ 47821 w 72911"/>
                <a:gd name="connsiteY4" fmla="*/ 65363 h 154401"/>
                <a:gd name="connsiteX5" fmla="*/ 51424 w 72911"/>
                <a:gd name="connsiteY5" fmla="*/ 25262 h 154401"/>
                <a:gd name="connsiteX6" fmla="*/ 22474 w 72911"/>
                <a:gd name="connsiteY6" fmla="*/ 6433 h 154401"/>
                <a:gd name="connsiteX7" fmla="*/ 6433 w 72911"/>
                <a:gd name="connsiteY7" fmla="*/ 34097 h 154401"/>
                <a:gd name="connsiteX8" fmla="*/ 15526 w 72911"/>
                <a:gd name="connsiteY8" fmla="*/ 58158 h 154401"/>
                <a:gd name="connsiteX9" fmla="*/ 14540 w 72911"/>
                <a:gd name="connsiteY9" fmla="*/ 115244 h 154401"/>
                <a:gd name="connsiteX10" fmla="*/ 36799 w 72911"/>
                <a:gd name="connsiteY10" fmla="*/ 148097 h 154401"/>
                <a:gd name="connsiteX11" fmla="*/ 46449 w 72911"/>
                <a:gd name="connsiteY11" fmla="*/ 127253 h 15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911" h="154401">
                  <a:moveTo>
                    <a:pt x="46449" y="127253"/>
                  </a:moveTo>
                  <a:cubicBezTo>
                    <a:pt x="53826" y="125580"/>
                    <a:pt x="49409" y="118675"/>
                    <a:pt x="54598" y="112670"/>
                  </a:cubicBezTo>
                  <a:cubicBezTo>
                    <a:pt x="59787" y="106666"/>
                    <a:pt x="65706" y="94700"/>
                    <a:pt x="66435" y="90411"/>
                  </a:cubicBezTo>
                  <a:cubicBezTo>
                    <a:pt x="66521" y="89939"/>
                    <a:pt x="66778" y="89639"/>
                    <a:pt x="67164" y="89339"/>
                  </a:cubicBezTo>
                  <a:cubicBezTo>
                    <a:pt x="57128" y="80589"/>
                    <a:pt x="50051" y="74327"/>
                    <a:pt x="47821" y="65363"/>
                  </a:cubicBezTo>
                  <a:cubicBezTo>
                    <a:pt x="45548" y="56228"/>
                    <a:pt x="47907" y="38343"/>
                    <a:pt x="51424" y="25262"/>
                  </a:cubicBezTo>
                  <a:cubicBezTo>
                    <a:pt x="45677" y="20544"/>
                    <a:pt x="28006" y="6433"/>
                    <a:pt x="22474" y="6433"/>
                  </a:cubicBezTo>
                  <a:cubicBezTo>
                    <a:pt x="16984" y="6433"/>
                    <a:pt x="8535" y="20544"/>
                    <a:pt x="6433" y="34097"/>
                  </a:cubicBezTo>
                  <a:cubicBezTo>
                    <a:pt x="19386" y="42074"/>
                    <a:pt x="24490" y="47779"/>
                    <a:pt x="15526" y="58158"/>
                  </a:cubicBezTo>
                  <a:cubicBezTo>
                    <a:pt x="6176" y="69009"/>
                    <a:pt x="4203" y="105551"/>
                    <a:pt x="14540" y="115244"/>
                  </a:cubicBezTo>
                  <a:cubicBezTo>
                    <a:pt x="24404" y="124508"/>
                    <a:pt x="27235" y="142821"/>
                    <a:pt x="36799" y="148097"/>
                  </a:cubicBezTo>
                  <a:cubicBezTo>
                    <a:pt x="39544" y="138876"/>
                    <a:pt x="41559" y="128411"/>
                    <a:pt x="46449" y="12725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92" name="Freeform: Shape 145">
              <a:extLst>
                <a:ext uri="{FF2B5EF4-FFF2-40B4-BE49-F238E27FC236}">
                  <a16:creationId xmlns:a16="http://schemas.microsoft.com/office/drawing/2014/main" id="{39B46F12-CF1F-4F88-8713-8F4A7FDB1E5B}"/>
                </a:ext>
              </a:extLst>
            </p:cNvPr>
            <p:cNvSpPr/>
            <p:nvPr/>
          </p:nvSpPr>
          <p:spPr>
            <a:xfrm>
              <a:off x="7245511" y="2845581"/>
              <a:ext cx="196820" cy="108251"/>
            </a:xfrm>
            <a:custGeom>
              <a:avLst/>
              <a:gdLst>
                <a:gd name="connsiteX0" fmla="*/ 213516 w 257335"/>
                <a:gd name="connsiteY0" fmla="*/ 17928 h 141534"/>
                <a:gd name="connsiteX1" fmla="*/ 182679 w 257335"/>
                <a:gd name="connsiteY1" fmla="*/ 6433 h 141534"/>
                <a:gd name="connsiteX2" fmla="*/ 177146 w 257335"/>
                <a:gd name="connsiteY2" fmla="*/ 24275 h 141534"/>
                <a:gd name="connsiteX3" fmla="*/ 148067 w 257335"/>
                <a:gd name="connsiteY3" fmla="*/ 26334 h 141534"/>
                <a:gd name="connsiteX4" fmla="*/ 129968 w 257335"/>
                <a:gd name="connsiteY4" fmla="*/ 40573 h 141534"/>
                <a:gd name="connsiteX5" fmla="*/ 116672 w 257335"/>
                <a:gd name="connsiteY5" fmla="*/ 64548 h 141534"/>
                <a:gd name="connsiteX6" fmla="*/ 103333 w 257335"/>
                <a:gd name="connsiteY6" fmla="*/ 75699 h 141534"/>
                <a:gd name="connsiteX7" fmla="*/ 69279 w 257335"/>
                <a:gd name="connsiteY7" fmla="*/ 83377 h 141534"/>
                <a:gd name="connsiteX8" fmla="*/ 50022 w 257335"/>
                <a:gd name="connsiteY8" fmla="*/ 85092 h 141534"/>
                <a:gd name="connsiteX9" fmla="*/ 30036 w 257335"/>
                <a:gd name="connsiteY9" fmla="*/ 88523 h 141534"/>
                <a:gd name="connsiteX10" fmla="*/ 10778 w 257335"/>
                <a:gd name="connsiteY10" fmla="*/ 82519 h 141534"/>
                <a:gd name="connsiteX11" fmla="*/ 7090 w 257335"/>
                <a:gd name="connsiteY11" fmla="*/ 103106 h 141534"/>
                <a:gd name="connsiteX12" fmla="*/ 24117 w 257335"/>
                <a:gd name="connsiteY12" fmla="*/ 113399 h 141534"/>
                <a:gd name="connsiteX13" fmla="*/ 44875 w 257335"/>
                <a:gd name="connsiteY13" fmla="*/ 118546 h 141534"/>
                <a:gd name="connsiteX14" fmla="*/ 65591 w 257335"/>
                <a:gd name="connsiteY14" fmla="*/ 110826 h 141534"/>
                <a:gd name="connsiteX15" fmla="*/ 92268 w 257335"/>
                <a:gd name="connsiteY15" fmla="*/ 106537 h 141534"/>
                <a:gd name="connsiteX16" fmla="*/ 98916 w 257335"/>
                <a:gd name="connsiteY16" fmla="*/ 122835 h 141534"/>
                <a:gd name="connsiteX17" fmla="*/ 129282 w 257335"/>
                <a:gd name="connsiteY17" fmla="*/ 127982 h 141534"/>
                <a:gd name="connsiteX18" fmla="*/ 166338 w 257335"/>
                <a:gd name="connsiteY18" fmla="*/ 135702 h 141534"/>
                <a:gd name="connsiteX19" fmla="*/ 195202 w 257335"/>
                <a:gd name="connsiteY19" fmla="*/ 123693 h 141534"/>
                <a:gd name="connsiteX20" fmla="*/ 218191 w 257335"/>
                <a:gd name="connsiteY20" fmla="*/ 115115 h 141534"/>
                <a:gd name="connsiteX21" fmla="*/ 218320 w 257335"/>
                <a:gd name="connsiteY21" fmla="*/ 115244 h 141534"/>
                <a:gd name="connsiteX22" fmla="*/ 223724 w 257335"/>
                <a:gd name="connsiteY22" fmla="*/ 106151 h 141534"/>
                <a:gd name="connsiteX23" fmla="*/ 229128 w 257335"/>
                <a:gd name="connsiteY23" fmla="*/ 89167 h 141534"/>
                <a:gd name="connsiteX24" fmla="*/ 232988 w 257335"/>
                <a:gd name="connsiteY24" fmla="*/ 73984 h 141534"/>
                <a:gd name="connsiteX25" fmla="*/ 247656 w 257335"/>
                <a:gd name="connsiteY25" fmla="*/ 64162 h 141534"/>
                <a:gd name="connsiteX26" fmla="*/ 252117 w 257335"/>
                <a:gd name="connsiteY26" fmla="*/ 53912 h 141534"/>
                <a:gd name="connsiteX27" fmla="*/ 238992 w 257335"/>
                <a:gd name="connsiteY27" fmla="*/ 21745 h 141534"/>
                <a:gd name="connsiteX28" fmla="*/ 213516 w 257335"/>
                <a:gd name="connsiteY28" fmla="*/ 17928 h 14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57335" h="141534">
                  <a:moveTo>
                    <a:pt x="213516" y="17928"/>
                  </a:moveTo>
                  <a:cubicBezTo>
                    <a:pt x="204724" y="6433"/>
                    <a:pt x="182679" y="6433"/>
                    <a:pt x="182679" y="6433"/>
                  </a:cubicBezTo>
                  <a:cubicBezTo>
                    <a:pt x="182679" y="6433"/>
                    <a:pt x="180448" y="17928"/>
                    <a:pt x="177146" y="24275"/>
                  </a:cubicBezTo>
                  <a:cubicBezTo>
                    <a:pt x="174358" y="29636"/>
                    <a:pt x="158361" y="29551"/>
                    <a:pt x="148067" y="26334"/>
                  </a:cubicBezTo>
                  <a:cubicBezTo>
                    <a:pt x="145150" y="30752"/>
                    <a:pt x="131812" y="34183"/>
                    <a:pt x="129968" y="40573"/>
                  </a:cubicBezTo>
                  <a:cubicBezTo>
                    <a:pt x="127738" y="48293"/>
                    <a:pt x="111439" y="44004"/>
                    <a:pt x="116672" y="64548"/>
                  </a:cubicBezTo>
                  <a:cubicBezTo>
                    <a:pt x="121862" y="85092"/>
                    <a:pt x="108523" y="78273"/>
                    <a:pt x="103333" y="75699"/>
                  </a:cubicBezTo>
                  <a:cubicBezTo>
                    <a:pt x="98144" y="73126"/>
                    <a:pt x="75198" y="76557"/>
                    <a:pt x="69279" y="83377"/>
                  </a:cubicBezTo>
                  <a:cubicBezTo>
                    <a:pt x="63361" y="90239"/>
                    <a:pt x="55212" y="88523"/>
                    <a:pt x="50022" y="85092"/>
                  </a:cubicBezTo>
                  <a:cubicBezTo>
                    <a:pt x="44832" y="81661"/>
                    <a:pt x="34453" y="79945"/>
                    <a:pt x="30036" y="88523"/>
                  </a:cubicBezTo>
                  <a:cubicBezTo>
                    <a:pt x="25575" y="97101"/>
                    <a:pt x="17426" y="81704"/>
                    <a:pt x="10778" y="82519"/>
                  </a:cubicBezTo>
                  <a:cubicBezTo>
                    <a:pt x="4130" y="83377"/>
                    <a:pt x="7090" y="99675"/>
                    <a:pt x="7090" y="103106"/>
                  </a:cubicBezTo>
                  <a:cubicBezTo>
                    <a:pt x="7090" y="106537"/>
                    <a:pt x="17469" y="116787"/>
                    <a:pt x="24117" y="113399"/>
                  </a:cubicBezTo>
                  <a:cubicBezTo>
                    <a:pt x="30765" y="109968"/>
                    <a:pt x="38914" y="114257"/>
                    <a:pt x="44875" y="118546"/>
                  </a:cubicBezTo>
                  <a:cubicBezTo>
                    <a:pt x="50794" y="122835"/>
                    <a:pt x="61903" y="115115"/>
                    <a:pt x="65591" y="110826"/>
                  </a:cubicBezTo>
                  <a:cubicBezTo>
                    <a:pt x="69322" y="106537"/>
                    <a:pt x="90038" y="106537"/>
                    <a:pt x="92268" y="106537"/>
                  </a:cubicBezTo>
                  <a:cubicBezTo>
                    <a:pt x="94498" y="106537"/>
                    <a:pt x="95227" y="120262"/>
                    <a:pt x="98916" y="122835"/>
                  </a:cubicBezTo>
                  <a:cubicBezTo>
                    <a:pt x="102605" y="125408"/>
                    <a:pt x="116715" y="127124"/>
                    <a:pt x="129282" y="127982"/>
                  </a:cubicBezTo>
                  <a:cubicBezTo>
                    <a:pt x="141891" y="128839"/>
                    <a:pt x="160376" y="135702"/>
                    <a:pt x="166338" y="135702"/>
                  </a:cubicBezTo>
                  <a:cubicBezTo>
                    <a:pt x="172257" y="135702"/>
                    <a:pt x="181864" y="123693"/>
                    <a:pt x="195202" y="123693"/>
                  </a:cubicBezTo>
                  <a:cubicBezTo>
                    <a:pt x="208541" y="123693"/>
                    <a:pt x="215961" y="114257"/>
                    <a:pt x="218191" y="115115"/>
                  </a:cubicBezTo>
                  <a:cubicBezTo>
                    <a:pt x="218234" y="115158"/>
                    <a:pt x="218277" y="115201"/>
                    <a:pt x="218320" y="115244"/>
                  </a:cubicBezTo>
                  <a:cubicBezTo>
                    <a:pt x="219263" y="110440"/>
                    <a:pt x="220850" y="106623"/>
                    <a:pt x="223724" y="106151"/>
                  </a:cubicBezTo>
                  <a:cubicBezTo>
                    <a:pt x="229128" y="105293"/>
                    <a:pt x="225268" y="94528"/>
                    <a:pt x="229128" y="89167"/>
                  </a:cubicBezTo>
                  <a:cubicBezTo>
                    <a:pt x="232988" y="83806"/>
                    <a:pt x="226040" y="73083"/>
                    <a:pt x="232988" y="73984"/>
                  </a:cubicBezTo>
                  <a:cubicBezTo>
                    <a:pt x="239936" y="74885"/>
                    <a:pt x="247656" y="75785"/>
                    <a:pt x="247656" y="64162"/>
                  </a:cubicBezTo>
                  <a:cubicBezTo>
                    <a:pt x="247656" y="60216"/>
                    <a:pt x="249500" y="56785"/>
                    <a:pt x="252117" y="53912"/>
                  </a:cubicBezTo>
                  <a:cubicBezTo>
                    <a:pt x="244482" y="41517"/>
                    <a:pt x="238992" y="21745"/>
                    <a:pt x="238992" y="21745"/>
                  </a:cubicBezTo>
                  <a:cubicBezTo>
                    <a:pt x="238992" y="21745"/>
                    <a:pt x="222394" y="29379"/>
                    <a:pt x="213516" y="1792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93" name="Freeform: Shape 146">
              <a:extLst>
                <a:ext uri="{FF2B5EF4-FFF2-40B4-BE49-F238E27FC236}">
                  <a16:creationId xmlns:a16="http://schemas.microsoft.com/office/drawing/2014/main" id="{32DD2A93-EB65-7DFE-D9E6-BB125B8E9B99}"/>
                </a:ext>
              </a:extLst>
            </p:cNvPr>
            <p:cNvSpPr/>
            <p:nvPr/>
          </p:nvSpPr>
          <p:spPr>
            <a:xfrm>
              <a:off x="7407538" y="2859189"/>
              <a:ext cx="173858" cy="114812"/>
            </a:xfrm>
            <a:custGeom>
              <a:avLst/>
              <a:gdLst>
                <a:gd name="connsiteX0" fmla="*/ 215862 w 227313"/>
                <a:gd name="connsiteY0" fmla="*/ 32216 h 150112"/>
                <a:gd name="connsiteX1" fmla="*/ 208013 w 227313"/>
                <a:gd name="connsiteY1" fmla="*/ 26684 h 150112"/>
                <a:gd name="connsiteX2" fmla="*/ 186997 w 227313"/>
                <a:gd name="connsiteY2" fmla="*/ 17977 h 150112"/>
                <a:gd name="connsiteX3" fmla="*/ 156117 w 227313"/>
                <a:gd name="connsiteY3" fmla="*/ 6483 h 150112"/>
                <a:gd name="connsiteX4" fmla="*/ 125237 w 227313"/>
                <a:gd name="connsiteY4" fmla="*/ 29429 h 150112"/>
                <a:gd name="connsiteX5" fmla="*/ 89939 w 227313"/>
                <a:gd name="connsiteY5" fmla="*/ 42167 h 150112"/>
                <a:gd name="connsiteX6" fmla="*/ 44733 w 227313"/>
                <a:gd name="connsiteY6" fmla="*/ 42167 h 150112"/>
                <a:gd name="connsiteX7" fmla="*/ 40230 w 227313"/>
                <a:gd name="connsiteY7" fmla="*/ 36077 h 150112"/>
                <a:gd name="connsiteX8" fmla="*/ 35770 w 227313"/>
                <a:gd name="connsiteY8" fmla="*/ 46327 h 150112"/>
                <a:gd name="connsiteX9" fmla="*/ 21102 w 227313"/>
                <a:gd name="connsiteY9" fmla="*/ 56149 h 150112"/>
                <a:gd name="connsiteX10" fmla="*/ 17242 w 227313"/>
                <a:gd name="connsiteY10" fmla="*/ 71331 h 150112"/>
                <a:gd name="connsiteX11" fmla="*/ 11837 w 227313"/>
                <a:gd name="connsiteY11" fmla="*/ 88316 h 150112"/>
                <a:gd name="connsiteX12" fmla="*/ 6433 w 227313"/>
                <a:gd name="connsiteY12" fmla="*/ 97408 h 150112"/>
                <a:gd name="connsiteX13" fmla="*/ 14454 w 227313"/>
                <a:gd name="connsiteY13" fmla="*/ 111819 h 150112"/>
                <a:gd name="connsiteX14" fmla="*/ 13681 w 227313"/>
                <a:gd name="connsiteY14" fmla="*/ 112634 h 150112"/>
                <a:gd name="connsiteX15" fmla="*/ 41431 w 227313"/>
                <a:gd name="connsiteY15" fmla="*/ 136566 h 150112"/>
                <a:gd name="connsiteX16" fmla="*/ 75614 w 227313"/>
                <a:gd name="connsiteY16" fmla="*/ 145530 h 150112"/>
                <a:gd name="connsiteX17" fmla="*/ 121934 w 227313"/>
                <a:gd name="connsiteY17" fmla="*/ 128932 h 150112"/>
                <a:gd name="connsiteX18" fmla="*/ 136259 w 227313"/>
                <a:gd name="connsiteY18" fmla="*/ 134036 h 150112"/>
                <a:gd name="connsiteX19" fmla="*/ 145652 w 227313"/>
                <a:gd name="connsiteY19" fmla="*/ 135837 h 150112"/>
                <a:gd name="connsiteX20" fmla="*/ 165467 w 227313"/>
                <a:gd name="connsiteY20" fmla="*/ 119582 h 150112"/>
                <a:gd name="connsiteX21" fmla="*/ 195833 w 227313"/>
                <a:gd name="connsiteY21" fmla="*/ 61338 h 150112"/>
                <a:gd name="connsiteX22" fmla="*/ 218049 w 227313"/>
                <a:gd name="connsiteY22" fmla="*/ 45040 h 150112"/>
                <a:gd name="connsiteX23" fmla="*/ 215862 w 227313"/>
                <a:gd name="connsiteY23" fmla="*/ 32216 h 150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7313" h="150112">
                  <a:moveTo>
                    <a:pt x="215862" y="32216"/>
                  </a:moveTo>
                  <a:cubicBezTo>
                    <a:pt x="213288" y="31230"/>
                    <a:pt x="210501" y="29214"/>
                    <a:pt x="208013" y="26684"/>
                  </a:cubicBezTo>
                  <a:cubicBezTo>
                    <a:pt x="198706" y="24325"/>
                    <a:pt x="189742" y="21151"/>
                    <a:pt x="186997" y="17977"/>
                  </a:cubicBezTo>
                  <a:cubicBezTo>
                    <a:pt x="181507" y="11630"/>
                    <a:pt x="159462" y="7770"/>
                    <a:pt x="156117" y="6483"/>
                  </a:cubicBezTo>
                  <a:cubicBezTo>
                    <a:pt x="152815" y="5196"/>
                    <a:pt x="131842" y="29429"/>
                    <a:pt x="125237" y="29429"/>
                  </a:cubicBezTo>
                  <a:cubicBezTo>
                    <a:pt x="118632" y="29429"/>
                    <a:pt x="89939" y="33246"/>
                    <a:pt x="89939" y="42167"/>
                  </a:cubicBezTo>
                  <a:cubicBezTo>
                    <a:pt x="89939" y="51131"/>
                    <a:pt x="54684" y="52417"/>
                    <a:pt x="44733" y="42167"/>
                  </a:cubicBezTo>
                  <a:cubicBezTo>
                    <a:pt x="43146" y="40537"/>
                    <a:pt x="41645" y="38393"/>
                    <a:pt x="40230" y="36077"/>
                  </a:cubicBezTo>
                  <a:cubicBezTo>
                    <a:pt x="37571" y="38950"/>
                    <a:pt x="35770" y="42424"/>
                    <a:pt x="35770" y="46327"/>
                  </a:cubicBezTo>
                  <a:cubicBezTo>
                    <a:pt x="35770" y="57950"/>
                    <a:pt x="28050" y="57049"/>
                    <a:pt x="21102" y="56149"/>
                  </a:cubicBezTo>
                  <a:cubicBezTo>
                    <a:pt x="14153" y="55248"/>
                    <a:pt x="21102" y="65970"/>
                    <a:pt x="17242" y="71331"/>
                  </a:cubicBezTo>
                  <a:cubicBezTo>
                    <a:pt x="13381" y="76693"/>
                    <a:pt x="17242" y="87415"/>
                    <a:pt x="11837" y="88316"/>
                  </a:cubicBezTo>
                  <a:cubicBezTo>
                    <a:pt x="8964" y="88787"/>
                    <a:pt x="7377" y="92648"/>
                    <a:pt x="6433" y="97408"/>
                  </a:cubicBezTo>
                  <a:cubicBezTo>
                    <a:pt x="8750" y="98695"/>
                    <a:pt x="14454" y="111819"/>
                    <a:pt x="14454" y="111819"/>
                  </a:cubicBezTo>
                  <a:cubicBezTo>
                    <a:pt x="14454" y="111819"/>
                    <a:pt x="14153" y="112119"/>
                    <a:pt x="13681" y="112634"/>
                  </a:cubicBezTo>
                  <a:cubicBezTo>
                    <a:pt x="21187" y="117824"/>
                    <a:pt x="36499" y="128975"/>
                    <a:pt x="41431" y="136566"/>
                  </a:cubicBezTo>
                  <a:cubicBezTo>
                    <a:pt x="48036" y="146774"/>
                    <a:pt x="66778" y="148061"/>
                    <a:pt x="75614" y="145530"/>
                  </a:cubicBezTo>
                  <a:cubicBezTo>
                    <a:pt x="84449" y="143000"/>
                    <a:pt x="121934" y="128932"/>
                    <a:pt x="121934" y="128932"/>
                  </a:cubicBezTo>
                  <a:cubicBezTo>
                    <a:pt x="121934" y="128932"/>
                    <a:pt x="130769" y="132749"/>
                    <a:pt x="136259" y="134036"/>
                  </a:cubicBezTo>
                  <a:cubicBezTo>
                    <a:pt x="137546" y="134336"/>
                    <a:pt x="141063" y="135022"/>
                    <a:pt x="145652" y="135837"/>
                  </a:cubicBezTo>
                  <a:cubicBezTo>
                    <a:pt x="148354" y="132578"/>
                    <a:pt x="156632" y="129833"/>
                    <a:pt x="165467" y="119582"/>
                  </a:cubicBezTo>
                  <a:cubicBezTo>
                    <a:pt x="175846" y="107573"/>
                    <a:pt x="191415" y="64770"/>
                    <a:pt x="195833" y="61338"/>
                  </a:cubicBezTo>
                  <a:cubicBezTo>
                    <a:pt x="200293" y="57907"/>
                    <a:pt x="212130" y="50187"/>
                    <a:pt x="218049" y="45040"/>
                  </a:cubicBezTo>
                  <a:cubicBezTo>
                    <a:pt x="223968" y="39894"/>
                    <a:pt x="222510" y="34790"/>
                    <a:pt x="215862" y="3221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94" name="Freeform: Shape 147">
              <a:extLst>
                <a:ext uri="{FF2B5EF4-FFF2-40B4-BE49-F238E27FC236}">
                  <a16:creationId xmlns:a16="http://schemas.microsoft.com/office/drawing/2014/main" id="{C168A289-F2A8-FB31-A744-C4598179B7F7}"/>
                </a:ext>
              </a:extLst>
            </p:cNvPr>
            <p:cNvSpPr/>
            <p:nvPr/>
          </p:nvSpPr>
          <p:spPr>
            <a:xfrm>
              <a:off x="7313828" y="2768296"/>
              <a:ext cx="167297" cy="101691"/>
            </a:xfrm>
            <a:custGeom>
              <a:avLst/>
              <a:gdLst>
                <a:gd name="connsiteX0" fmla="*/ 201439 w 218735"/>
                <a:gd name="connsiteY0" fmla="*/ 62790 h 132956"/>
                <a:gd name="connsiteX1" fmla="*/ 179351 w 218735"/>
                <a:gd name="connsiteY1" fmla="*/ 56399 h 132956"/>
                <a:gd name="connsiteX2" fmla="*/ 170559 w 218735"/>
                <a:gd name="connsiteY2" fmla="*/ 42375 h 132956"/>
                <a:gd name="connsiteX3" fmla="*/ 151816 w 218735"/>
                <a:gd name="connsiteY3" fmla="*/ 46192 h 132956"/>
                <a:gd name="connsiteX4" fmla="*/ 134146 w 218735"/>
                <a:gd name="connsiteY4" fmla="*/ 37271 h 132956"/>
                <a:gd name="connsiteX5" fmla="*/ 112101 w 218735"/>
                <a:gd name="connsiteY5" fmla="*/ 19386 h 132956"/>
                <a:gd name="connsiteX6" fmla="*/ 92758 w 218735"/>
                <a:gd name="connsiteY6" fmla="*/ 6433 h 132956"/>
                <a:gd name="connsiteX7" fmla="*/ 90999 w 218735"/>
                <a:gd name="connsiteY7" fmla="*/ 10551 h 132956"/>
                <a:gd name="connsiteX8" fmla="*/ 73200 w 218735"/>
                <a:gd name="connsiteY8" fmla="*/ 11408 h 132956"/>
                <a:gd name="connsiteX9" fmla="*/ 45794 w 218735"/>
                <a:gd name="connsiteY9" fmla="*/ 25948 h 132956"/>
                <a:gd name="connsiteX10" fmla="*/ 10968 w 218735"/>
                <a:gd name="connsiteY10" fmla="*/ 41388 h 132956"/>
                <a:gd name="connsiteX11" fmla="*/ 13198 w 218735"/>
                <a:gd name="connsiteY11" fmla="*/ 61932 h 132956"/>
                <a:gd name="connsiteX12" fmla="*/ 24306 w 218735"/>
                <a:gd name="connsiteY12" fmla="*/ 94485 h 132956"/>
                <a:gd name="connsiteX13" fmla="*/ 59132 w 218735"/>
                <a:gd name="connsiteY13" fmla="*/ 124465 h 132956"/>
                <a:gd name="connsiteX14" fmla="*/ 58704 w 218735"/>
                <a:gd name="connsiteY14" fmla="*/ 127338 h 132956"/>
                <a:gd name="connsiteX15" fmla="*/ 87783 w 218735"/>
                <a:gd name="connsiteY15" fmla="*/ 125279 h 132956"/>
                <a:gd name="connsiteX16" fmla="*/ 93315 w 218735"/>
                <a:gd name="connsiteY16" fmla="*/ 107438 h 132956"/>
                <a:gd name="connsiteX17" fmla="*/ 124153 w 218735"/>
                <a:gd name="connsiteY17" fmla="*/ 118932 h 132956"/>
                <a:gd name="connsiteX18" fmla="*/ 149543 w 218735"/>
                <a:gd name="connsiteY18" fmla="*/ 122749 h 132956"/>
                <a:gd name="connsiteX19" fmla="*/ 151945 w 218735"/>
                <a:gd name="connsiteY19" fmla="*/ 130512 h 132956"/>
                <a:gd name="connsiteX20" fmla="*/ 161209 w 218735"/>
                <a:gd name="connsiteY20" fmla="*/ 118031 h 132956"/>
                <a:gd name="connsiteX21" fmla="*/ 193076 w 218735"/>
                <a:gd name="connsiteY21" fmla="*/ 99632 h 132956"/>
                <a:gd name="connsiteX22" fmla="*/ 212419 w 218735"/>
                <a:gd name="connsiteY22" fmla="*/ 81189 h 132956"/>
                <a:gd name="connsiteX23" fmla="*/ 201439 w 218735"/>
                <a:gd name="connsiteY23" fmla="*/ 62790 h 13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8735" h="132956">
                  <a:moveTo>
                    <a:pt x="201439" y="62790"/>
                  </a:moveTo>
                  <a:cubicBezTo>
                    <a:pt x="195907" y="58973"/>
                    <a:pt x="180466" y="61503"/>
                    <a:pt x="179351" y="56399"/>
                  </a:cubicBezTo>
                  <a:cubicBezTo>
                    <a:pt x="178279" y="51295"/>
                    <a:pt x="177164" y="42375"/>
                    <a:pt x="170559" y="42375"/>
                  </a:cubicBezTo>
                  <a:cubicBezTo>
                    <a:pt x="163954" y="42375"/>
                    <a:pt x="155119" y="37313"/>
                    <a:pt x="151816" y="46192"/>
                  </a:cubicBezTo>
                  <a:cubicBezTo>
                    <a:pt x="148471" y="55113"/>
                    <a:pt x="135261" y="43661"/>
                    <a:pt x="134146" y="37271"/>
                  </a:cubicBezTo>
                  <a:cubicBezTo>
                    <a:pt x="133074" y="30880"/>
                    <a:pt x="127541" y="25776"/>
                    <a:pt x="112101" y="19386"/>
                  </a:cubicBezTo>
                  <a:cubicBezTo>
                    <a:pt x="105968" y="16855"/>
                    <a:pt x="98977" y="11752"/>
                    <a:pt x="92758" y="6433"/>
                  </a:cubicBezTo>
                  <a:cubicBezTo>
                    <a:pt x="92243" y="7977"/>
                    <a:pt x="91642" y="9435"/>
                    <a:pt x="90999" y="10551"/>
                  </a:cubicBezTo>
                  <a:cubicBezTo>
                    <a:pt x="88040" y="15697"/>
                    <a:pt x="77661" y="6262"/>
                    <a:pt x="73200" y="11408"/>
                  </a:cubicBezTo>
                  <a:cubicBezTo>
                    <a:pt x="68740" y="16555"/>
                    <a:pt x="53943" y="17370"/>
                    <a:pt x="45794" y="25948"/>
                  </a:cubicBezTo>
                  <a:cubicBezTo>
                    <a:pt x="37645" y="34526"/>
                    <a:pt x="20618" y="38815"/>
                    <a:pt x="10968" y="41388"/>
                  </a:cubicBezTo>
                  <a:cubicBezTo>
                    <a:pt x="1318" y="43962"/>
                    <a:pt x="9510" y="54212"/>
                    <a:pt x="13198" y="61932"/>
                  </a:cubicBezTo>
                  <a:cubicBezTo>
                    <a:pt x="16930" y="69609"/>
                    <a:pt x="16930" y="88481"/>
                    <a:pt x="24306" y="94485"/>
                  </a:cubicBezTo>
                  <a:cubicBezTo>
                    <a:pt x="31726" y="100447"/>
                    <a:pt x="56173" y="118460"/>
                    <a:pt x="59132" y="124465"/>
                  </a:cubicBezTo>
                  <a:cubicBezTo>
                    <a:pt x="59647" y="125494"/>
                    <a:pt x="59347" y="126438"/>
                    <a:pt x="58704" y="127338"/>
                  </a:cubicBezTo>
                  <a:cubicBezTo>
                    <a:pt x="68954" y="130555"/>
                    <a:pt x="84995" y="130641"/>
                    <a:pt x="87783" y="125279"/>
                  </a:cubicBezTo>
                  <a:cubicBezTo>
                    <a:pt x="91085" y="118932"/>
                    <a:pt x="93315" y="107438"/>
                    <a:pt x="93315" y="107438"/>
                  </a:cubicBezTo>
                  <a:cubicBezTo>
                    <a:pt x="93315" y="107438"/>
                    <a:pt x="115360" y="107438"/>
                    <a:pt x="124153" y="118932"/>
                  </a:cubicBezTo>
                  <a:cubicBezTo>
                    <a:pt x="132988" y="130426"/>
                    <a:pt x="149543" y="122749"/>
                    <a:pt x="149543" y="122749"/>
                  </a:cubicBezTo>
                  <a:cubicBezTo>
                    <a:pt x="149543" y="122749"/>
                    <a:pt x="150444" y="125966"/>
                    <a:pt x="151945" y="130512"/>
                  </a:cubicBezTo>
                  <a:cubicBezTo>
                    <a:pt x="154304" y="124207"/>
                    <a:pt x="157435" y="118675"/>
                    <a:pt x="161209" y="118031"/>
                  </a:cubicBezTo>
                  <a:cubicBezTo>
                    <a:pt x="170516" y="116530"/>
                    <a:pt x="183769" y="114986"/>
                    <a:pt x="193076" y="99632"/>
                  </a:cubicBezTo>
                  <a:cubicBezTo>
                    <a:pt x="197879" y="91697"/>
                    <a:pt x="205857" y="85435"/>
                    <a:pt x="212419" y="81189"/>
                  </a:cubicBezTo>
                  <a:cubicBezTo>
                    <a:pt x="208044" y="74927"/>
                    <a:pt x="205728" y="65792"/>
                    <a:pt x="201439" y="6279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95" name="Freeform: Shape 148">
              <a:extLst>
                <a:ext uri="{FF2B5EF4-FFF2-40B4-BE49-F238E27FC236}">
                  <a16:creationId xmlns:a16="http://schemas.microsoft.com/office/drawing/2014/main" id="{D679BE4A-B072-666A-B213-025BC7CD603E}"/>
                </a:ext>
              </a:extLst>
            </p:cNvPr>
            <p:cNvSpPr/>
            <p:nvPr/>
          </p:nvSpPr>
          <p:spPr>
            <a:xfrm>
              <a:off x="7425186" y="2825538"/>
              <a:ext cx="150896" cy="75447"/>
            </a:xfrm>
            <a:custGeom>
              <a:avLst/>
              <a:gdLst>
                <a:gd name="connsiteX0" fmla="*/ 145180 w 197290"/>
                <a:gd name="connsiteY0" fmla="*/ 14797 h 98645"/>
                <a:gd name="connsiteX1" fmla="*/ 119832 w 197290"/>
                <a:gd name="connsiteY1" fmla="*/ 12224 h 98645"/>
                <a:gd name="connsiteX2" fmla="*/ 91140 w 197290"/>
                <a:gd name="connsiteY2" fmla="*/ 8406 h 98645"/>
                <a:gd name="connsiteX3" fmla="*/ 71282 w 197290"/>
                <a:gd name="connsiteY3" fmla="*/ 10980 h 98645"/>
                <a:gd name="connsiteX4" fmla="*/ 66907 w 197290"/>
                <a:gd name="connsiteY4" fmla="*/ 6433 h 98645"/>
                <a:gd name="connsiteX5" fmla="*/ 47564 w 197290"/>
                <a:gd name="connsiteY5" fmla="*/ 24876 h 98645"/>
                <a:gd name="connsiteX6" fmla="*/ 15698 w 197290"/>
                <a:gd name="connsiteY6" fmla="*/ 43275 h 98645"/>
                <a:gd name="connsiteX7" fmla="*/ 6433 w 197290"/>
                <a:gd name="connsiteY7" fmla="*/ 55756 h 98645"/>
                <a:gd name="connsiteX8" fmla="*/ 21659 w 197290"/>
                <a:gd name="connsiteY8" fmla="*/ 86208 h 98645"/>
                <a:gd name="connsiteX9" fmla="*/ 66864 w 197290"/>
                <a:gd name="connsiteY9" fmla="*/ 86208 h 98645"/>
                <a:gd name="connsiteX10" fmla="*/ 102162 w 197290"/>
                <a:gd name="connsiteY10" fmla="*/ 73469 h 98645"/>
                <a:gd name="connsiteX11" fmla="*/ 133043 w 197290"/>
                <a:gd name="connsiteY11" fmla="*/ 50524 h 98645"/>
                <a:gd name="connsiteX12" fmla="*/ 163923 w 197290"/>
                <a:gd name="connsiteY12" fmla="*/ 62018 h 98645"/>
                <a:gd name="connsiteX13" fmla="*/ 184939 w 197290"/>
                <a:gd name="connsiteY13" fmla="*/ 70725 h 98645"/>
                <a:gd name="connsiteX14" fmla="*/ 177948 w 197290"/>
                <a:gd name="connsiteY14" fmla="*/ 57429 h 98645"/>
                <a:gd name="connsiteX15" fmla="*/ 192744 w 197290"/>
                <a:gd name="connsiteY15" fmla="*/ 29165 h 98645"/>
                <a:gd name="connsiteX16" fmla="*/ 193388 w 197290"/>
                <a:gd name="connsiteY16" fmla="*/ 27964 h 98645"/>
                <a:gd name="connsiteX17" fmla="*/ 173830 w 197290"/>
                <a:gd name="connsiteY17" fmla="*/ 22474 h 98645"/>
                <a:gd name="connsiteX18" fmla="*/ 145180 w 197290"/>
                <a:gd name="connsiteY18" fmla="*/ 14797 h 98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7290" h="98645">
                  <a:moveTo>
                    <a:pt x="145180" y="14797"/>
                  </a:moveTo>
                  <a:cubicBezTo>
                    <a:pt x="134158" y="16041"/>
                    <a:pt x="128625" y="8406"/>
                    <a:pt x="119832" y="12224"/>
                  </a:cubicBezTo>
                  <a:cubicBezTo>
                    <a:pt x="110998" y="16041"/>
                    <a:pt x="96673" y="12224"/>
                    <a:pt x="91140" y="8406"/>
                  </a:cubicBezTo>
                  <a:cubicBezTo>
                    <a:pt x="85564" y="4589"/>
                    <a:pt x="79002" y="16041"/>
                    <a:pt x="71282" y="10980"/>
                  </a:cubicBezTo>
                  <a:cubicBezTo>
                    <a:pt x="69566" y="9865"/>
                    <a:pt x="68151" y="8235"/>
                    <a:pt x="66907" y="6433"/>
                  </a:cubicBezTo>
                  <a:cubicBezTo>
                    <a:pt x="60302" y="10680"/>
                    <a:pt x="52368" y="16941"/>
                    <a:pt x="47564" y="24876"/>
                  </a:cubicBezTo>
                  <a:cubicBezTo>
                    <a:pt x="38257" y="40230"/>
                    <a:pt x="25004" y="41774"/>
                    <a:pt x="15698" y="43275"/>
                  </a:cubicBezTo>
                  <a:cubicBezTo>
                    <a:pt x="11923" y="43919"/>
                    <a:pt x="8792" y="49451"/>
                    <a:pt x="6433" y="55756"/>
                  </a:cubicBezTo>
                  <a:cubicBezTo>
                    <a:pt x="9478" y="64806"/>
                    <a:pt x="15054" y="79431"/>
                    <a:pt x="21659" y="86208"/>
                  </a:cubicBezTo>
                  <a:cubicBezTo>
                    <a:pt x="31609" y="96458"/>
                    <a:pt x="66864" y="95171"/>
                    <a:pt x="66864" y="86208"/>
                  </a:cubicBezTo>
                  <a:cubicBezTo>
                    <a:pt x="66864" y="77287"/>
                    <a:pt x="95558" y="73469"/>
                    <a:pt x="102162" y="73469"/>
                  </a:cubicBezTo>
                  <a:cubicBezTo>
                    <a:pt x="108810" y="73469"/>
                    <a:pt x="129783" y="49194"/>
                    <a:pt x="133043" y="50524"/>
                  </a:cubicBezTo>
                  <a:cubicBezTo>
                    <a:pt x="136388" y="51810"/>
                    <a:pt x="158433" y="55628"/>
                    <a:pt x="163923" y="62018"/>
                  </a:cubicBezTo>
                  <a:cubicBezTo>
                    <a:pt x="166668" y="65192"/>
                    <a:pt x="175632" y="68323"/>
                    <a:pt x="184939" y="70725"/>
                  </a:cubicBezTo>
                  <a:cubicBezTo>
                    <a:pt x="181036" y="66779"/>
                    <a:pt x="177948" y="61632"/>
                    <a:pt x="177948" y="57429"/>
                  </a:cubicBezTo>
                  <a:cubicBezTo>
                    <a:pt x="177948" y="50610"/>
                    <a:pt x="189056" y="32596"/>
                    <a:pt x="192744" y="29165"/>
                  </a:cubicBezTo>
                  <a:cubicBezTo>
                    <a:pt x="193045" y="28908"/>
                    <a:pt x="193216" y="28393"/>
                    <a:pt x="193388" y="27964"/>
                  </a:cubicBezTo>
                  <a:cubicBezTo>
                    <a:pt x="184896" y="26506"/>
                    <a:pt x="175546" y="24490"/>
                    <a:pt x="173830" y="22474"/>
                  </a:cubicBezTo>
                  <a:cubicBezTo>
                    <a:pt x="170571" y="18571"/>
                    <a:pt x="156203" y="13467"/>
                    <a:pt x="145180" y="1479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96" name="Freeform: Shape 149">
              <a:extLst>
                <a:ext uri="{FF2B5EF4-FFF2-40B4-BE49-F238E27FC236}">
                  <a16:creationId xmlns:a16="http://schemas.microsoft.com/office/drawing/2014/main" id="{7AACB7D5-B6BD-7D2B-DCC0-F5D6263B154E}"/>
                </a:ext>
              </a:extLst>
            </p:cNvPr>
            <p:cNvSpPr/>
            <p:nvPr/>
          </p:nvSpPr>
          <p:spPr>
            <a:xfrm>
              <a:off x="6752378" y="3109600"/>
              <a:ext cx="91849" cy="180418"/>
            </a:xfrm>
            <a:custGeom>
              <a:avLst/>
              <a:gdLst>
                <a:gd name="connsiteX0" fmla="*/ 115085 w 120090"/>
                <a:gd name="connsiteY0" fmla="*/ 29872 h 235891"/>
                <a:gd name="connsiteX1" fmla="*/ 106679 w 120090"/>
                <a:gd name="connsiteY1" fmla="*/ 14560 h 235891"/>
                <a:gd name="connsiteX2" fmla="*/ 86264 w 120090"/>
                <a:gd name="connsiteY2" fmla="*/ 10400 h 235891"/>
                <a:gd name="connsiteX3" fmla="*/ 73054 w 120090"/>
                <a:gd name="connsiteY3" fmla="*/ 10400 h 235891"/>
                <a:gd name="connsiteX4" fmla="*/ 55641 w 120090"/>
                <a:gd name="connsiteY4" fmla="*/ 9542 h 235891"/>
                <a:gd name="connsiteX5" fmla="*/ 55770 w 120090"/>
                <a:gd name="connsiteY5" fmla="*/ 10100 h 235891"/>
                <a:gd name="connsiteX6" fmla="*/ 55984 w 120090"/>
                <a:gd name="connsiteY6" fmla="*/ 35533 h 235891"/>
                <a:gd name="connsiteX7" fmla="*/ 50280 w 120090"/>
                <a:gd name="connsiteY7" fmla="*/ 50244 h 235891"/>
                <a:gd name="connsiteX8" fmla="*/ 35226 w 120090"/>
                <a:gd name="connsiteY8" fmla="*/ 64655 h 235891"/>
                <a:gd name="connsiteX9" fmla="*/ 36126 w 120090"/>
                <a:gd name="connsiteY9" fmla="*/ 76321 h 235891"/>
                <a:gd name="connsiteX10" fmla="*/ 21586 w 120090"/>
                <a:gd name="connsiteY10" fmla="*/ 106000 h 235891"/>
                <a:gd name="connsiteX11" fmla="*/ 11851 w 120090"/>
                <a:gd name="connsiteY11" fmla="*/ 126501 h 235891"/>
                <a:gd name="connsiteX12" fmla="*/ 24675 w 120090"/>
                <a:gd name="connsiteY12" fmla="*/ 160212 h 235891"/>
                <a:gd name="connsiteX13" fmla="*/ 29135 w 120090"/>
                <a:gd name="connsiteY13" fmla="*/ 225876 h 235891"/>
                <a:gd name="connsiteX14" fmla="*/ 54783 w 120090"/>
                <a:gd name="connsiteY14" fmla="*/ 233296 h 235891"/>
                <a:gd name="connsiteX15" fmla="*/ 81460 w 120090"/>
                <a:gd name="connsiteY15" fmla="*/ 227205 h 235891"/>
                <a:gd name="connsiteX16" fmla="*/ 76614 w 120090"/>
                <a:gd name="connsiteY16" fmla="*/ 214639 h 235891"/>
                <a:gd name="connsiteX17" fmla="*/ 89824 w 120090"/>
                <a:gd name="connsiteY17" fmla="*/ 191007 h 235891"/>
                <a:gd name="connsiteX18" fmla="*/ 82575 w 120090"/>
                <a:gd name="connsiteY18" fmla="*/ 171535 h 235891"/>
                <a:gd name="connsiteX19" fmla="*/ 90982 w 120090"/>
                <a:gd name="connsiteY19" fmla="*/ 150691 h 235891"/>
                <a:gd name="connsiteX20" fmla="*/ 81374 w 120090"/>
                <a:gd name="connsiteY20" fmla="*/ 129847 h 235891"/>
                <a:gd name="connsiteX21" fmla="*/ 89781 w 120090"/>
                <a:gd name="connsiteY21" fmla="*/ 114578 h 235891"/>
                <a:gd name="connsiteX22" fmla="*/ 95785 w 120090"/>
                <a:gd name="connsiteY22" fmla="*/ 88201 h 235891"/>
                <a:gd name="connsiteX23" fmla="*/ 93383 w 120090"/>
                <a:gd name="connsiteY23" fmla="*/ 52089 h 235891"/>
                <a:gd name="connsiteX24" fmla="*/ 115085 w 120090"/>
                <a:gd name="connsiteY24" fmla="*/ 29872 h 23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0090" h="235891">
                  <a:moveTo>
                    <a:pt x="115085" y="29872"/>
                  </a:moveTo>
                  <a:cubicBezTo>
                    <a:pt x="124693" y="18721"/>
                    <a:pt x="106679" y="22924"/>
                    <a:pt x="106679" y="14560"/>
                  </a:cubicBezTo>
                  <a:cubicBezTo>
                    <a:pt x="106679" y="6197"/>
                    <a:pt x="94670" y="3409"/>
                    <a:pt x="86264" y="10400"/>
                  </a:cubicBezTo>
                  <a:cubicBezTo>
                    <a:pt x="77857" y="17348"/>
                    <a:pt x="80259" y="10400"/>
                    <a:pt x="73054" y="10400"/>
                  </a:cubicBezTo>
                  <a:cubicBezTo>
                    <a:pt x="67950" y="10400"/>
                    <a:pt x="59930" y="11687"/>
                    <a:pt x="55641" y="9542"/>
                  </a:cubicBezTo>
                  <a:cubicBezTo>
                    <a:pt x="55684" y="9714"/>
                    <a:pt x="55770" y="9928"/>
                    <a:pt x="55770" y="10100"/>
                  </a:cubicBezTo>
                  <a:cubicBezTo>
                    <a:pt x="57399" y="19836"/>
                    <a:pt x="58085" y="25926"/>
                    <a:pt x="55984" y="35533"/>
                  </a:cubicBezTo>
                  <a:cubicBezTo>
                    <a:pt x="54869" y="40680"/>
                    <a:pt x="52510" y="45526"/>
                    <a:pt x="50280" y="50244"/>
                  </a:cubicBezTo>
                  <a:cubicBezTo>
                    <a:pt x="47235" y="56678"/>
                    <a:pt x="41487" y="61438"/>
                    <a:pt x="35226" y="64655"/>
                  </a:cubicBezTo>
                  <a:cubicBezTo>
                    <a:pt x="35568" y="68558"/>
                    <a:pt x="35912" y="72418"/>
                    <a:pt x="36126" y="76321"/>
                  </a:cubicBezTo>
                  <a:cubicBezTo>
                    <a:pt x="36855" y="88244"/>
                    <a:pt x="30637" y="99052"/>
                    <a:pt x="21586" y="106000"/>
                  </a:cubicBezTo>
                  <a:cubicBezTo>
                    <a:pt x="18499" y="114750"/>
                    <a:pt x="15153" y="122127"/>
                    <a:pt x="11851" y="126501"/>
                  </a:cubicBezTo>
                  <a:cubicBezTo>
                    <a:pt x="-1016" y="143657"/>
                    <a:pt x="11379" y="148203"/>
                    <a:pt x="24675" y="160212"/>
                  </a:cubicBezTo>
                  <a:cubicBezTo>
                    <a:pt x="38013" y="172221"/>
                    <a:pt x="29135" y="215583"/>
                    <a:pt x="29135" y="225876"/>
                  </a:cubicBezTo>
                  <a:cubicBezTo>
                    <a:pt x="29135" y="236169"/>
                    <a:pt x="40973" y="233296"/>
                    <a:pt x="54783" y="233296"/>
                  </a:cubicBezTo>
                  <a:cubicBezTo>
                    <a:pt x="63018" y="233296"/>
                    <a:pt x="72325" y="229093"/>
                    <a:pt x="81460" y="227205"/>
                  </a:cubicBezTo>
                  <a:cubicBezTo>
                    <a:pt x="78758" y="222445"/>
                    <a:pt x="76614" y="217727"/>
                    <a:pt x="76614" y="214639"/>
                  </a:cubicBezTo>
                  <a:cubicBezTo>
                    <a:pt x="76614" y="206275"/>
                    <a:pt x="76614" y="193795"/>
                    <a:pt x="89824" y="191007"/>
                  </a:cubicBezTo>
                  <a:cubicBezTo>
                    <a:pt x="103033" y="188219"/>
                    <a:pt x="86221" y="175695"/>
                    <a:pt x="82575" y="171535"/>
                  </a:cubicBezTo>
                  <a:cubicBezTo>
                    <a:pt x="78972" y="167375"/>
                    <a:pt x="83776" y="150691"/>
                    <a:pt x="90982" y="150691"/>
                  </a:cubicBezTo>
                  <a:cubicBezTo>
                    <a:pt x="98187" y="150691"/>
                    <a:pt x="90982" y="140955"/>
                    <a:pt x="81374" y="129847"/>
                  </a:cubicBezTo>
                  <a:cubicBezTo>
                    <a:pt x="71767" y="118739"/>
                    <a:pt x="81374" y="114578"/>
                    <a:pt x="89781" y="114578"/>
                  </a:cubicBezTo>
                  <a:cubicBezTo>
                    <a:pt x="98187" y="114578"/>
                    <a:pt x="87379" y="97894"/>
                    <a:pt x="95785" y="88201"/>
                  </a:cubicBezTo>
                  <a:cubicBezTo>
                    <a:pt x="104191" y="78465"/>
                    <a:pt x="93383" y="60409"/>
                    <a:pt x="93383" y="52089"/>
                  </a:cubicBezTo>
                  <a:cubicBezTo>
                    <a:pt x="93426" y="43768"/>
                    <a:pt x="105478" y="40980"/>
                    <a:pt x="115085" y="29872"/>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97" name="Freeform: Shape 150">
              <a:extLst>
                <a:ext uri="{FF2B5EF4-FFF2-40B4-BE49-F238E27FC236}">
                  <a16:creationId xmlns:a16="http://schemas.microsoft.com/office/drawing/2014/main" id="{FFB33592-FF4C-67F1-4499-17D2709DAE49}"/>
                </a:ext>
              </a:extLst>
            </p:cNvPr>
            <p:cNvSpPr/>
            <p:nvPr/>
          </p:nvSpPr>
          <p:spPr>
            <a:xfrm>
              <a:off x="7079602" y="2672608"/>
              <a:ext cx="111532" cy="111532"/>
            </a:xfrm>
            <a:custGeom>
              <a:avLst/>
              <a:gdLst>
                <a:gd name="connsiteX0" fmla="*/ 141492 w 145823"/>
                <a:gd name="connsiteY0" fmla="*/ 32639 h 145823"/>
                <a:gd name="connsiteX1" fmla="*/ 140548 w 145823"/>
                <a:gd name="connsiteY1" fmla="*/ 6433 h 145823"/>
                <a:gd name="connsiteX2" fmla="*/ 132142 w 145823"/>
                <a:gd name="connsiteY2" fmla="*/ 10336 h 145823"/>
                <a:gd name="connsiteX3" fmla="*/ 127639 w 145823"/>
                <a:gd name="connsiteY3" fmla="*/ 8363 h 145823"/>
                <a:gd name="connsiteX4" fmla="*/ 99074 w 145823"/>
                <a:gd name="connsiteY4" fmla="*/ 23032 h 145823"/>
                <a:gd name="connsiteX5" fmla="*/ 84706 w 145823"/>
                <a:gd name="connsiteY5" fmla="*/ 22431 h 145823"/>
                <a:gd name="connsiteX6" fmla="*/ 84706 w 145823"/>
                <a:gd name="connsiteY6" fmla="*/ 38343 h 145823"/>
                <a:gd name="connsiteX7" fmla="*/ 70381 w 145823"/>
                <a:gd name="connsiteY7" fmla="*/ 42503 h 145823"/>
                <a:gd name="connsiteX8" fmla="*/ 65878 w 145823"/>
                <a:gd name="connsiteY8" fmla="*/ 51381 h 145823"/>
                <a:gd name="connsiteX9" fmla="*/ 58715 w 145823"/>
                <a:gd name="connsiteY9" fmla="*/ 61117 h 145823"/>
                <a:gd name="connsiteX10" fmla="*/ 36799 w 145823"/>
                <a:gd name="connsiteY10" fmla="*/ 89167 h 145823"/>
                <a:gd name="connsiteX11" fmla="*/ 11666 w 145823"/>
                <a:gd name="connsiteY11" fmla="*/ 116016 h 145823"/>
                <a:gd name="connsiteX12" fmla="*/ 6433 w 145823"/>
                <a:gd name="connsiteY12" fmla="*/ 119575 h 145823"/>
                <a:gd name="connsiteX13" fmla="*/ 18313 w 145823"/>
                <a:gd name="connsiteY13" fmla="*/ 124422 h 145823"/>
                <a:gd name="connsiteX14" fmla="*/ 50009 w 145823"/>
                <a:gd name="connsiteY14" fmla="*/ 112198 h 145823"/>
                <a:gd name="connsiteX15" fmla="*/ 72654 w 145823"/>
                <a:gd name="connsiteY15" fmla="*/ 115715 h 145823"/>
                <a:gd name="connsiteX16" fmla="*/ 96801 w 145823"/>
                <a:gd name="connsiteY16" fmla="*/ 134887 h 145823"/>
                <a:gd name="connsiteX17" fmla="*/ 104092 w 145823"/>
                <a:gd name="connsiteY17" fmla="*/ 142221 h 145823"/>
                <a:gd name="connsiteX18" fmla="*/ 107909 w 145823"/>
                <a:gd name="connsiteY18" fmla="*/ 112627 h 145823"/>
                <a:gd name="connsiteX19" fmla="*/ 109882 w 145823"/>
                <a:gd name="connsiteY19" fmla="*/ 94356 h 145823"/>
                <a:gd name="connsiteX20" fmla="*/ 128625 w 145823"/>
                <a:gd name="connsiteY20" fmla="*/ 84106 h 145823"/>
                <a:gd name="connsiteX21" fmla="*/ 135573 w 145823"/>
                <a:gd name="connsiteY21" fmla="*/ 71496 h 145823"/>
                <a:gd name="connsiteX22" fmla="*/ 124679 w 145823"/>
                <a:gd name="connsiteY22" fmla="*/ 50952 h 145823"/>
                <a:gd name="connsiteX23" fmla="*/ 141492 w 145823"/>
                <a:gd name="connsiteY23" fmla="*/ 32639 h 14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5823" h="145823">
                  <a:moveTo>
                    <a:pt x="141492" y="32639"/>
                  </a:moveTo>
                  <a:cubicBezTo>
                    <a:pt x="144365" y="27664"/>
                    <a:pt x="143165" y="17456"/>
                    <a:pt x="140548" y="6433"/>
                  </a:cubicBezTo>
                  <a:cubicBezTo>
                    <a:pt x="139219" y="10508"/>
                    <a:pt x="136602" y="13424"/>
                    <a:pt x="132142" y="10336"/>
                  </a:cubicBezTo>
                  <a:cubicBezTo>
                    <a:pt x="130769" y="9393"/>
                    <a:pt x="129268" y="8792"/>
                    <a:pt x="127639" y="8363"/>
                  </a:cubicBezTo>
                  <a:cubicBezTo>
                    <a:pt x="120862" y="17627"/>
                    <a:pt x="110483" y="24018"/>
                    <a:pt x="99074" y="23032"/>
                  </a:cubicBezTo>
                  <a:cubicBezTo>
                    <a:pt x="94271" y="22603"/>
                    <a:pt x="89467" y="22517"/>
                    <a:pt x="84706" y="22431"/>
                  </a:cubicBezTo>
                  <a:cubicBezTo>
                    <a:pt x="81833" y="28178"/>
                    <a:pt x="81790" y="34655"/>
                    <a:pt x="84706" y="38343"/>
                  </a:cubicBezTo>
                  <a:cubicBezTo>
                    <a:pt x="89424" y="44305"/>
                    <a:pt x="75227" y="47650"/>
                    <a:pt x="70381" y="42503"/>
                  </a:cubicBezTo>
                  <a:cubicBezTo>
                    <a:pt x="68966" y="45634"/>
                    <a:pt x="67465" y="48679"/>
                    <a:pt x="65878" y="51381"/>
                  </a:cubicBezTo>
                  <a:cubicBezTo>
                    <a:pt x="64462" y="53783"/>
                    <a:pt x="61503" y="57901"/>
                    <a:pt x="58715" y="61117"/>
                  </a:cubicBezTo>
                  <a:cubicBezTo>
                    <a:pt x="56957" y="73598"/>
                    <a:pt x="47907" y="84063"/>
                    <a:pt x="36799" y="89167"/>
                  </a:cubicBezTo>
                  <a:cubicBezTo>
                    <a:pt x="32510" y="100361"/>
                    <a:pt x="20244" y="110140"/>
                    <a:pt x="11666" y="116016"/>
                  </a:cubicBezTo>
                  <a:cubicBezTo>
                    <a:pt x="9993" y="117216"/>
                    <a:pt x="8234" y="118375"/>
                    <a:pt x="6433" y="119575"/>
                  </a:cubicBezTo>
                  <a:cubicBezTo>
                    <a:pt x="11880" y="122492"/>
                    <a:pt x="16255" y="124422"/>
                    <a:pt x="18313" y="124422"/>
                  </a:cubicBezTo>
                  <a:cubicBezTo>
                    <a:pt x="27406" y="124422"/>
                    <a:pt x="43962" y="119189"/>
                    <a:pt x="50009" y="112198"/>
                  </a:cubicBezTo>
                  <a:cubicBezTo>
                    <a:pt x="56056" y="105207"/>
                    <a:pt x="66607" y="108681"/>
                    <a:pt x="72654" y="115715"/>
                  </a:cubicBezTo>
                  <a:cubicBezTo>
                    <a:pt x="78702" y="122706"/>
                    <a:pt x="87751" y="124422"/>
                    <a:pt x="96801" y="134887"/>
                  </a:cubicBezTo>
                  <a:cubicBezTo>
                    <a:pt x="99117" y="137589"/>
                    <a:pt x="101647" y="140034"/>
                    <a:pt x="104092" y="142221"/>
                  </a:cubicBezTo>
                  <a:cubicBezTo>
                    <a:pt x="104950" y="134887"/>
                    <a:pt x="105122" y="120219"/>
                    <a:pt x="107909" y="112627"/>
                  </a:cubicBezTo>
                  <a:cubicBezTo>
                    <a:pt x="110869" y="104650"/>
                    <a:pt x="104950" y="94356"/>
                    <a:pt x="109882" y="94356"/>
                  </a:cubicBezTo>
                  <a:cubicBezTo>
                    <a:pt x="114814" y="94356"/>
                    <a:pt x="128625" y="94356"/>
                    <a:pt x="128625" y="84106"/>
                  </a:cubicBezTo>
                  <a:cubicBezTo>
                    <a:pt x="128625" y="73812"/>
                    <a:pt x="132570" y="77244"/>
                    <a:pt x="135573" y="71496"/>
                  </a:cubicBezTo>
                  <a:cubicBezTo>
                    <a:pt x="138532" y="65792"/>
                    <a:pt x="126695" y="54384"/>
                    <a:pt x="124679" y="50952"/>
                  </a:cubicBezTo>
                  <a:cubicBezTo>
                    <a:pt x="122749" y="47436"/>
                    <a:pt x="133600" y="46320"/>
                    <a:pt x="141492" y="32639"/>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98" name="Freeform: Shape 151">
              <a:extLst>
                <a:ext uri="{FF2B5EF4-FFF2-40B4-BE49-F238E27FC236}">
                  <a16:creationId xmlns:a16="http://schemas.microsoft.com/office/drawing/2014/main" id="{1110B865-8D66-8D27-C0A1-6ADE68E1B399}"/>
                </a:ext>
              </a:extLst>
            </p:cNvPr>
            <p:cNvSpPr/>
            <p:nvPr/>
          </p:nvSpPr>
          <p:spPr>
            <a:xfrm>
              <a:off x="7146873" y="2804249"/>
              <a:ext cx="26242" cy="36084"/>
            </a:xfrm>
            <a:custGeom>
              <a:avLst/>
              <a:gdLst>
                <a:gd name="connsiteX0" fmla="*/ 18197 w 34311"/>
                <a:gd name="connsiteY0" fmla="*/ 6433 h 47178"/>
                <a:gd name="connsiteX1" fmla="*/ 6531 w 34311"/>
                <a:gd name="connsiteY1" fmla="*/ 39244 h 47178"/>
                <a:gd name="connsiteX2" fmla="*/ 28576 w 34311"/>
                <a:gd name="connsiteY2" fmla="*/ 42117 h 47178"/>
                <a:gd name="connsiteX3" fmla="*/ 17983 w 34311"/>
                <a:gd name="connsiteY3" fmla="*/ 10122 h 47178"/>
                <a:gd name="connsiteX4" fmla="*/ 18197 w 34311"/>
                <a:gd name="connsiteY4" fmla="*/ 6433 h 47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11" h="47178">
                  <a:moveTo>
                    <a:pt x="18197" y="6433"/>
                  </a:moveTo>
                  <a:cubicBezTo>
                    <a:pt x="11635" y="10679"/>
                    <a:pt x="5588" y="19858"/>
                    <a:pt x="6531" y="39244"/>
                  </a:cubicBezTo>
                  <a:cubicBezTo>
                    <a:pt x="12964" y="39029"/>
                    <a:pt x="22014" y="39887"/>
                    <a:pt x="28576" y="42117"/>
                  </a:cubicBezTo>
                  <a:cubicBezTo>
                    <a:pt x="26989" y="21016"/>
                    <a:pt x="19827" y="14454"/>
                    <a:pt x="17983" y="10122"/>
                  </a:cubicBezTo>
                  <a:cubicBezTo>
                    <a:pt x="17468" y="8921"/>
                    <a:pt x="17640" y="7677"/>
                    <a:pt x="18197" y="643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99" name="Freeform: Shape 152">
              <a:extLst>
                <a:ext uri="{FF2B5EF4-FFF2-40B4-BE49-F238E27FC236}">
                  <a16:creationId xmlns:a16="http://schemas.microsoft.com/office/drawing/2014/main" id="{C29DFAD2-1770-EE2F-41BA-4D005A8D9731}"/>
                </a:ext>
              </a:extLst>
            </p:cNvPr>
            <p:cNvSpPr/>
            <p:nvPr/>
          </p:nvSpPr>
          <p:spPr>
            <a:xfrm>
              <a:off x="7062479" y="2750509"/>
              <a:ext cx="108251" cy="88569"/>
            </a:xfrm>
            <a:custGeom>
              <a:avLst/>
              <a:gdLst>
                <a:gd name="connsiteX0" fmla="*/ 10808 w 141534"/>
                <a:gd name="connsiteY0" fmla="*/ 33807 h 115801"/>
                <a:gd name="connsiteX1" fmla="*/ 22646 w 141534"/>
                <a:gd name="connsiteY1" fmla="*/ 48390 h 115801"/>
                <a:gd name="connsiteX2" fmla="*/ 39673 w 141534"/>
                <a:gd name="connsiteY2" fmla="*/ 60399 h 115801"/>
                <a:gd name="connsiteX3" fmla="*/ 60431 w 141534"/>
                <a:gd name="connsiteY3" fmla="*/ 74938 h 115801"/>
                <a:gd name="connsiteX4" fmla="*/ 70039 w 141534"/>
                <a:gd name="connsiteY4" fmla="*/ 87805 h 115801"/>
                <a:gd name="connsiteX5" fmla="*/ 84835 w 141534"/>
                <a:gd name="connsiteY5" fmla="*/ 79227 h 115801"/>
                <a:gd name="connsiteX6" fmla="*/ 94442 w 141534"/>
                <a:gd name="connsiteY6" fmla="*/ 97198 h 115801"/>
                <a:gd name="connsiteX7" fmla="*/ 111469 w 141534"/>
                <a:gd name="connsiteY7" fmla="*/ 110022 h 115801"/>
                <a:gd name="connsiteX8" fmla="*/ 116788 w 141534"/>
                <a:gd name="connsiteY8" fmla="*/ 109464 h 115801"/>
                <a:gd name="connsiteX9" fmla="*/ 128454 w 141534"/>
                <a:gd name="connsiteY9" fmla="*/ 76654 h 115801"/>
                <a:gd name="connsiteX10" fmla="*/ 135144 w 141534"/>
                <a:gd name="connsiteY10" fmla="*/ 65460 h 115801"/>
                <a:gd name="connsiteX11" fmla="*/ 126266 w 141534"/>
                <a:gd name="connsiteY11" fmla="*/ 41485 h 115801"/>
                <a:gd name="connsiteX12" fmla="*/ 126395 w 141534"/>
                <a:gd name="connsiteY12" fmla="*/ 40241 h 115801"/>
                <a:gd name="connsiteX13" fmla="*/ 119104 w 141534"/>
                <a:gd name="connsiteY13" fmla="*/ 32907 h 115801"/>
                <a:gd name="connsiteX14" fmla="*/ 94957 w 141534"/>
                <a:gd name="connsiteY14" fmla="*/ 13735 h 115801"/>
                <a:gd name="connsiteX15" fmla="*/ 72312 w 141534"/>
                <a:gd name="connsiteY15" fmla="*/ 10218 h 115801"/>
                <a:gd name="connsiteX16" fmla="*/ 40617 w 141534"/>
                <a:gd name="connsiteY16" fmla="*/ 22442 h 115801"/>
                <a:gd name="connsiteX17" fmla="*/ 28736 w 141534"/>
                <a:gd name="connsiteY17" fmla="*/ 17595 h 115801"/>
                <a:gd name="connsiteX18" fmla="*/ 6433 w 141534"/>
                <a:gd name="connsiteY18" fmla="*/ 28661 h 115801"/>
                <a:gd name="connsiteX19" fmla="*/ 10808 w 141534"/>
                <a:gd name="connsiteY19" fmla="*/ 33807 h 11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1534" h="115801">
                  <a:moveTo>
                    <a:pt x="10808" y="33807"/>
                  </a:moveTo>
                  <a:cubicBezTo>
                    <a:pt x="11537" y="39812"/>
                    <a:pt x="19687" y="54352"/>
                    <a:pt x="22646" y="48390"/>
                  </a:cubicBezTo>
                  <a:cubicBezTo>
                    <a:pt x="25605" y="42385"/>
                    <a:pt x="33025" y="56110"/>
                    <a:pt x="39673" y="60399"/>
                  </a:cubicBezTo>
                  <a:cubicBezTo>
                    <a:pt x="46321" y="64688"/>
                    <a:pt x="59659" y="69835"/>
                    <a:pt x="60431" y="74938"/>
                  </a:cubicBezTo>
                  <a:cubicBezTo>
                    <a:pt x="61160" y="80085"/>
                    <a:pt x="63391" y="91236"/>
                    <a:pt x="70039" y="87805"/>
                  </a:cubicBezTo>
                  <a:cubicBezTo>
                    <a:pt x="76686" y="84374"/>
                    <a:pt x="84835" y="72365"/>
                    <a:pt x="84835" y="79227"/>
                  </a:cubicBezTo>
                  <a:cubicBezTo>
                    <a:pt x="84835" y="86089"/>
                    <a:pt x="87066" y="98956"/>
                    <a:pt x="94442" y="97198"/>
                  </a:cubicBezTo>
                  <a:cubicBezTo>
                    <a:pt x="101862" y="95482"/>
                    <a:pt x="104092" y="111780"/>
                    <a:pt x="111469" y="110022"/>
                  </a:cubicBezTo>
                  <a:cubicBezTo>
                    <a:pt x="112799" y="109764"/>
                    <a:pt x="114644" y="109550"/>
                    <a:pt x="116788" y="109464"/>
                  </a:cubicBezTo>
                  <a:cubicBezTo>
                    <a:pt x="115887" y="90078"/>
                    <a:pt x="121892" y="80943"/>
                    <a:pt x="128454" y="76654"/>
                  </a:cubicBezTo>
                  <a:cubicBezTo>
                    <a:pt x="129998" y="73266"/>
                    <a:pt x="134415" y="69663"/>
                    <a:pt x="135144" y="65460"/>
                  </a:cubicBezTo>
                  <a:cubicBezTo>
                    <a:pt x="136131" y="59755"/>
                    <a:pt x="125280" y="48347"/>
                    <a:pt x="126266" y="41485"/>
                  </a:cubicBezTo>
                  <a:cubicBezTo>
                    <a:pt x="126309" y="41142"/>
                    <a:pt x="126352" y="40627"/>
                    <a:pt x="126395" y="40241"/>
                  </a:cubicBezTo>
                  <a:cubicBezTo>
                    <a:pt x="123950" y="38053"/>
                    <a:pt x="121420" y="35609"/>
                    <a:pt x="119104" y="32907"/>
                  </a:cubicBezTo>
                  <a:cubicBezTo>
                    <a:pt x="110054" y="22442"/>
                    <a:pt x="101005" y="20726"/>
                    <a:pt x="94957" y="13735"/>
                  </a:cubicBezTo>
                  <a:cubicBezTo>
                    <a:pt x="88910" y="6744"/>
                    <a:pt x="78359" y="3270"/>
                    <a:pt x="72312" y="10218"/>
                  </a:cubicBezTo>
                  <a:cubicBezTo>
                    <a:pt x="66264" y="17209"/>
                    <a:pt x="49666" y="22442"/>
                    <a:pt x="40617" y="22442"/>
                  </a:cubicBezTo>
                  <a:cubicBezTo>
                    <a:pt x="38557" y="22442"/>
                    <a:pt x="34183" y="20512"/>
                    <a:pt x="28736" y="17595"/>
                  </a:cubicBezTo>
                  <a:cubicBezTo>
                    <a:pt x="21616" y="22356"/>
                    <a:pt x="14025" y="26902"/>
                    <a:pt x="6433" y="28661"/>
                  </a:cubicBezTo>
                  <a:cubicBezTo>
                    <a:pt x="8020" y="31105"/>
                    <a:pt x="10336" y="29862"/>
                    <a:pt x="10808" y="3380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00" name="Freeform: Shape 153">
              <a:extLst>
                <a:ext uri="{FF2B5EF4-FFF2-40B4-BE49-F238E27FC236}">
                  <a16:creationId xmlns:a16="http://schemas.microsoft.com/office/drawing/2014/main" id="{B2FB9E75-7BF5-3997-42FE-BFB4E87F3EE9}"/>
                </a:ext>
              </a:extLst>
            </p:cNvPr>
            <p:cNvSpPr/>
            <p:nvPr/>
          </p:nvSpPr>
          <p:spPr>
            <a:xfrm>
              <a:off x="7513206" y="2871069"/>
              <a:ext cx="239465" cy="180418"/>
            </a:xfrm>
            <a:custGeom>
              <a:avLst/>
              <a:gdLst>
                <a:gd name="connsiteX0" fmla="*/ 276710 w 313091"/>
                <a:gd name="connsiteY0" fmla="*/ 158004 h 235891"/>
                <a:gd name="connsiteX1" fmla="*/ 263843 w 313091"/>
                <a:gd name="connsiteY1" fmla="*/ 148869 h 235891"/>
                <a:gd name="connsiteX2" fmla="*/ 264700 w 313091"/>
                <a:gd name="connsiteY2" fmla="*/ 147539 h 235891"/>
                <a:gd name="connsiteX3" fmla="*/ 258910 w 313091"/>
                <a:gd name="connsiteY3" fmla="*/ 104050 h 235891"/>
                <a:gd name="connsiteX4" fmla="*/ 237766 w 313091"/>
                <a:gd name="connsiteY4" fmla="*/ 49966 h 235891"/>
                <a:gd name="connsiteX5" fmla="*/ 215764 w 313091"/>
                <a:gd name="connsiteY5" fmla="*/ 6433 h 235891"/>
                <a:gd name="connsiteX6" fmla="*/ 199638 w 313091"/>
                <a:gd name="connsiteY6" fmla="*/ 15312 h 235891"/>
                <a:gd name="connsiteX7" fmla="*/ 180852 w 313091"/>
                <a:gd name="connsiteY7" fmla="*/ 26720 h 235891"/>
                <a:gd name="connsiteX8" fmla="*/ 164039 w 313091"/>
                <a:gd name="connsiteY8" fmla="*/ 28993 h 235891"/>
                <a:gd name="connsiteX9" fmla="*/ 149200 w 313091"/>
                <a:gd name="connsiteY9" fmla="*/ 33582 h 235891"/>
                <a:gd name="connsiteX10" fmla="*/ 129428 w 313091"/>
                <a:gd name="connsiteY10" fmla="*/ 26720 h 235891"/>
                <a:gd name="connsiteX11" fmla="*/ 95888 w 313091"/>
                <a:gd name="connsiteY11" fmla="*/ 19858 h 235891"/>
                <a:gd name="connsiteX12" fmla="*/ 83021 w 313091"/>
                <a:gd name="connsiteY12" fmla="*/ 21144 h 235891"/>
                <a:gd name="connsiteX13" fmla="*/ 79805 w 313091"/>
                <a:gd name="connsiteY13" fmla="*/ 29551 h 235891"/>
                <a:gd name="connsiteX14" fmla="*/ 57588 w 313091"/>
                <a:gd name="connsiteY14" fmla="*/ 45849 h 235891"/>
                <a:gd name="connsiteX15" fmla="*/ 27222 w 313091"/>
                <a:gd name="connsiteY15" fmla="*/ 104092 h 235891"/>
                <a:gd name="connsiteX16" fmla="*/ 6464 w 313091"/>
                <a:gd name="connsiteY16" fmla="*/ 122063 h 235891"/>
                <a:gd name="connsiteX17" fmla="*/ 18301 w 313091"/>
                <a:gd name="connsiteY17" fmla="*/ 144366 h 235891"/>
                <a:gd name="connsiteX18" fmla="*/ 29410 w 313091"/>
                <a:gd name="connsiteY18" fmla="*/ 158047 h 235891"/>
                <a:gd name="connsiteX19" fmla="*/ 33827 w 313091"/>
                <a:gd name="connsiteY19" fmla="*/ 182065 h 235891"/>
                <a:gd name="connsiteX20" fmla="*/ 70841 w 313091"/>
                <a:gd name="connsiteY20" fmla="*/ 194932 h 235891"/>
                <a:gd name="connsiteX21" fmla="*/ 72814 w 313091"/>
                <a:gd name="connsiteY21" fmla="*/ 211830 h 235891"/>
                <a:gd name="connsiteX22" fmla="*/ 91857 w 313091"/>
                <a:gd name="connsiteY22" fmla="*/ 226627 h 235891"/>
                <a:gd name="connsiteX23" fmla="*/ 127412 w 313091"/>
                <a:gd name="connsiteY23" fmla="*/ 231216 h 235891"/>
                <a:gd name="connsiteX24" fmla="*/ 162967 w 313091"/>
                <a:gd name="connsiteY24" fmla="*/ 232374 h 235891"/>
                <a:gd name="connsiteX25" fmla="*/ 186642 w 313091"/>
                <a:gd name="connsiteY25" fmla="*/ 220923 h 235891"/>
                <a:gd name="connsiteX26" fmla="*/ 226186 w 313091"/>
                <a:gd name="connsiteY26" fmla="*/ 212903 h 235891"/>
                <a:gd name="connsiteX27" fmla="*/ 252820 w 313091"/>
                <a:gd name="connsiteY27" fmla="*/ 222081 h 235891"/>
                <a:gd name="connsiteX28" fmla="*/ 273064 w 313091"/>
                <a:gd name="connsiteY28" fmla="*/ 233189 h 235891"/>
                <a:gd name="connsiteX29" fmla="*/ 273021 w 313091"/>
                <a:gd name="connsiteY29" fmla="*/ 212903 h 235891"/>
                <a:gd name="connsiteX30" fmla="*/ 289791 w 313091"/>
                <a:gd name="connsiteY30" fmla="*/ 181508 h 235891"/>
                <a:gd name="connsiteX31" fmla="*/ 307075 w 313091"/>
                <a:gd name="connsiteY31" fmla="*/ 160406 h 235891"/>
                <a:gd name="connsiteX32" fmla="*/ 306990 w 313091"/>
                <a:gd name="connsiteY32" fmla="*/ 158562 h 235891"/>
                <a:gd name="connsiteX33" fmla="*/ 295237 w 313091"/>
                <a:gd name="connsiteY33" fmla="*/ 148955 h 235891"/>
                <a:gd name="connsiteX34" fmla="*/ 276710 w 313091"/>
                <a:gd name="connsiteY34" fmla="*/ 158004 h 23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3091" h="235891">
                  <a:moveTo>
                    <a:pt x="276710" y="158004"/>
                  </a:moveTo>
                  <a:cubicBezTo>
                    <a:pt x="269804" y="156889"/>
                    <a:pt x="260884" y="153458"/>
                    <a:pt x="263843" y="148869"/>
                  </a:cubicBezTo>
                  <a:cubicBezTo>
                    <a:pt x="264014" y="148569"/>
                    <a:pt x="264443" y="148011"/>
                    <a:pt x="264700" y="147539"/>
                  </a:cubicBezTo>
                  <a:cubicBezTo>
                    <a:pt x="255437" y="138919"/>
                    <a:pt x="253035" y="110869"/>
                    <a:pt x="258910" y="104050"/>
                  </a:cubicBezTo>
                  <a:cubicBezTo>
                    <a:pt x="266459" y="95343"/>
                    <a:pt x="246816" y="62147"/>
                    <a:pt x="237766" y="49966"/>
                  </a:cubicBezTo>
                  <a:cubicBezTo>
                    <a:pt x="233520" y="44219"/>
                    <a:pt x="224342" y="25133"/>
                    <a:pt x="215764" y="6433"/>
                  </a:cubicBezTo>
                  <a:cubicBezTo>
                    <a:pt x="207915" y="9393"/>
                    <a:pt x="200967" y="12695"/>
                    <a:pt x="199638" y="15312"/>
                  </a:cubicBezTo>
                  <a:cubicBezTo>
                    <a:pt x="196678" y="21016"/>
                    <a:pt x="186771" y="26720"/>
                    <a:pt x="180852" y="26720"/>
                  </a:cubicBezTo>
                  <a:cubicBezTo>
                    <a:pt x="174933" y="26720"/>
                    <a:pt x="168972" y="23289"/>
                    <a:pt x="164039" y="28993"/>
                  </a:cubicBezTo>
                  <a:cubicBezTo>
                    <a:pt x="159107" y="34698"/>
                    <a:pt x="152202" y="36971"/>
                    <a:pt x="149200" y="33582"/>
                  </a:cubicBezTo>
                  <a:cubicBezTo>
                    <a:pt x="146240" y="30151"/>
                    <a:pt x="136376" y="26720"/>
                    <a:pt x="129428" y="26720"/>
                  </a:cubicBezTo>
                  <a:cubicBezTo>
                    <a:pt x="122566" y="26720"/>
                    <a:pt x="100820" y="19858"/>
                    <a:pt x="95888" y="19858"/>
                  </a:cubicBezTo>
                  <a:cubicBezTo>
                    <a:pt x="92929" y="19858"/>
                    <a:pt x="88211" y="20329"/>
                    <a:pt x="83021" y="21144"/>
                  </a:cubicBezTo>
                  <a:cubicBezTo>
                    <a:pt x="84136" y="23632"/>
                    <a:pt x="83279" y="26591"/>
                    <a:pt x="79805" y="29551"/>
                  </a:cubicBezTo>
                  <a:cubicBezTo>
                    <a:pt x="73886" y="34698"/>
                    <a:pt x="62006" y="42418"/>
                    <a:pt x="57588" y="45849"/>
                  </a:cubicBezTo>
                  <a:cubicBezTo>
                    <a:pt x="53128" y="49280"/>
                    <a:pt x="37602" y="92083"/>
                    <a:pt x="27222" y="104092"/>
                  </a:cubicBezTo>
                  <a:cubicBezTo>
                    <a:pt x="16843" y="116058"/>
                    <a:pt x="7236" y="117817"/>
                    <a:pt x="6464" y="122063"/>
                  </a:cubicBezTo>
                  <a:cubicBezTo>
                    <a:pt x="5735" y="126352"/>
                    <a:pt x="18301" y="137503"/>
                    <a:pt x="18301" y="144366"/>
                  </a:cubicBezTo>
                  <a:cubicBezTo>
                    <a:pt x="18301" y="151228"/>
                    <a:pt x="21261" y="158047"/>
                    <a:pt x="29410" y="158047"/>
                  </a:cubicBezTo>
                  <a:cubicBezTo>
                    <a:pt x="37559" y="158047"/>
                    <a:pt x="28638" y="180350"/>
                    <a:pt x="33827" y="182065"/>
                  </a:cubicBezTo>
                  <a:cubicBezTo>
                    <a:pt x="39017" y="183781"/>
                    <a:pt x="70841" y="186311"/>
                    <a:pt x="70841" y="194932"/>
                  </a:cubicBezTo>
                  <a:cubicBezTo>
                    <a:pt x="70841" y="201580"/>
                    <a:pt x="74358" y="207198"/>
                    <a:pt x="72814" y="211830"/>
                  </a:cubicBezTo>
                  <a:cubicBezTo>
                    <a:pt x="81778" y="213589"/>
                    <a:pt x="88339" y="227657"/>
                    <a:pt x="91857" y="226627"/>
                  </a:cubicBezTo>
                  <a:cubicBezTo>
                    <a:pt x="95802" y="225512"/>
                    <a:pt x="122480" y="232332"/>
                    <a:pt x="127412" y="231216"/>
                  </a:cubicBezTo>
                  <a:cubicBezTo>
                    <a:pt x="132344" y="230058"/>
                    <a:pt x="155076" y="231216"/>
                    <a:pt x="162967" y="232374"/>
                  </a:cubicBezTo>
                  <a:cubicBezTo>
                    <a:pt x="170858" y="233489"/>
                    <a:pt x="179737" y="228943"/>
                    <a:pt x="186642" y="220923"/>
                  </a:cubicBezTo>
                  <a:cubicBezTo>
                    <a:pt x="193547" y="212903"/>
                    <a:pt x="218294" y="211787"/>
                    <a:pt x="226186" y="212903"/>
                  </a:cubicBezTo>
                  <a:cubicBezTo>
                    <a:pt x="234035" y="214061"/>
                    <a:pt x="249861" y="216334"/>
                    <a:pt x="252820" y="222081"/>
                  </a:cubicBezTo>
                  <a:cubicBezTo>
                    <a:pt x="254364" y="225040"/>
                    <a:pt x="263671" y="229544"/>
                    <a:pt x="273064" y="233189"/>
                  </a:cubicBezTo>
                  <a:cubicBezTo>
                    <a:pt x="274179" y="227528"/>
                    <a:pt x="272721" y="220151"/>
                    <a:pt x="273021" y="212903"/>
                  </a:cubicBezTo>
                  <a:cubicBezTo>
                    <a:pt x="273536" y="200894"/>
                    <a:pt x="279412" y="182666"/>
                    <a:pt x="289791" y="181508"/>
                  </a:cubicBezTo>
                  <a:cubicBezTo>
                    <a:pt x="300170" y="180392"/>
                    <a:pt x="308577" y="180392"/>
                    <a:pt x="307075" y="160406"/>
                  </a:cubicBezTo>
                  <a:cubicBezTo>
                    <a:pt x="307032" y="159720"/>
                    <a:pt x="307032" y="159205"/>
                    <a:pt x="306990" y="158562"/>
                  </a:cubicBezTo>
                  <a:cubicBezTo>
                    <a:pt x="301757" y="153372"/>
                    <a:pt x="296825" y="148955"/>
                    <a:pt x="295237" y="148955"/>
                  </a:cubicBezTo>
                  <a:cubicBezTo>
                    <a:pt x="291506" y="148869"/>
                    <a:pt x="279626" y="158476"/>
                    <a:pt x="276710" y="15800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01" name="Freeform: Shape 154">
              <a:extLst>
                <a:ext uri="{FF2B5EF4-FFF2-40B4-BE49-F238E27FC236}">
                  <a16:creationId xmlns:a16="http://schemas.microsoft.com/office/drawing/2014/main" id="{3F5DFDE6-F5B2-AD4A-FE5C-0F203E8777CD}"/>
                </a:ext>
              </a:extLst>
            </p:cNvPr>
            <p:cNvSpPr/>
            <p:nvPr/>
          </p:nvSpPr>
          <p:spPr>
            <a:xfrm>
              <a:off x="7673311" y="2865583"/>
              <a:ext cx="88569" cy="121372"/>
            </a:xfrm>
            <a:custGeom>
              <a:avLst/>
              <a:gdLst>
                <a:gd name="connsiteX0" fmla="*/ 81189 w 115801"/>
                <a:gd name="connsiteY0" fmla="*/ 44143 h 158690"/>
                <a:gd name="connsiteX1" fmla="*/ 57472 w 115801"/>
                <a:gd name="connsiteY1" fmla="*/ 23599 h 158690"/>
                <a:gd name="connsiteX2" fmla="*/ 30794 w 115801"/>
                <a:gd name="connsiteY2" fmla="*/ 6486 h 158690"/>
                <a:gd name="connsiteX3" fmla="*/ 6433 w 115801"/>
                <a:gd name="connsiteY3" fmla="*/ 13606 h 158690"/>
                <a:gd name="connsiteX4" fmla="*/ 28436 w 115801"/>
                <a:gd name="connsiteY4" fmla="*/ 57138 h 158690"/>
                <a:gd name="connsiteX5" fmla="*/ 49580 w 115801"/>
                <a:gd name="connsiteY5" fmla="*/ 111222 h 158690"/>
                <a:gd name="connsiteX6" fmla="*/ 55370 w 115801"/>
                <a:gd name="connsiteY6" fmla="*/ 154712 h 158690"/>
                <a:gd name="connsiteX7" fmla="*/ 74241 w 115801"/>
                <a:gd name="connsiteY7" fmla="*/ 120615 h 158690"/>
                <a:gd name="connsiteX8" fmla="*/ 87065 w 115801"/>
                <a:gd name="connsiteY8" fmla="*/ 103502 h 158690"/>
                <a:gd name="connsiteX9" fmla="*/ 109797 w 115801"/>
                <a:gd name="connsiteY9" fmla="*/ 108091 h 158690"/>
                <a:gd name="connsiteX10" fmla="*/ 101905 w 115801"/>
                <a:gd name="connsiteY10" fmla="*/ 82958 h 158690"/>
                <a:gd name="connsiteX11" fmla="*/ 81189 w 115801"/>
                <a:gd name="connsiteY11" fmla="*/ 44143 h 15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801" h="158690">
                  <a:moveTo>
                    <a:pt x="81189" y="44143"/>
                  </a:moveTo>
                  <a:cubicBezTo>
                    <a:pt x="77201" y="29303"/>
                    <a:pt x="64420" y="23599"/>
                    <a:pt x="57472" y="23599"/>
                  </a:cubicBezTo>
                  <a:cubicBezTo>
                    <a:pt x="50566" y="23599"/>
                    <a:pt x="38729" y="5328"/>
                    <a:pt x="30794" y="6486"/>
                  </a:cubicBezTo>
                  <a:cubicBezTo>
                    <a:pt x="26505" y="7087"/>
                    <a:pt x="15826" y="10089"/>
                    <a:pt x="6433" y="13606"/>
                  </a:cubicBezTo>
                  <a:cubicBezTo>
                    <a:pt x="15011" y="32348"/>
                    <a:pt x="24190" y="51391"/>
                    <a:pt x="28436" y="57138"/>
                  </a:cubicBezTo>
                  <a:cubicBezTo>
                    <a:pt x="37485" y="69362"/>
                    <a:pt x="57085" y="102515"/>
                    <a:pt x="49580" y="111222"/>
                  </a:cubicBezTo>
                  <a:cubicBezTo>
                    <a:pt x="43661" y="118084"/>
                    <a:pt x="46106" y="146091"/>
                    <a:pt x="55370" y="154712"/>
                  </a:cubicBezTo>
                  <a:cubicBezTo>
                    <a:pt x="59659" y="148235"/>
                    <a:pt x="74241" y="127048"/>
                    <a:pt x="74241" y="120615"/>
                  </a:cubicBezTo>
                  <a:cubicBezTo>
                    <a:pt x="74241" y="113752"/>
                    <a:pt x="75270" y="100028"/>
                    <a:pt x="87065" y="103502"/>
                  </a:cubicBezTo>
                  <a:cubicBezTo>
                    <a:pt x="98902" y="106933"/>
                    <a:pt x="109797" y="112680"/>
                    <a:pt x="109797" y="108091"/>
                  </a:cubicBezTo>
                  <a:cubicBezTo>
                    <a:pt x="109797" y="103502"/>
                    <a:pt x="106837" y="88705"/>
                    <a:pt x="101905" y="82958"/>
                  </a:cubicBezTo>
                  <a:cubicBezTo>
                    <a:pt x="96973" y="77254"/>
                    <a:pt x="85135" y="58983"/>
                    <a:pt x="81189" y="4414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02" name="Freeform: Shape 155">
              <a:extLst>
                <a:ext uri="{FF2B5EF4-FFF2-40B4-BE49-F238E27FC236}">
                  <a16:creationId xmlns:a16="http://schemas.microsoft.com/office/drawing/2014/main" id="{0DBE886C-560E-A1B7-DA43-C6EBEB3FBA57}"/>
                </a:ext>
              </a:extLst>
            </p:cNvPr>
            <p:cNvSpPr/>
            <p:nvPr/>
          </p:nvSpPr>
          <p:spPr>
            <a:xfrm>
              <a:off x="7557991" y="3028098"/>
              <a:ext cx="167297" cy="108251"/>
            </a:xfrm>
            <a:custGeom>
              <a:avLst/>
              <a:gdLst>
                <a:gd name="connsiteX0" fmla="*/ 167803 w 218735"/>
                <a:gd name="connsiteY0" fmla="*/ 7506 h 141534"/>
                <a:gd name="connsiteX1" fmla="*/ 128259 w 218735"/>
                <a:gd name="connsiteY1" fmla="*/ 15526 h 141534"/>
                <a:gd name="connsiteX2" fmla="*/ 104584 w 218735"/>
                <a:gd name="connsiteY2" fmla="*/ 26978 h 141534"/>
                <a:gd name="connsiteX3" fmla="*/ 69028 w 218735"/>
                <a:gd name="connsiteY3" fmla="*/ 25819 h 141534"/>
                <a:gd name="connsiteX4" fmla="*/ 33473 w 218735"/>
                <a:gd name="connsiteY4" fmla="*/ 21230 h 141534"/>
                <a:gd name="connsiteX5" fmla="*/ 14430 w 218735"/>
                <a:gd name="connsiteY5" fmla="*/ 6433 h 141534"/>
                <a:gd name="connsiteX6" fmla="*/ 11728 w 218735"/>
                <a:gd name="connsiteY6" fmla="*/ 10079 h 141534"/>
                <a:gd name="connsiteX7" fmla="*/ 11728 w 218735"/>
                <a:gd name="connsiteY7" fmla="*/ 36671 h 141534"/>
                <a:gd name="connsiteX8" fmla="*/ 22108 w 218735"/>
                <a:gd name="connsiteY8" fmla="*/ 61503 h 141534"/>
                <a:gd name="connsiteX9" fmla="*/ 10999 w 218735"/>
                <a:gd name="connsiteY9" fmla="*/ 76901 h 141534"/>
                <a:gd name="connsiteX10" fmla="*/ 10999 w 218735"/>
                <a:gd name="connsiteY10" fmla="*/ 95772 h 141534"/>
                <a:gd name="connsiteX11" fmla="*/ 29527 w 218735"/>
                <a:gd name="connsiteY11" fmla="*/ 120605 h 141534"/>
                <a:gd name="connsiteX12" fmla="*/ 36090 w 218735"/>
                <a:gd name="connsiteY12" fmla="*/ 131413 h 141534"/>
                <a:gd name="connsiteX13" fmla="*/ 80909 w 218735"/>
                <a:gd name="connsiteY13" fmla="*/ 132013 h 141534"/>
                <a:gd name="connsiteX14" fmla="*/ 116464 w 218735"/>
                <a:gd name="connsiteY14" fmla="*/ 138833 h 141534"/>
                <a:gd name="connsiteX15" fmla="*/ 129288 w 218735"/>
                <a:gd name="connsiteY15" fmla="*/ 129740 h 141534"/>
                <a:gd name="connsiteX16" fmla="*/ 145329 w 218735"/>
                <a:gd name="connsiteY16" fmla="*/ 120862 h 141534"/>
                <a:gd name="connsiteX17" fmla="*/ 145071 w 218735"/>
                <a:gd name="connsiteY17" fmla="*/ 110311 h 141534"/>
                <a:gd name="connsiteX18" fmla="*/ 179125 w 218735"/>
                <a:gd name="connsiteY18" fmla="*/ 110311 h 141534"/>
                <a:gd name="connsiteX19" fmla="*/ 192636 w 218735"/>
                <a:gd name="connsiteY19" fmla="*/ 107395 h 141534"/>
                <a:gd name="connsiteX20" fmla="*/ 188003 w 218735"/>
                <a:gd name="connsiteY20" fmla="*/ 98302 h 141534"/>
                <a:gd name="connsiteX21" fmla="*/ 181098 w 218735"/>
                <a:gd name="connsiteY21" fmla="*/ 69180 h 141534"/>
                <a:gd name="connsiteX22" fmla="*/ 207775 w 218735"/>
                <a:gd name="connsiteY22" fmla="*/ 36070 h 141534"/>
                <a:gd name="connsiteX23" fmla="*/ 214723 w 218735"/>
                <a:gd name="connsiteY23" fmla="*/ 27792 h 141534"/>
                <a:gd name="connsiteX24" fmla="*/ 194480 w 218735"/>
                <a:gd name="connsiteY24" fmla="*/ 16684 h 141534"/>
                <a:gd name="connsiteX25" fmla="*/ 167803 w 218735"/>
                <a:gd name="connsiteY25" fmla="*/ 7506 h 14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8735" h="141534">
                  <a:moveTo>
                    <a:pt x="167803" y="7506"/>
                  </a:moveTo>
                  <a:cubicBezTo>
                    <a:pt x="159911" y="6391"/>
                    <a:pt x="135207" y="7506"/>
                    <a:pt x="128259" y="15526"/>
                  </a:cubicBezTo>
                  <a:cubicBezTo>
                    <a:pt x="121354" y="23504"/>
                    <a:pt x="112475" y="28093"/>
                    <a:pt x="104584" y="26978"/>
                  </a:cubicBezTo>
                  <a:cubicBezTo>
                    <a:pt x="96692" y="25819"/>
                    <a:pt x="73961" y="24661"/>
                    <a:pt x="69028" y="25819"/>
                  </a:cubicBezTo>
                  <a:cubicBezTo>
                    <a:pt x="64096" y="26978"/>
                    <a:pt x="37462" y="20115"/>
                    <a:pt x="33473" y="21230"/>
                  </a:cubicBezTo>
                  <a:cubicBezTo>
                    <a:pt x="29956" y="22217"/>
                    <a:pt x="23394" y="8149"/>
                    <a:pt x="14430" y="6433"/>
                  </a:cubicBezTo>
                  <a:cubicBezTo>
                    <a:pt x="14002" y="7720"/>
                    <a:pt x="13229" y="8964"/>
                    <a:pt x="11728" y="10079"/>
                  </a:cubicBezTo>
                  <a:cubicBezTo>
                    <a:pt x="5038" y="15226"/>
                    <a:pt x="4308" y="28908"/>
                    <a:pt x="11728" y="36671"/>
                  </a:cubicBezTo>
                  <a:cubicBezTo>
                    <a:pt x="19105" y="44391"/>
                    <a:pt x="28755" y="61503"/>
                    <a:pt x="22108" y="61503"/>
                  </a:cubicBezTo>
                  <a:cubicBezTo>
                    <a:pt x="15460" y="61503"/>
                    <a:pt x="10270" y="71754"/>
                    <a:pt x="10999" y="76901"/>
                  </a:cubicBezTo>
                  <a:cubicBezTo>
                    <a:pt x="11728" y="82047"/>
                    <a:pt x="8769" y="93199"/>
                    <a:pt x="10999" y="95772"/>
                  </a:cubicBezTo>
                  <a:cubicBezTo>
                    <a:pt x="13229" y="98345"/>
                    <a:pt x="28798" y="115501"/>
                    <a:pt x="29527" y="120605"/>
                  </a:cubicBezTo>
                  <a:cubicBezTo>
                    <a:pt x="30214" y="125151"/>
                    <a:pt x="36561" y="127467"/>
                    <a:pt x="36090" y="131413"/>
                  </a:cubicBezTo>
                  <a:cubicBezTo>
                    <a:pt x="48527" y="130341"/>
                    <a:pt x="74904" y="128582"/>
                    <a:pt x="80909" y="132013"/>
                  </a:cubicBezTo>
                  <a:cubicBezTo>
                    <a:pt x="88800" y="136603"/>
                    <a:pt x="116464" y="138833"/>
                    <a:pt x="116464" y="138833"/>
                  </a:cubicBezTo>
                  <a:cubicBezTo>
                    <a:pt x="124356" y="138833"/>
                    <a:pt x="131261" y="135445"/>
                    <a:pt x="129288" y="129740"/>
                  </a:cubicBezTo>
                  <a:cubicBezTo>
                    <a:pt x="127615" y="124937"/>
                    <a:pt x="137909" y="121720"/>
                    <a:pt x="145329" y="120862"/>
                  </a:cubicBezTo>
                  <a:cubicBezTo>
                    <a:pt x="144042" y="115587"/>
                    <a:pt x="143141" y="111255"/>
                    <a:pt x="145071" y="110311"/>
                  </a:cubicBezTo>
                  <a:cubicBezTo>
                    <a:pt x="148759" y="108596"/>
                    <a:pt x="170290" y="105165"/>
                    <a:pt x="179125" y="110311"/>
                  </a:cubicBezTo>
                  <a:cubicBezTo>
                    <a:pt x="183628" y="112928"/>
                    <a:pt x="188690" y="110440"/>
                    <a:pt x="192636" y="107395"/>
                  </a:cubicBezTo>
                  <a:cubicBezTo>
                    <a:pt x="191435" y="102591"/>
                    <a:pt x="190319" y="98817"/>
                    <a:pt x="188003" y="98302"/>
                  </a:cubicBezTo>
                  <a:cubicBezTo>
                    <a:pt x="182556" y="97187"/>
                    <a:pt x="174193" y="70896"/>
                    <a:pt x="181098" y="69180"/>
                  </a:cubicBezTo>
                  <a:cubicBezTo>
                    <a:pt x="188003" y="67508"/>
                    <a:pt x="196882" y="40059"/>
                    <a:pt x="207775" y="36070"/>
                  </a:cubicBezTo>
                  <a:cubicBezTo>
                    <a:pt x="212107" y="34483"/>
                    <a:pt x="213951" y="31481"/>
                    <a:pt x="214723" y="27792"/>
                  </a:cubicBezTo>
                  <a:cubicBezTo>
                    <a:pt x="205331" y="24147"/>
                    <a:pt x="196023" y="19643"/>
                    <a:pt x="194480" y="16684"/>
                  </a:cubicBezTo>
                  <a:cubicBezTo>
                    <a:pt x="191477" y="10937"/>
                    <a:pt x="175651" y="8664"/>
                    <a:pt x="167803" y="750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03" name="Freeform: Shape 156">
              <a:extLst>
                <a:ext uri="{FF2B5EF4-FFF2-40B4-BE49-F238E27FC236}">
                  <a16:creationId xmlns:a16="http://schemas.microsoft.com/office/drawing/2014/main" id="{5385306E-1744-3E4F-B156-EF9EDA37F4BB}"/>
                </a:ext>
              </a:extLst>
            </p:cNvPr>
            <p:cNvSpPr/>
            <p:nvPr/>
          </p:nvSpPr>
          <p:spPr>
            <a:xfrm>
              <a:off x="7511954" y="3090918"/>
              <a:ext cx="75447" cy="65607"/>
            </a:xfrm>
            <a:custGeom>
              <a:avLst/>
              <a:gdLst>
                <a:gd name="connsiteX0" fmla="*/ 26716 w 98645"/>
                <a:gd name="connsiteY0" fmla="*/ 81061 h 85778"/>
                <a:gd name="connsiteX1" fmla="*/ 26716 w 98645"/>
                <a:gd name="connsiteY1" fmla="*/ 81061 h 85778"/>
                <a:gd name="connsiteX2" fmla="*/ 28003 w 98645"/>
                <a:gd name="connsiteY2" fmla="*/ 80417 h 85778"/>
                <a:gd name="connsiteX3" fmla="*/ 28260 w 98645"/>
                <a:gd name="connsiteY3" fmla="*/ 80289 h 85778"/>
                <a:gd name="connsiteX4" fmla="*/ 30104 w 98645"/>
                <a:gd name="connsiteY4" fmla="*/ 79989 h 85778"/>
                <a:gd name="connsiteX5" fmla="*/ 30362 w 98645"/>
                <a:gd name="connsiteY5" fmla="*/ 79946 h 85778"/>
                <a:gd name="connsiteX6" fmla="*/ 41084 w 98645"/>
                <a:gd name="connsiteY6" fmla="*/ 79731 h 85778"/>
                <a:gd name="connsiteX7" fmla="*/ 41899 w 98645"/>
                <a:gd name="connsiteY7" fmla="*/ 79731 h 85778"/>
                <a:gd name="connsiteX8" fmla="*/ 44558 w 98645"/>
                <a:gd name="connsiteY8" fmla="*/ 79517 h 85778"/>
                <a:gd name="connsiteX9" fmla="*/ 45587 w 98645"/>
                <a:gd name="connsiteY9" fmla="*/ 79388 h 85778"/>
                <a:gd name="connsiteX10" fmla="*/ 48933 w 98645"/>
                <a:gd name="connsiteY10" fmla="*/ 78702 h 85778"/>
                <a:gd name="connsiteX11" fmla="*/ 64459 w 98645"/>
                <a:gd name="connsiteY11" fmla="*/ 67551 h 85778"/>
                <a:gd name="connsiteX12" fmla="*/ 95553 w 98645"/>
                <a:gd name="connsiteY12" fmla="*/ 50995 h 85778"/>
                <a:gd name="connsiteX13" fmla="*/ 96154 w 98645"/>
                <a:gd name="connsiteY13" fmla="*/ 49237 h 85778"/>
                <a:gd name="connsiteX14" fmla="*/ 89592 w 98645"/>
                <a:gd name="connsiteY14" fmla="*/ 38429 h 85778"/>
                <a:gd name="connsiteX15" fmla="*/ 71064 w 98645"/>
                <a:gd name="connsiteY15" fmla="*/ 13596 h 85778"/>
                <a:gd name="connsiteX16" fmla="*/ 70334 w 98645"/>
                <a:gd name="connsiteY16" fmla="*/ 10937 h 85778"/>
                <a:gd name="connsiteX17" fmla="*/ 70291 w 98645"/>
                <a:gd name="connsiteY17" fmla="*/ 10636 h 85778"/>
                <a:gd name="connsiteX18" fmla="*/ 70420 w 98645"/>
                <a:gd name="connsiteY18" fmla="*/ 6433 h 85778"/>
                <a:gd name="connsiteX19" fmla="*/ 12906 w 98645"/>
                <a:gd name="connsiteY19" fmla="*/ 18614 h 85778"/>
                <a:gd name="connsiteX20" fmla="*/ 10933 w 98645"/>
                <a:gd name="connsiteY20" fmla="*/ 16984 h 85778"/>
                <a:gd name="connsiteX21" fmla="*/ 7330 w 98645"/>
                <a:gd name="connsiteY21" fmla="*/ 57086 h 85778"/>
                <a:gd name="connsiteX22" fmla="*/ 26716 w 98645"/>
                <a:gd name="connsiteY22" fmla="*/ 81061 h 85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8645" h="85778">
                  <a:moveTo>
                    <a:pt x="26716" y="81061"/>
                  </a:moveTo>
                  <a:lnTo>
                    <a:pt x="26716" y="81061"/>
                  </a:lnTo>
                  <a:cubicBezTo>
                    <a:pt x="27016" y="80761"/>
                    <a:pt x="27445" y="80589"/>
                    <a:pt x="28003" y="80417"/>
                  </a:cubicBezTo>
                  <a:cubicBezTo>
                    <a:pt x="28089" y="80417"/>
                    <a:pt x="28174" y="80332"/>
                    <a:pt x="28260" y="80289"/>
                  </a:cubicBezTo>
                  <a:cubicBezTo>
                    <a:pt x="28775" y="80160"/>
                    <a:pt x="29418" y="80074"/>
                    <a:pt x="30104" y="79989"/>
                  </a:cubicBezTo>
                  <a:cubicBezTo>
                    <a:pt x="30190" y="79946"/>
                    <a:pt x="30276" y="79946"/>
                    <a:pt x="30362" y="79946"/>
                  </a:cubicBezTo>
                  <a:cubicBezTo>
                    <a:pt x="33235" y="79645"/>
                    <a:pt x="37095" y="79860"/>
                    <a:pt x="41084" y="79731"/>
                  </a:cubicBezTo>
                  <a:cubicBezTo>
                    <a:pt x="41298" y="79731"/>
                    <a:pt x="41599" y="79731"/>
                    <a:pt x="41899" y="79731"/>
                  </a:cubicBezTo>
                  <a:cubicBezTo>
                    <a:pt x="42756" y="79688"/>
                    <a:pt x="43657" y="79603"/>
                    <a:pt x="44558" y="79517"/>
                  </a:cubicBezTo>
                  <a:cubicBezTo>
                    <a:pt x="44901" y="79474"/>
                    <a:pt x="45244" y="79474"/>
                    <a:pt x="45587" y="79388"/>
                  </a:cubicBezTo>
                  <a:cubicBezTo>
                    <a:pt x="46745" y="79216"/>
                    <a:pt x="47860" y="79002"/>
                    <a:pt x="48933" y="78702"/>
                  </a:cubicBezTo>
                  <a:cubicBezTo>
                    <a:pt x="57811" y="76129"/>
                    <a:pt x="60041" y="65020"/>
                    <a:pt x="64459" y="67551"/>
                  </a:cubicBezTo>
                  <a:cubicBezTo>
                    <a:pt x="68919" y="70124"/>
                    <a:pt x="92594" y="56142"/>
                    <a:pt x="95553" y="50995"/>
                  </a:cubicBezTo>
                  <a:cubicBezTo>
                    <a:pt x="95939" y="50395"/>
                    <a:pt x="96111" y="49837"/>
                    <a:pt x="96154" y="49237"/>
                  </a:cubicBezTo>
                  <a:cubicBezTo>
                    <a:pt x="96626" y="45291"/>
                    <a:pt x="90278" y="42932"/>
                    <a:pt x="89592" y="38429"/>
                  </a:cubicBezTo>
                  <a:cubicBezTo>
                    <a:pt x="88862" y="33325"/>
                    <a:pt x="73336" y="16169"/>
                    <a:pt x="71064" y="13596"/>
                  </a:cubicBezTo>
                  <a:cubicBezTo>
                    <a:pt x="70634" y="13081"/>
                    <a:pt x="70420" y="12095"/>
                    <a:pt x="70334" y="10937"/>
                  </a:cubicBezTo>
                  <a:cubicBezTo>
                    <a:pt x="70334" y="10808"/>
                    <a:pt x="70291" y="10722"/>
                    <a:pt x="70291" y="10636"/>
                  </a:cubicBezTo>
                  <a:cubicBezTo>
                    <a:pt x="70206" y="9436"/>
                    <a:pt x="70291" y="7977"/>
                    <a:pt x="70420" y="6433"/>
                  </a:cubicBezTo>
                  <a:cubicBezTo>
                    <a:pt x="47260" y="10336"/>
                    <a:pt x="12906" y="18614"/>
                    <a:pt x="12906" y="18614"/>
                  </a:cubicBezTo>
                  <a:cubicBezTo>
                    <a:pt x="12906" y="18614"/>
                    <a:pt x="12048" y="17928"/>
                    <a:pt x="10933" y="16984"/>
                  </a:cubicBezTo>
                  <a:cubicBezTo>
                    <a:pt x="7416" y="30023"/>
                    <a:pt x="5057" y="47907"/>
                    <a:pt x="7330" y="57086"/>
                  </a:cubicBezTo>
                  <a:cubicBezTo>
                    <a:pt x="9646" y="66050"/>
                    <a:pt x="16680" y="72311"/>
                    <a:pt x="26716" y="8106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04" name="Freeform: Shape 157">
              <a:extLst>
                <a:ext uri="{FF2B5EF4-FFF2-40B4-BE49-F238E27FC236}">
                  <a16:creationId xmlns:a16="http://schemas.microsoft.com/office/drawing/2014/main" id="{146434B9-DE8C-9765-F120-35899D05D9D2}"/>
                </a:ext>
              </a:extLst>
            </p:cNvPr>
            <p:cNvSpPr/>
            <p:nvPr/>
          </p:nvSpPr>
          <p:spPr>
            <a:xfrm>
              <a:off x="7556366" y="2714332"/>
              <a:ext cx="462528" cy="311632"/>
            </a:xfrm>
            <a:custGeom>
              <a:avLst/>
              <a:gdLst>
                <a:gd name="connsiteX0" fmla="*/ 536030 w 604739"/>
                <a:gd name="connsiteY0" fmla="*/ 254166 h 407448"/>
                <a:gd name="connsiteX1" fmla="*/ 561936 w 604739"/>
                <a:gd name="connsiteY1" fmla="*/ 233621 h 407448"/>
                <a:gd name="connsiteX2" fmla="*/ 589342 w 604739"/>
                <a:gd name="connsiteY2" fmla="*/ 234479 h 407448"/>
                <a:gd name="connsiteX3" fmla="*/ 595261 w 604739"/>
                <a:gd name="connsiteY3" fmla="*/ 211362 h 407448"/>
                <a:gd name="connsiteX4" fmla="*/ 587884 w 604739"/>
                <a:gd name="connsiteY4" fmla="*/ 196780 h 407448"/>
                <a:gd name="connsiteX5" fmla="*/ 599721 w 604739"/>
                <a:gd name="connsiteY5" fmla="*/ 187344 h 407448"/>
                <a:gd name="connsiteX6" fmla="*/ 591572 w 604739"/>
                <a:gd name="connsiteY6" fmla="*/ 176193 h 407448"/>
                <a:gd name="connsiteX7" fmla="*/ 601180 w 604739"/>
                <a:gd name="connsiteY7" fmla="*/ 159938 h 407448"/>
                <a:gd name="connsiteX8" fmla="*/ 581922 w 604739"/>
                <a:gd name="connsiteY8" fmla="*/ 146256 h 407448"/>
                <a:gd name="connsiteX9" fmla="*/ 553744 w 604739"/>
                <a:gd name="connsiteY9" fmla="*/ 137678 h 407448"/>
                <a:gd name="connsiteX10" fmla="*/ 526337 w 604739"/>
                <a:gd name="connsiteY10" fmla="*/ 132531 h 407448"/>
                <a:gd name="connsiteX11" fmla="*/ 511541 w 604739"/>
                <a:gd name="connsiteY11" fmla="*/ 111987 h 407448"/>
                <a:gd name="connsiteX12" fmla="*/ 493012 w 604739"/>
                <a:gd name="connsiteY12" fmla="*/ 113703 h 407448"/>
                <a:gd name="connsiteX13" fmla="*/ 475985 w 604739"/>
                <a:gd name="connsiteY13" fmla="*/ 115419 h 407448"/>
                <a:gd name="connsiteX14" fmla="*/ 459687 w 604739"/>
                <a:gd name="connsiteY14" fmla="*/ 106841 h 407448"/>
                <a:gd name="connsiteX15" fmla="*/ 447078 w 604739"/>
                <a:gd name="connsiteY15" fmla="*/ 99121 h 407448"/>
                <a:gd name="connsiteX16" fmla="*/ 432281 w 604739"/>
                <a:gd name="connsiteY16" fmla="*/ 69141 h 407448"/>
                <a:gd name="connsiteX17" fmla="*/ 407834 w 604739"/>
                <a:gd name="connsiteY17" fmla="*/ 62279 h 407448"/>
                <a:gd name="connsiteX18" fmla="*/ 400415 w 604739"/>
                <a:gd name="connsiteY18" fmla="*/ 40877 h 407448"/>
                <a:gd name="connsiteX19" fmla="*/ 395954 w 604739"/>
                <a:gd name="connsiteY19" fmla="*/ 11755 h 407448"/>
                <a:gd name="connsiteX20" fmla="*/ 368548 w 604739"/>
                <a:gd name="connsiteY20" fmla="*/ 8324 h 407448"/>
                <a:gd name="connsiteX21" fmla="*/ 346331 w 604739"/>
                <a:gd name="connsiteY21" fmla="*/ 9182 h 407448"/>
                <a:gd name="connsiteX22" fmla="*/ 330762 w 604739"/>
                <a:gd name="connsiteY22" fmla="*/ 18617 h 407448"/>
                <a:gd name="connsiteX23" fmla="*/ 321627 w 604739"/>
                <a:gd name="connsiteY23" fmla="*/ 14200 h 407448"/>
                <a:gd name="connsiteX24" fmla="*/ 300139 w 604739"/>
                <a:gd name="connsiteY24" fmla="*/ 19218 h 407448"/>
                <a:gd name="connsiteX25" fmla="*/ 280367 w 604739"/>
                <a:gd name="connsiteY25" fmla="*/ 44308 h 407448"/>
                <a:gd name="connsiteX26" fmla="*/ 274449 w 604739"/>
                <a:gd name="connsiteY26" fmla="*/ 56917 h 407448"/>
                <a:gd name="connsiteX27" fmla="*/ 243869 w 604739"/>
                <a:gd name="connsiteY27" fmla="*/ 54602 h 407448"/>
                <a:gd name="connsiteX28" fmla="*/ 222124 w 604739"/>
                <a:gd name="connsiteY28" fmla="*/ 46624 h 407448"/>
                <a:gd name="connsiteX29" fmla="*/ 200379 w 604739"/>
                <a:gd name="connsiteY29" fmla="*/ 44308 h 407448"/>
                <a:gd name="connsiteX30" fmla="*/ 177690 w 604739"/>
                <a:gd name="connsiteY30" fmla="*/ 40877 h 407448"/>
                <a:gd name="connsiteX31" fmla="*/ 147068 w 604739"/>
                <a:gd name="connsiteY31" fmla="*/ 35173 h 407448"/>
                <a:gd name="connsiteX32" fmla="*/ 89810 w 604739"/>
                <a:gd name="connsiteY32" fmla="*/ 27195 h 407448"/>
                <a:gd name="connsiteX33" fmla="*/ 68065 w 604739"/>
                <a:gd name="connsiteY33" fmla="*/ 42035 h 407448"/>
                <a:gd name="connsiteX34" fmla="*/ 50223 w 604739"/>
                <a:gd name="connsiteY34" fmla="*/ 46667 h 407448"/>
                <a:gd name="connsiteX35" fmla="*/ 53054 w 604739"/>
                <a:gd name="connsiteY35" fmla="*/ 59748 h 407448"/>
                <a:gd name="connsiteX36" fmla="*/ 66393 w 604739"/>
                <a:gd name="connsiteY36" fmla="*/ 97448 h 407448"/>
                <a:gd name="connsiteX37" fmla="*/ 51596 w 604739"/>
                <a:gd name="connsiteY37" fmla="*/ 111130 h 407448"/>
                <a:gd name="connsiteX38" fmla="*/ 20501 w 604739"/>
                <a:gd name="connsiteY38" fmla="*/ 147972 h 407448"/>
                <a:gd name="connsiteX39" fmla="*/ 21230 w 604739"/>
                <a:gd name="connsiteY39" fmla="*/ 174520 h 407448"/>
                <a:gd name="connsiteX40" fmla="*/ 6433 w 604739"/>
                <a:gd name="connsiteY40" fmla="*/ 202784 h 407448"/>
                <a:gd name="connsiteX41" fmla="*/ 21230 w 604739"/>
                <a:gd name="connsiteY41" fmla="*/ 221613 h 407448"/>
                <a:gd name="connsiteX42" fmla="*/ 26677 w 604739"/>
                <a:gd name="connsiteY42" fmla="*/ 226030 h 407448"/>
                <a:gd name="connsiteX43" fmla="*/ 39544 w 604739"/>
                <a:gd name="connsiteY43" fmla="*/ 224743 h 407448"/>
                <a:gd name="connsiteX44" fmla="*/ 73084 w 604739"/>
                <a:gd name="connsiteY44" fmla="*/ 231606 h 407448"/>
                <a:gd name="connsiteX45" fmla="*/ 92855 w 604739"/>
                <a:gd name="connsiteY45" fmla="*/ 238468 h 407448"/>
                <a:gd name="connsiteX46" fmla="*/ 107695 w 604739"/>
                <a:gd name="connsiteY46" fmla="*/ 233879 h 407448"/>
                <a:gd name="connsiteX47" fmla="*/ 124508 w 604739"/>
                <a:gd name="connsiteY47" fmla="*/ 231606 h 407448"/>
                <a:gd name="connsiteX48" fmla="*/ 143293 w 604739"/>
                <a:gd name="connsiteY48" fmla="*/ 220197 h 407448"/>
                <a:gd name="connsiteX49" fmla="*/ 183781 w 604739"/>
                <a:gd name="connsiteY49" fmla="*/ 204199 h 407448"/>
                <a:gd name="connsiteX50" fmla="*/ 210458 w 604739"/>
                <a:gd name="connsiteY50" fmla="*/ 221312 h 407448"/>
                <a:gd name="connsiteX51" fmla="*/ 234176 w 604739"/>
                <a:gd name="connsiteY51" fmla="*/ 241856 h 407448"/>
                <a:gd name="connsiteX52" fmla="*/ 254891 w 604739"/>
                <a:gd name="connsiteY52" fmla="*/ 280671 h 407448"/>
                <a:gd name="connsiteX53" fmla="*/ 262783 w 604739"/>
                <a:gd name="connsiteY53" fmla="*/ 305804 h 407448"/>
                <a:gd name="connsiteX54" fmla="*/ 240051 w 604739"/>
                <a:gd name="connsiteY54" fmla="*/ 301215 h 407448"/>
                <a:gd name="connsiteX55" fmla="*/ 227227 w 604739"/>
                <a:gd name="connsiteY55" fmla="*/ 318328 h 407448"/>
                <a:gd name="connsiteX56" fmla="*/ 207498 w 604739"/>
                <a:gd name="connsiteY56" fmla="*/ 353754 h 407448"/>
                <a:gd name="connsiteX57" fmla="*/ 220365 w 604739"/>
                <a:gd name="connsiteY57" fmla="*/ 362890 h 407448"/>
                <a:gd name="connsiteX58" fmla="*/ 239108 w 604739"/>
                <a:gd name="connsiteY58" fmla="*/ 353754 h 407448"/>
                <a:gd name="connsiteX59" fmla="*/ 250860 w 604739"/>
                <a:gd name="connsiteY59" fmla="*/ 363362 h 407448"/>
                <a:gd name="connsiteX60" fmla="*/ 266728 w 604739"/>
                <a:gd name="connsiteY60" fmla="*/ 334368 h 407448"/>
                <a:gd name="connsiteX61" fmla="*/ 295336 w 604739"/>
                <a:gd name="connsiteY61" fmla="*/ 295511 h 407448"/>
                <a:gd name="connsiteX62" fmla="*/ 332392 w 604739"/>
                <a:gd name="connsiteY62" fmla="*/ 289206 h 407448"/>
                <a:gd name="connsiteX63" fmla="*/ 335823 w 604739"/>
                <a:gd name="connsiteY63" fmla="*/ 314339 h 407448"/>
                <a:gd name="connsiteX64" fmla="*/ 390164 w 604739"/>
                <a:gd name="connsiteY64" fmla="*/ 323475 h 407448"/>
                <a:gd name="connsiteX65" fmla="*/ 345731 w 604739"/>
                <a:gd name="connsiteY65" fmla="*/ 352039 h 407448"/>
                <a:gd name="connsiteX66" fmla="*/ 379313 w 604739"/>
                <a:gd name="connsiteY66" fmla="*/ 369709 h 407448"/>
                <a:gd name="connsiteX67" fmla="*/ 380814 w 604739"/>
                <a:gd name="connsiteY67" fmla="*/ 399432 h 407448"/>
                <a:gd name="connsiteX68" fmla="*/ 407963 w 604739"/>
                <a:gd name="connsiteY68" fmla="*/ 392012 h 407448"/>
                <a:gd name="connsiteX69" fmla="*/ 440044 w 604739"/>
                <a:gd name="connsiteY69" fmla="*/ 376014 h 407448"/>
                <a:gd name="connsiteX70" fmla="*/ 484477 w 604739"/>
                <a:gd name="connsiteY70" fmla="*/ 368594 h 407448"/>
                <a:gd name="connsiteX71" fmla="*/ 450895 w 604739"/>
                <a:gd name="connsiteY71" fmla="*/ 358301 h 407448"/>
                <a:gd name="connsiteX72" fmla="*/ 423747 w 604739"/>
                <a:gd name="connsiteY72" fmla="*/ 326863 h 407448"/>
                <a:gd name="connsiteX73" fmla="*/ 465692 w 604739"/>
                <a:gd name="connsiteY73" fmla="*/ 296068 h 407448"/>
                <a:gd name="connsiteX74" fmla="*/ 508152 w 604739"/>
                <a:gd name="connsiteY74" fmla="*/ 281229 h 407448"/>
                <a:gd name="connsiteX75" fmla="*/ 535301 w 604739"/>
                <a:gd name="connsiteY75" fmla="*/ 272394 h 407448"/>
                <a:gd name="connsiteX76" fmla="*/ 536030 w 604739"/>
                <a:gd name="connsiteY76" fmla="*/ 254166 h 407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04739" h="407448">
                  <a:moveTo>
                    <a:pt x="536030" y="254166"/>
                  </a:moveTo>
                  <a:cubicBezTo>
                    <a:pt x="541220" y="253308"/>
                    <a:pt x="556746" y="233621"/>
                    <a:pt x="561936" y="233621"/>
                  </a:cubicBezTo>
                  <a:cubicBezTo>
                    <a:pt x="567125" y="233621"/>
                    <a:pt x="589342" y="238768"/>
                    <a:pt x="589342" y="234479"/>
                  </a:cubicBezTo>
                  <a:cubicBezTo>
                    <a:pt x="589342" y="230190"/>
                    <a:pt x="596762" y="215651"/>
                    <a:pt x="595261" y="211362"/>
                  </a:cubicBezTo>
                  <a:cubicBezTo>
                    <a:pt x="593759" y="207073"/>
                    <a:pt x="586382" y="201112"/>
                    <a:pt x="587884" y="196780"/>
                  </a:cubicBezTo>
                  <a:cubicBezTo>
                    <a:pt x="589342" y="192491"/>
                    <a:pt x="599721" y="192491"/>
                    <a:pt x="599721" y="187344"/>
                  </a:cubicBezTo>
                  <a:cubicBezTo>
                    <a:pt x="599721" y="182197"/>
                    <a:pt x="591572" y="179624"/>
                    <a:pt x="591572" y="176193"/>
                  </a:cubicBezTo>
                  <a:cubicBezTo>
                    <a:pt x="591572" y="172762"/>
                    <a:pt x="601951" y="166757"/>
                    <a:pt x="601180" y="159938"/>
                  </a:cubicBezTo>
                  <a:cubicBezTo>
                    <a:pt x="600450" y="153075"/>
                    <a:pt x="591572" y="152218"/>
                    <a:pt x="581922" y="146256"/>
                  </a:cubicBezTo>
                  <a:cubicBezTo>
                    <a:pt x="572272" y="140252"/>
                    <a:pt x="562665" y="142782"/>
                    <a:pt x="553744" y="137678"/>
                  </a:cubicBezTo>
                  <a:cubicBezTo>
                    <a:pt x="544866" y="132531"/>
                    <a:pt x="526337" y="135963"/>
                    <a:pt x="526337" y="132531"/>
                  </a:cubicBezTo>
                  <a:cubicBezTo>
                    <a:pt x="526337" y="129100"/>
                    <a:pt x="514500" y="117992"/>
                    <a:pt x="511541" y="111987"/>
                  </a:cubicBezTo>
                  <a:cubicBezTo>
                    <a:pt x="508581" y="105983"/>
                    <a:pt x="498931" y="109414"/>
                    <a:pt x="493012" y="113703"/>
                  </a:cubicBezTo>
                  <a:cubicBezTo>
                    <a:pt x="487051" y="117992"/>
                    <a:pt x="481861" y="119707"/>
                    <a:pt x="475985" y="115419"/>
                  </a:cubicBezTo>
                  <a:cubicBezTo>
                    <a:pt x="470067" y="111130"/>
                    <a:pt x="464877" y="104267"/>
                    <a:pt x="459687" y="106841"/>
                  </a:cubicBezTo>
                  <a:cubicBezTo>
                    <a:pt x="454498" y="109414"/>
                    <a:pt x="444848" y="107699"/>
                    <a:pt x="447078" y="99121"/>
                  </a:cubicBezTo>
                  <a:cubicBezTo>
                    <a:pt x="449308" y="90543"/>
                    <a:pt x="437471" y="71714"/>
                    <a:pt x="432281" y="69141"/>
                  </a:cubicBezTo>
                  <a:cubicBezTo>
                    <a:pt x="427092" y="66568"/>
                    <a:pt x="411523" y="70814"/>
                    <a:pt x="407834" y="62279"/>
                  </a:cubicBezTo>
                  <a:cubicBezTo>
                    <a:pt x="404103" y="53701"/>
                    <a:pt x="397455" y="46839"/>
                    <a:pt x="400415" y="40877"/>
                  </a:cubicBezTo>
                  <a:cubicBezTo>
                    <a:pt x="403374" y="34873"/>
                    <a:pt x="399685" y="18575"/>
                    <a:pt x="395954" y="11755"/>
                  </a:cubicBezTo>
                  <a:cubicBezTo>
                    <a:pt x="392223" y="4893"/>
                    <a:pt x="373737" y="5751"/>
                    <a:pt x="368548" y="8324"/>
                  </a:cubicBezTo>
                  <a:cubicBezTo>
                    <a:pt x="363358" y="10897"/>
                    <a:pt x="351478" y="5751"/>
                    <a:pt x="346331" y="9182"/>
                  </a:cubicBezTo>
                  <a:cubicBezTo>
                    <a:pt x="341142" y="12613"/>
                    <a:pt x="338182" y="18617"/>
                    <a:pt x="330762" y="18617"/>
                  </a:cubicBezTo>
                  <a:cubicBezTo>
                    <a:pt x="326645" y="18617"/>
                    <a:pt x="323900" y="17974"/>
                    <a:pt x="321627" y="14200"/>
                  </a:cubicBezTo>
                  <a:cubicBezTo>
                    <a:pt x="313607" y="18403"/>
                    <a:pt x="300139" y="19218"/>
                    <a:pt x="300139" y="19218"/>
                  </a:cubicBezTo>
                  <a:cubicBezTo>
                    <a:pt x="300139" y="19218"/>
                    <a:pt x="280367" y="37489"/>
                    <a:pt x="280367" y="44308"/>
                  </a:cubicBezTo>
                  <a:cubicBezTo>
                    <a:pt x="280367" y="51170"/>
                    <a:pt x="279424" y="62579"/>
                    <a:pt x="274449" y="56917"/>
                  </a:cubicBezTo>
                  <a:cubicBezTo>
                    <a:pt x="269516" y="51213"/>
                    <a:pt x="248801" y="51170"/>
                    <a:pt x="243869" y="54602"/>
                  </a:cubicBezTo>
                  <a:cubicBezTo>
                    <a:pt x="238936" y="58033"/>
                    <a:pt x="231045" y="40920"/>
                    <a:pt x="222124" y="46624"/>
                  </a:cubicBezTo>
                  <a:cubicBezTo>
                    <a:pt x="213246" y="52329"/>
                    <a:pt x="201408" y="38604"/>
                    <a:pt x="200379" y="44308"/>
                  </a:cubicBezTo>
                  <a:cubicBezTo>
                    <a:pt x="199392" y="50055"/>
                    <a:pt x="186568" y="45466"/>
                    <a:pt x="177690" y="40877"/>
                  </a:cubicBezTo>
                  <a:cubicBezTo>
                    <a:pt x="168812" y="36331"/>
                    <a:pt x="152986" y="43150"/>
                    <a:pt x="147068" y="35173"/>
                  </a:cubicBezTo>
                  <a:cubicBezTo>
                    <a:pt x="141149" y="27195"/>
                    <a:pt x="102634" y="27195"/>
                    <a:pt x="89810" y="27195"/>
                  </a:cubicBezTo>
                  <a:cubicBezTo>
                    <a:pt x="76986" y="27195"/>
                    <a:pt x="74027" y="35173"/>
                    <a:pt x="68065" y="42035"/>
                  </a:cubicBezTo>
                  <a:cubicBezTo>
                    <a:pt x="62704" y="48254"/>
                    <a:pt x="56485" y="46967"/>
                    <a:pt x="50223" y="46667"/>
                  </a:cubicBezTo>
                  <a:cubicBezTo>
                    <a:pt x="50781" y="52414"/>
                    <a:pt x="51767" y="57561"/>
                    <a:pt x="53054" y="59748"/>
                  </a:cubicBezTo>
                  <a:cubicBezTo>
                    <a:pt x="56013" y="64895"/>
                    <a:pt x="70081" y="89728"/>
                    <a:pt x="66393" y="97448"/>
                  </a:cubicBezTo>
                  <a:cubicBezTo>
                    <a:pt x="62704" y="105168"/>
                    <a:pt x="56013" y="105168"/>
                    <a:pt x="51596" y="111130"/>
                  </a:cubicBezTo>
                  <a:cubicBezTo>
                    <a:pt x="47135" y="117134"/>
                    <a:pt x="21230" y="143683"/>
                    <a:pt x="20501" y="147972"/>
                  </a:cubicBezTo>
                  <a:cubicBezTo>
                    <a:pt x="19772" y="152261"/>
                    <a:pt x="24961" y="171089"/>
                    <a:pt x="21230" y="174520"/>
                  </a:cubicBezTo>
                  <a:cubicBezTo>
                    <a:pt x="17542" y="177951"/>
                    <a:pt x="6433" y="195922"/>
                    <a:pt x="6433" y="202784"/>
                  </a:cubicBezTo>
                  <a:cubicBezTo>
                    <a:pt x="6433" y="209646"/>
                    <a:pt x="14582" y="219039"/>
                    <a:pt x="21230" y="221613"/>
                  </a:cubicBezTo>
                  <a:cubicBezTo>
                    <a:pt x="24018" y="222728"/>
                    <a:pt x="25819" y="224229"/>
                    <a:pt x="26677" y="226030"/>
                  </a:cubicBezTo>
                  <a:cubicBezTo>
                    <a:pt x="31866" y="225215"/>
                    <a:pt x="36585" y="224743"/>
                    <a:pt x="39544" y="224743"/>
                  </a:cubicBezTo>
                  <a:cubicBezTo>
                    <a:pt x="44476" y="224743"/>
                    <a:pt x="66221" y="231606"/>
                    <a:pt x="73084" y="231606"/>
                  </a:cubicBezTo>
                  <a:cubicBezTo>
                    <a:pt x="79989" y="231606"/>
                    <a:pt x="89896" y="235037"/>
                    <a:pt x="92855" y="238468"/>
                  </a:cubicBezTo>
                  <a:cubicBezTo>
                    <a:pt x="95857" y="241899"/>
                    <a:pt x="102720" y="239583"/>
                    <a:pt x="107695" y="233879"/>
                  </a:cubicBezTo>
                  <a:cubicBezTo>
                    <a:pt x="112627" y="228175"/>
                    <a:pt x="118546" y="231606"/>
                    <a:pt x="124508" y="231606"/>
                  </a:cubicBezTo>
                  <a:cubicBezTo>
                    <a:pt x="130427" y="231606"/>
                    <a:pt x="140291" y="225859"/>
                    <a:pt x="143293" y="220197"/>
                  </a:cubicBezTo>
                  <a:cubicBezTo>
                    <a:pt x="146252" y="214493"/>
                    <a:pt x="175889" y="205358"/>
                    <a:pt x="183781" y="204199"/>
                  </a:cubicBezTo>
                  <a:cubicBezTo>
                    <a:pt x="191672" y="203084"/>
                    <a:pt x="203510" y="221312"/>
                    <a:pt x="210458" y="221312"/>
                  </a:cubicBezTo>
                  <a:cubicBezTo>
                    <a:pt x="217406" y="221312"/>
                    <a:pt x="230187" y="227017"/>
                    <a:pt x="234176" y="241856"/>
                  </a:cubicBezTo>
                  <a:cubicBezTo>
                    <a:pt x="238122" y="256696"/>
                    <a:pt x="249959" y="275010"/>
                    <a:pt x="254891" y="280671"/>
                  </a:cubicBezTo>
                  <a:cubicBezTo>
                    <a:pt x="259823" y="286418"/>
                    <a:pt x="262783" y="301215"/>
                    <a:pt x="262783" y="305804"/>
                  </a:cubicBezTo>
                  <a:cubicBezTo>
                    <a:pt x="262783" y="310393"/>
                    <a:pt x="251932" y="304646"/>
                    <a:pt x="240051" y="301215"/>
                  </a:cubicBezTo>
                  <a:cubicBezTo>
                    <a:pt x="228214" y="297784"/>
                    <a:pt x="227227" y="311509"/>
                    <a:pt x="227227" y="318328"/>
                  </a:cubicBezTo>
                  <a:cubicBezTo>
                    <a:pt x="227227" y="325190"/>
                    <a:pt x="210458" y="349165"/>
                    <a:pt x="207498" y="353754"/>
                  </a:cubicBezTo>
                  <a:cubicBezTo>
                    <a:pt x="204539" y="358344"/>
                    <a:pt x="213417" y="361732"/>
                    <a:pt x="220365" y="362890"/>
                  </a:cubicBezTo>
                  <a:cubicBezTo>
                    <a:pt x="223281" y="363362"/>
                    <a:pt x="235162" y="353754"/>
                    <a:pt x="239108" y="353754"/>
                  </a:cubicBezTo>
                  <a:cubicBezTo>
                    <a:pt x="240695" y="353754"/>
                    <a:pt x="245627" y="358129"/>
                    <a:pt x="250860" y="363362"/>
                  </a:cubicBezTo>
                  <a:cubicBezTo>
                    <a:pt x="249744" y="345477"/>
                    <a:pt x="252918" y="346506"/>
                    <a:pt x="266728" y="334368"/>
                  </a:cubicBezTo>
                  <a:cubicBezTo>
                    <a:pt x="281054" y="321802"/>
                    <a:pt x="282512" y="298384"/>
                    <a:pt x="295336" y="295511"/>
                  </a:cubicBezTo>
                  <a:cubicBezTo>
                    <a:pt x="308203" y="292637"/>
                    <a:pt x="313607" y="285775"/>
                    <a:pt x="332392" y="289206"/>
                  </a:cubicBezTo>
                  <a:cubicBezTo>
                    <a:pt x="351178" y="292637"/>
                    <a:pt x="323042" y="306319"/>
                    <a:pt x="335823" y="314339"/>
                  </a:cubicBezTo>
                  <a:cubicBezTo>
                    <a:pt x="348690" y="322359"/>
                    <a:pt x="388191" y="312066"/>
                    <a:pt x="390164" y="323475"/>
                  </a:cubicBezTo>
                  <a:cubicBezTo>
                    <a:pt x="392137" y="334883"/>
                    <a:pt x="344744" y="346335"/>
                    <a:pt x="345731" y="352039"/>
                  </a:cubicBezTo>
                  <a:cubicBezTo>
                    <a:pt x="346717" y="357700"/>
                    <a:pt x="370907" y="363447"/>
                    <a:pt x="379313" y="369709"/>
                  </a:cubicBezTo>
                  <a:cubicBezTo>
                    <a:pt x="387719" y="376014"/>
                    <a:pt x="376825" y="393727"/>
                    <a:pt x="380814" y="399432"/>
                  </a:cubicBezTo>
                  <a:cubicBezTo>
                    <a:pt x="384760" y="405136"/>
                    <a:pt x="397584" y="400547"/>
                    <a:pt x="407963" y="392012"/>
                  </a:cubicBezTo>
                  <a:cubicBezTo>
                    <a:pt x="418342" y="383434"/>
                    <a:pt x="426706" y="386308"/>
                    <a:pt x="440044" y="376014"/>
                  </a:cubicBezTo>
                  <a:cubicBezTo>
                    <a:pt x="453383" y="365720"/>
                    <a:pt x="481047" y="374856"/>
                    <a:pt x="484477" y="368594"/>
                  </a:cubicBezTo>
                  <a:cubicBezTo>
                    <a:pt x="487909" y="362289"/>
                    <a:pt x="476543" y="356028"/>
                    <a:pt x="450895" y="358301"/>
                  </a:cubicBezTo>
                  <a:cubicBezTo>
                    <a:pt x="425248" y="360574"/>
                    <a:pt x="423747" y="332610"/>
                    <a:pt x="423747" y="326863"/>
                  </a:cubicBezTo>
                  <a:cubicBezTo>
                    <a:pt x="423747" y="321159"/>
                    <a:pt x="450424" y="297741"/>
                    <a:pt x="465692" y="296068"/>
                  </a:cubicBezTo>
                  <a:cubicBezTo>
                    <a:pt x="481004" y="294353"/>
                    <a:pt x="493356" y="289206"/>
                    <a:pt x="508152" y="281229"/>
                  </a:cubicBezTo>
                  <a:cubicBezTo>
                    <a:pt x="514114" y="278012"/>
                    <a:pt x="524622" y="274752"/>
                    <a:pt x="535301" y="272394"/>
                  </a:cubicBezTo>
                  <a:cubicBezTo>
                    <a:pt x="533671" y="264373"/>
                    <a:pt x="531570" y="254895"/>
                    <a:pt x="536030" y="25416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05" name="Freeform: Shape 158">
              <a:extLst>
                <a:ext uri="{FF2B5EF4-FFF2-40B4-BE49-F238E27FC236}">
                  <a16:creationId xmlns:a16="http://schemas.microsoft.com/office/drawing/2014/main" id="{F4F63642-EFE0-8EE0-2F47-F04B6FBA3BCD}"/>
                </a:ext>
              </a:extLst>
            </p:cNvPr>
            <p:cNvSpPr/>
            <p:nvPr/>
          </p:nvSpPr>
          <p:spPr>
            <a:xfrm>
              <a:off x="7581887" y="2557009"/>
              <a:ext cx="246026" cy="206662"/>
            </a:xfrm>
            <a:custGeom>
              <a:avLst/>
              <a:gdLst>
                <a:gd name="connsiteX0" fmla="*/ 300439 w 321669"/>
                <a:gd name="connsiteY0" fmla="*/ 134372 h 270202"/>
                <a:gd name="connsiteX1" fmla="*/ 281182 w 321669"/>
                <a:gd name="connsiteY1" fmla="*/ 112928 h 270202"/>
                <a:gd name="connsiteX2" fmla="*/ 265656 w 321669"/>
                <a:gd name="connsiteY2" fmla="*/ 88953 h 270202"/>
                <a:gd name="connsiteX3" fmla="*/ 261925 w 321669"/>
                <a:gd name="connsiteY3" fmla="*/ 61503 h 270202"/>
                <a:gd name="connsiteX4" fmla="*/ 258966 w 321669"/>
                <a:gd name="connsiteY4" fmla="*/ 34955 h 270202"/>
                <a:gd name="connsiteX5" fmla="*/ 227871 w 321669"/>
                <a:gd name="connsiteY5" fmla="*/ 24704 h 270202"/>
                <a:gd name="connsiteX6" fmla="*/ 210072 w 321669"/>
                <a:gd name="connsiteY6" fmla="*/ 24704 h 270202"/>
                <a:gd name="connsiteX7" fmla="*/ 193045 w 321669"/>
                <a:gd name="connsiteY7" fmla="*/ 15269 h 270202"/>
                <a:gd name="connsiteX8" fmla="*/ 175246 w 321669"/>
                <a:gd name="connsiteY8" fmla="*/ 9264 h 270202"/>
                <a:gd name="connsiteX9" fmla="*/ 173573 w 321669"/>
                <a:gd name="connsiteY9" fmla="*/ 6433 h 270202"/>
                <a:gd name="connsiteX10" fmla="*/ 163194 w 321669"/>
                <a:gd name="connsiteY10" fmla="*/ 11237 h 270202"/>
                <a:gd name="connsiteX11" fmla="*/ 150327 w 321669"/>
                <a:gd name="connsiteY11" fmla="*/ 24962 h 270202"/>
                <a:gd name="connsiteX12" fmla="*/ 127639 w 321669"/>
                <a:gd name="connsiteY12" fmla="*/ 28393 h 270202"/>
                <a:gd name="connsiteX13" fmla="*/ 118760 w 321669"/>
                <a:gd name="connsiteY13" fmla="*/ 48937 h 270202"/>
                <a:gd name="connsiteX14" fmla="*/ 114815 w 321669"/>
                <a:gd name="connsiteY14" fmla="*/ 63776 h 270202"/>
                <a:gd name="connsiteX15" fmla="*/ 103964 w 321669"/>
                <a:gd name="connsiteY15" fmla="*/ 74070 h 270202"/>
                <a:gd name="connsiteX16" fmla="*/ 87151 w 321669"/>
                <a:gd name="connsiteY16" fmla="*/ 92298 h 270202"/>
                <a:gd name="connsiteX17" fmla="*/ 82218 w 321669"/>
                <a:gd name="connsiteY17" fmla="*/ 110612 h 270202"/>
                <a:gd name="connsiteX18" fmla="*/ 60517 w 321669"/>
                <a:gd name="connsiteY18" fmla="*/ 118589 h 270202"/>
                <a:gd name="connsiteX19" fmla="*/ 43747 w 321669"/>
                <a:gd name="connsiteY19" fmla="*/ 127724 h 270202"/>
                <a:gd name="connsiteX20" fmla="*/ 19257 w 321669"/>
                <a:gd name="connsiteY20" fmla="*/ 125709 h 270202"/>
                <a:gd name="connsiteX21" fmla="*/ 19043 w 321669"/>
                <a:gd name="connsiteY21" fmla="*/ 129140 h 270202"/>
                <a:gd name="connsiteX22" fmla="*/ 24232 w 321669"/>
                <a:gd name="connsiteY22" fmla="*/ 158262 h 270202"/>
                <a:gd name="connsiteX23" fmla="*/ 25691 w 321669"/>
                <a:gd name="connsiteY23" fmla="*/ 191672 h 270202"/>
                <a:gd name="connsiteX24" fmla="*/ 6433 w 321669"/>
                <a:gd name="connsiteY24" fmla="*/ 211359 h 270202"/>
                <a:gd name="connsiteX25" fmla="*/ 17542 w 321669"/>
                <a:gd name="connsiteY25" fmla="*/ 231045 h 270202"/>
                <a:gd name="connsiteX26" fmla="*/ 16941 w 321669"/>
                <a:gd name="connsiteY26" fmla="*/ 252232 h 270202"/>
                <a:gd name="connsiteX27" fmla="*/ 34783 w 321669"/>
                <a:gd name="connsiteY27" fmla="*/ 247600 h 270202"/>
                <a:gd name="connsiteX28" fmla="*/ 56528 w 321669"/>
                <a:gd name="connsiteY28" fmla="*/ 232760 h 270202"/>
                <a:gd name="connsiteX29" fmla="*/ 113785 w 321669"/>
                <a:gd name="connsiteY29" fmla="*/ 240738 h 270202"/>
                <a:gd name="connsiteX30" fmla="*/ 144408 w 321669"/>
                <a:gd name="connsiteY30" fmla="*/ 246442 h 270202"/>
                <a:gd name="connsiteX31" fmla="*/ 167097 w 321669"/>
                <a:gd name="connsiteY31" fmla="*/ 249873 h 270202"/>
                <a:gd name="connsiteX32" fmla="*/ 188841 w 321669"/>
                <a:gd name="connsiteY32" fmla="*/ 252189 h 270202"/>
                <a:gd name="connsiteX33" fmla="*/ 210586 w 321669"/>
                <a:gd name="connsiteY33" fmla="*/ 260167 h 270202"/>
                <a:gd name="connsiteX34" fmla="*/ 241166 w 321669"/>
                <a:gd name="connsiteY34" fmla="*/ 262483 h 270202"/>
                <a:gd name="connsiteX35" fmla="*/ 247085 w 321669"/>
                <a:gd name="connsiteY35" fmla="*/ 249873 h 270202"/>
                <a:gd name="connsiteX36" fmla="*/ 266857 w 321669"/>
                <a:gd name="connsiteY36" fmla="*/ 224783 h 270202"/>
                <a:gd name="connsiteX37" fmla="*/ 288345 w 321669"/>
                <a:gd name="connsiteY37" fmla="*/ 219765 h 270202"/>
                <a:gd name="connsiteX38" fmla="*/ 283369 w 321669"/>
                <a:gd name="connsiteY38" fmla="*/ 203638 h 270202"/>
                <a:gd name="connsiteX39" fmla="*/ 278223 w 321669"/>
                <a:gd name="connsiteY39" fmla="*/ 167654 h 270202"/>
                <a:gd name="connsiteX40" fmla="*/ 301898 w 321669"/>
                <a:gd name="connsiteY40" fmla="*/ 171943 h 270202"/>
                <a:gd name="connsiteX41" fmla="*/ 318925 w 321669"/>
                <a:gd name="connsiteY41" fmla="*/ 153973 h 270202"/>
                <a:gd name="connsiteX42" fmla="*/ 300439 w 321669"/>
                <a:gd name="connsiteY42" fmla="*/ 134372 h 270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21669" h="270202">
                  <a:moveTo>
                    <a:pt x="300439" y="134372"/>
                  </a:moveTo>
                  <a:cubicBezTo>
                    <a:pt x="294521" y="132657"/>
                    <a:pt x="290789" y="117259"/>
                    <a:pt x="281182" y="112928"/>
                  </a:cubicBezTo>
                  <a:cubicBezTo>
                    <a:pt x="271575" y="108639"/>
                    <a:pt x="273805" y="94914"/>
                    <a:pt x="265656" y="88953"/>
                  </a:cubicBezTo>
                  <a:cubicBezTo>
                    <a:pt x="257507" y="82948"/>
                    <a:pt x="262697" y="70939"/>
                    <a:pt x="261925" y="61503"/>
                  </a:cubicBezTo>
                  <a:cubicBezTo>
                    <a:pt x="261195" y="52068"/>
                    <a:pt x="263426" y="37528"/>
                    <a:pt x="258966" y="34955"/>
                  </a:cubicBezTo>
                  <a:cubicBezTo>
                    <a:pt x="254505" y="32382"/>
                    <a:pt x="235977" y="20415"/>
                    <a:pt x="227871" y="24704"/>
                  </a:cubicBezTo>
                  <a:cubicBezTo>
                    <a:pt x="219722" y="28993"/>
                    <a:pt x="213803" y="32382"/>
                    <a:pt x="210072" y="24704"/>
                  </a:cubicBezTo>
                  <a:cubicBezTo>
                    <a:pt x="206383" y="16984"/>
                    <a:pt x="201193" y="12695"/>
                    <a:pt x="193045" y="15269"/>
                  </a:cubicBezTo>
                  <a:cubicBezTo>
                    <a:pt x="184896" y="17842"/>
                    <a:pt x="179706" y="13553"/>
                    <a:pt x="175246" y="9264"/>
                  </a:cubicBezTo>
                  <a:cubicBezTo>
                    <a:pt x="174559" y="8621"/>
                    <a:pt x="174045" y="7591"/>
                    <a:pt x="173573" y="6433"/>
                  </a:cubicBezTo>
                  <a:cubicBezTo>
                    <a:pt x="170313" y="7206"/>
                    <a:pt x="165981" y="8664"/>
                    <a:pt x="163194" y="11237"/>
                  </a:cubicBezTo>
                  <a:cubicBezTo>
                    <a:pt x="158219" y="15826"/>
                    <a:pt x="157275" y="24962"/>
                    <a:pt x="150327" y="24962"/>
                  </a:cubicBezTo>
                  <a:cubicBezTo>
                    <a:pt x="143422" y="24962"/>
                    <a:pt x="135530" y="21531"/>
                    <a:pt x="127639" y="28393"/>
                  </a:cubicBezTo>
                  <a:cubicBezTo>
                    <a:pt x="119704" y="35255"/>
                    <a:pt x="117774" y="43232"/>
                    <a:pt x="118760" y="48937"/>
                  </a:cubicBezTo>
                  <a:cubicBezTo>
                    <a:pt x="119747" y="54641"/>
                    <a:pt x="120733" y="63776"/>
                    <a:pt x="114815" y="63776"/>
                  </a:cubicBezTo>
                  <a:cubicBezTo>
                    <a:pt x="108896" y="63776"/>
                    <a:pt x="109882" y="71797"/>
                    <a:pt x="103964" y="74070"/>
                  </a:cubicBezTo>
                  <a:cubicBezTo>
                    <a:pt x="98045" y="76343"/>
                    <a:pt x="88180" y="86636"/>
                    <a:pt x="87151" y="92298"/>
                  </a:cubicBezTo>
                  <a:cubicBezTo>
                    <a:pt x="86164" y="98045"/>
                    <a:pt x="86164" y="110612"/>
                    <a:pt x="82218" y="110612"/>
                  </a:cubicBezTo>
                  <a:cubicBezTo>
                    <a:pt x="78273" y="110612"/>
                    <a:pt x="64462" y="112885"/>
                    <a:pt x="60517" y="118589"/>
                  </a:cubicBezTo>
                  <a:cubicBezTo>
                    <a:pt x="56571" y="124336"/>
                    <a:pt x="51681" y="129997"/>
                    <a:pt x="43747" y="127724"/>
                  </a:cubicBezTo>
                  <a:cubicBezTo>
                    <a:pt x="39716" y="126523"/>
                    <a:pt x="28821" y="125966"/>
                    <a:pt x="19257" y="125709"/>
                  </a:cubicBezTo>
                  <a:cubicBezTo>
                    <a:pt x="19386" y="126824"/>
                    <a:pt x="19386" y="127939"/>
                    <a:pt x="19043" y="129140"/>
                  </a:cubicBezTo>
                  <a:cubicBezTo>
                    <a:pt x="15354" y="141106"/>
                    <a:pt x="18314" y="152257"/>
                    <a:pt x="24232" y="158262"/>
                  </a:cubicBezTo>
                  <a:cubicBezTo>
                    <a:pt x="30151" y="164223"/>
                    <a:pt x="32381" y="188241"/>
                    <a:pt x="25691" y="191672"/>
                  </a:cubicBezTo>
                  <a:cubicBezTo>
                    <a:pt x="19000" y="195104"/>
                    <a:pt x="6433" y="205354"/>
                    <a:pt x="6433" y="211359"/>
                  </a:cubicBezTo>
                  <a:cubicBezTo>
                    <a:pt x="6433" y="217363"/>
                    <a:pt x="19772" y="222510"/>
                    <a:pt x="17542" y="231045"/>
                  </a:cubicBezTo>
                  <a:cubicBezTo>
                    <a:pt x="16298" y="235977"/>
                    <a:pt x="16255" y="244683"/>
                    <a:pt x="16941" y="252232"/>
                  </a:cubicBezTo>
                  <a:cubicBezTo>
                    <a:pt x="23246" y="252532"/>
                    <a:pt x="29465" y="253862"/>
                    <a:pt x="34783" y="247600"/>
                  </a:cubicBezTo>
                  <a:cubicBezTo>
                    <a:pt x="40702" y="240738"/>
                    <a:pt x="43661" y="232760"/>
                    <a:pt x="56528" y="232760"/>
                  </a:cubicBezTo>
                  <a:cubicBezTo>
                    <a:pt x="69352" y="232760"/>
                    <a:pt x="107866" y="232760"/>
                    <a:pt x="113785" y="240738"/>
                  </a:cubicBezTo>
                  <a:cubicBezTo>
                    <a:pt x="119704" y="248758"/>
                    <a:pt x="135530" y="241896"/>
                    <a:pt x="144408" y="246442"/>
                  </a:cubicBezTo>
                  <a:cubicBezTo>
                    <a:pt x="153329" y="251031"/>
                    <a:pt x="166153" y="255577"/>
                    <a:pt x="167097" y="249873"/>
                  </a:cubicBezTo>
                  <a:cubicBezTo>
                    <a:pt x="168126" y="244169"/>
                    <a:pt x="179963" y="257893"/>
                    <a:pt x="188841" y="252189"/>
                  </a:cubicBezTo>
                  <a:cubicBezTo>
                    <a:pt x="197720" y="246485"/>
                    <a:pt x="205654" y="263598"/>
                    <a:pt x="210586" y="260167"/>
                  </a:cubicBezTo>
                  <a:cubicBezTo>
                    <a:pt x="215519" y="256735"/>
                    <a:pt x="236234" y="256735"/>
                    <a:pt x="241166" y="262483"/>
                  </a:cubicBezTo>
                  <a:cubicBezTo>
                    <a:pt x="246142" y="268187"/>
                    <a:pt x="247085" y="256735"/>
                    <a:pt x="247085" y="249873"/>
                  </a:cubicBezTo>
                  <a:cubicBezTo>
                    <a:pt x="247085" y="243011"/>
                    <a:pt x="266857" y="224783"/>
                    <a:pt x="266857" y="224783"/>
                  </a:cubicBezTo>
                  <a:cubicBezTo>
                    <a:pt x="266857" y="224783"/>
                    <a:pt x="280324" y="223968"/>
                    <a:pt x="288345" y="219765"/>
                  </a:cubicBezTo>
                  <a:cubicBezTo>
                    <a:pt x="286543" y="216806"/>
                    <a:pt x="285042" y="211959"/>
                    <a:pt x="283369" y="203638"/>
                  </a:cubicBezTo>
                  <a:cubicBezTo>
                    <a:pt x="279681" y="184767"/>
                    <a:pt x="273762" y="173659"/>
                    <a:pt x="278223" y="167654"/>
                  </a:cubicBezTo>
                  <a:cubicBezTo>
                    <a:pt x="282683" y="161650"/>
                    <a:pt x="295250" y="175374"/>
                    <a:pt x="301898" y="171943"/>
                  </a:cubicBezTo>
                  <a:cubicBezTo>
                    <a:pt x="308588" y="168555"/>
                    <a:pt x="320426" y="161650"/>
                    <a:pt x="318925" y="153973"/>
                  </a:cubicBezTo>
                  <a:cubicBezTo>
                    <a:pt x="317467" y="146338"/>
                    <a:pt x="306358" y="136045"/>
                    <a:pt x="300439" y="134372"/>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06" name="Freeform: Shape 159">
              <a:extLst>
                <a:ext uri="{FF2B5EF4-FFF2-40B4-BE49-F238E27FC236}">
                  <a16:creationId xmlns:a16="http://schemas.microsoft.com/office/drawing/2014/main" id="{FA9AFABC-6EDF-049E-E84D-9D2D092FF78E}"/>
                </a:ext>
              </a:extLst>
            </p:cNvPr>
            <p:cNvSpPr/>
            <p:nvPr/>
          </p:nvSpPr>
          <p:spPr>
            <a:xfrm>
              <a:off x="7524179" y="2477667"/>
              <a:ext cx="193540" cy="111532"/>
            </a:xfrm>
            <a:custGeom>
              <a:avLst/>
              <a:gdLst>
                <a:gd name="connsiteX0" fmla="*/ 86088 w 253046"/>
                <a:gd name="connsiteY0" fmla="*/ 99962 h 145823"/>
                <a:gd name="connsiteX1" fmla="*/ 128377 w 253046"/>
                <a:gd name="connsiteY1" fmla="*/ 99962 h 145823"/>
                <a:gd name="connsiteX2" fmla="*/ 148020 w 253046"/>
                <a:gd name="connsiteY2" fmla="*/ 108669 h 145823"/>
                <a:gd name="connsiteX3" fmla="*/ 179715 w 253046"/>
                <a:gd name="connsiteY3" fmla="*/ 127883 h 145823"/>
                <a:gd name="connsiteX4" fmla="*/ 196614 w 253046"/>
                <a:gd name="connsiteY4" fmla="*/ 140493 h 145823"/>
                <a:gd name="connsiteX5" fmla="*/ 203090 w 253046"/>
                <a:gd name="connsiteY5" fmla="*/ 132129 h 145823"/>
                <a:gd name="connsiteX6" fmla="*/ 225778 w 253046"/>
                <a:gd name="connsiteY6" fmla="*/ 128698 h 145823"/>
                <a:gd name="connsiteX7" fmla="*/ 238645 w 253046"/>
                <a:gd name="connsiteY7" fmla="*/ 114974 h 145823"/>
                <a:gd name="connsiteX8" fmla="*/ 249024 w 253046"/>
                <a:gd name="connsiteY8" fmla="*/ 110170 h 145823"/>
                <a:gd name="connsiteX9" fmla="*/ 241862 w 253046"/>
                <a:gd name="connsiteY9" fmla="*/ 86452 h 145823"/>
                <a:gd name="connsiteX10" fmla="*/ 231483 w 253046"/>
                <a:gd name="connsiteY10" fmla="*/ 64193 h 145823"/>
                <a:gd name="connsiteX11" fmla="*/ 227751 w 253046"/>
                <a:gd name="connsiteY11" fmla="*/ 42791 h 145823"/>
                <a:gd name="connsiteX12" fmla="*/ 222090 w 253046"/>
                <a:gd name="connsiteY12" fmla="*/ 32927 h 145823"/>
                <a:gd name="connsiteX13" fmla="*/ 190223 w 253046"/>
                <a:gd name="connsiteY13" fmla="*/ 30525 h 145823"/>
                <a:gd name="connsiteX14" fmla="*/ 156640 w 253046"/>
                <a:gd name="connsiteY14" fmla="*/ 7665 h 145823"/>
                <a:gd name="connsiteX15" fmla="*/ 120656 w 253046"/>
                <a:gd name="connsiteY15" fmla="*/ 8308 h 145823"/>
                <a:gd name="connsiteX16" fmla="*/ 117611 w 253046"/>
                <a:gd name="connsiteY16" fmla="*/ 46522 h 145823"/>
                <a:gd name="connsiteX17" fmla="*/ 90463 w 253046"/>
                <a:gd name="connsiteY17" fmla="*/ 61362 h 145823"/>
                <a:gd name="connsiteX18" fmla="*/ 60826 w 253046"/>
                <a:gd name="connsiteY18" fmla="*/ 21346 h 145823"/>
                <a:gd name="connsiteX19" fmla="*/ 28702 w 253046"/>
                <a:gd name="connsiteY19" fmla="*/ 38459 h 145823"/>
                <a:gd name="connsiteX20" fmla="*/ 15363 w 253046"/>
                <a:gd name="connsiteY20" fmla="*/ 69297 h 145823"/>
                <a:gd name="connsiteX21" fmla="*/ 10431 w 253046"/>
                <a:gd name="connsiteY21" fmla="*/ 105881 h 145823"/>
                <a:gd name="connsiteX22" fmla="*/ 11289 w 253046"/>
                <a:gd name="connsiteY22" fmla="*/ 107897 h 145823"/>
                <a:gd name="connsiteX23" fmla="*/ 37751 w 253046"/>
                <a:gd name="connsiteY23" fmla="*/ 99920 h 145823"/>
                <a:gd name="connsiteX24" fmla="*/ 86088 w 253046"/>
                <a:gd name="connsiteY24" fmla="*/ 99962 h 14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3046" h="145823">
                  <a:moveTo>
                    <a:pt x="86088" y="99962"/>
                  </a:moveTo>
                  <a:cubicBezTo>
                    <a:pt x="95137" y="99962"/>
                    <a:pt x="116282" y="105195"/>
                    <a:pt x="128377" y="99962"/>
                  </a:cubicBezTo>
                  <a:cubicBezTo>
                    <a:pt x="140428" y="94730"/>
                    <a:pt x="140428" y="110470"/>
                    <a:pt x="148020" y="108669"/>
                  </a:cubicBezTo>
                  <a:cubicBezTo>
                    <a:pt x="155568" y="106911"/>
                    <a:pt x="170665" y="119134"/>
                    <a:pt x="179715" y="127883"/>
                  </a:cubicBezTo>
                  <a:cubicBezTo>
                    <a:pt x="184519" y="132516"/>
                    <a:pt x="190266" y="136247"/>
                    <a:pt x="196614" y="140493"/>
                  </a:cubicBezTo>
                  <a:cubicBezTo>
                    <a:pt x="198072" y="137619"/>
                    <a:pt x="200002" y="134831"/>
                    <a:pt x="203090" y="132129"/>
                  </a:cubicBezTo>
                  <a:cubicBezTo>
                    <a:pt x="210981" y="125267"/>
                    <a:pt x="218873" y="128698"/>
                    <a:pt x="225778" y="128698"/>
                  </a:cubicBezTo>
                  <a:cubicBezTo>
                    <a:pt x="232726" y="128698"/>
                    <a:pt x="233670" y="119563"/>
                    <a:pt x="238645" y="114974"/>
                  </a:cubicBezTo>
                  <a:cubicBezTo>
                    <a:pt x="241433" y="112400"/>
                    <a:pt x="245765" y="110942"/>
                    <a:pt x="249024" y="110170"/>
                  </a:cubicBezTo>
                  <a:cubicBezTo>
                    <a:pt x="246365" y="103823"/>
                    <a:pt x="246236" y="91513"/>
                    <a:pt x="241862" y="86452"/>
                  </a:cubicBezTo>
                  <a:cubicBezTo>
                    <a:pt x="236672" y="80448"/>
                    <a:pt x="229252" y="70154"/>
                    <a:pt x="231483" y="64193"/>
                  </a:cubicBezTo>
                  <a:cubicBezTo>
                    <a:pt x="233712" y="58188"/>
                    <a:pt x="233712" y="49610"/>
                    <a:pt x="227751" y="42791"/>
                  </a:cubicBezTo>
                  <a:cubicBezTo>
                    <a:pt x="225178" y="39789"/>
                    <a:pt x="223162" y="36272"/>
                    <a:pt x="222090" y="32927"/>
                  </a:cubicBezTo>
                  <a:cubicBezTo>
                    <a:pt x="210038" y="31125"/>
                    <a:pt x="193869" y="29109"/>
                    <a:pt x="190223" y="30525"/>
                  </a:cubicBezTo>
                  <a:cubicBezTo>
                    <a:pt x="184304" y="32798"/>
                    <a:pt x="160629" y="11096"/>
                    <a:pt x="156640" y="7665"/>
                  </a:cubicBezTo>
                  <a:cubicBezTo>
                    <a:pt x="154067" y="5435"/>
                    <a:pt x="136483" y="6592"/>
                    <a:pt x="120656" y="8308"/>
                  </a:cubicBezTo>
                  <a:cubicBezTo>
                    <a:pt x="111564" y="19974"/>
                    <a:pt x="118126" y="28552"/>
                    <a:pt x="117611" y="46522"/>
                  </a:cubicBezTo>
                  <a:cubicBezTo>
                    <a:pt x="117140" y="64793"/>
                    <a:pt x="99812" y="61362"/>
                    <a:pt x="90463" y="61362"/>
                  </a:cubicBezTo>
                  <a:cubicBezTo>
                    <a:pt x="81070" y="61362"/>
                    <a:pt x="65758" y="28809"/>
                    <a:pt x="60826" y="21346"/>
                  </a:cubicBezTo>
                  <a:cubicBezTo>
                    <a:pt x="55851" y="13927"/>
                    <a:pt x="40068" y="30525"/>
                    <a:pt x="28702" y="38459"/>
                  </a:cubicBezTo>
                  <a:cubicBezTo>
                    <a:pt x="17336" y="46480"/>
                    <a:pt x="23255" y="61877"/>
                    <a:pt x="15363" y="69297"/>
                  </a:cubicBezTo>
                  <a:cubicBezTo>
                    <a:pt x="7471" y="76717"/>
                    <a:pt x="2539" y="89283"/>
                    <a:pt x="10431" y="105881"/>
                  </a:cubicBezTo>
                  <a:cubicBezTo>
                    <a:pt x="10774" y="106567"/>
                    <a:pt x="10989" y="107254"/>
                    <a:pt x="11289" y="107897"/>
                  </a:cubicBezTo>
                  <a:cubicBezTo>
                    <a:pt x="21153" y="106996"/>
                    <a:pt x="31704" y="104895"/>
                    <a:pt x="37751" y="99920"/>
                  </a:cubicBezTo>
                  <a:cubicBezTo>
                    <a:pt x="48345" y="91213"/>
                    <a:pt x="77081" y="99962"/>
                    <a:pt x="86088" y="99962"/>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07" name="Freeform: Shape 160">
              <a:extLst>
                <a:ext uri="{FF2B5EF4-FFF2-40B4-BE49-F238E27FC236}">
                  <a16:creationId xmlns:a16="http://schemas.microsoft.com/office/drawing/2014/main" id="{AFD43EE2-E562-5D1F-4157-544FD8B2FAF4}"/>
                </a:ext>
              </a:extLst>
            </p:cNvPr>
            <p:cNvSpPr/>
            <p:nvPr/>
          </p:nvSpPr>
          <p:spPr>
            <a:xfrm>
              <a:off x="7523192" y="2546276"/>
              <a:ext cx="154176" cy="111532"/>
            </a:xfrm>
            <a:custGeom>
              <a:avLst/>
              <a:gdLst>
                <a:gd name="connsiteX0" fmla="*/ 31322 w 201579"/>
                <a:gd name="connsiteY0" fmla="*/ 73007 h 145823"/>
                <a:gd name="connsiteX1" fmla="*/ 51309 w 201579"/>
                <a:gd name="connsiteY1" fmla="*/ 81585 h 145823"/>
                <a:gd name="connsiteX2" fmla="*/ 69837 w 201579"/>
                <a:gd name="connsiteY2" fmla="*/ 94409 h 145823"/>
                <a:gd name="connsiteX3" fmla="*/ 69837 w 201579"/>
                <a:gd name="connsiteY3" fmla="*/ 121815 h 145823"/>
                <a:gd name="connsiteX4" fmla="*/ 96000 w 201579"/>
                <a:gd name="connsiteY4" fmla="*/ 139786 h 145823"/>
                <a:gd name="connsiteX5" fmla="*/ 120489 w 201579"/>
                <a:gd name="connsiteY5" fmla="*/ 141802 h 145823"/>
                <a:gd name="connsiteX6" fmla="*/ 137259 w 201579"/>
                <a:gd name="connsiteY6" fmla="*/ 132666 h 145823"/>
                <a:gd name="connsiteX7" fmla="*/ 158961 w 201579"/>
                <a:gd name="connsiteY7" fmla="*/ 124689 h 145823"/>
                <a:gd name="connsiteX8" fmla="*/ 163893 w 201579"/>
                <a:gd name="connsiteY8" fmla="*/ 106375 h 145823"/>
                <a:gd name="connsiteX9" fmla="*/ 180706 w 201579"/>
                <a:gd name="connsiteY9" fmla="*/ 88147 h 145823"/>
                <a:gd name="connsiteX10" fmla="*/ 191557 w 201579"/>
                <a:gd name="connsiteY10" fmla="*/ 77854 h 145823"/>
                <a:gd name="connsiteX11" fmla="*/ 195503 w 201579"/>
                <a:gd name="connsiteY11" fmla="*/ 63014 h 145823"/>
                <a:gd name="connsiteX12" fmla="*/ 197905 w 201579"/>
                <a:gd name="connsiteY12" fmla="*/ 50833 h 145823"/>
                <a:gd name="connsiteX13" fmla="*/ 181006 w 201579"/>
                <a:gd name="connsiteY13" fmla="*/ 38224 h 145823"/>
                <a:gd name="connsiteX14" fmla="*/ 149311 w 201579"/>
                <a:gd name="connsiteY14" fmla="*/ 19009 h 145823"/>
                <a:gd name="connsiteX15" fmla="*/ 129668 w 201579"/>
                <a:gd name="connsiteY15" fmla="*/ 10303 h 145823"/>
                <a:gd name="connsiteX16" fmla="*/ 87379 w 201579"/>
                <a:gd name="connsiteY16" fmla="*/ 10303 h 145823"/>
                <a:gd name="connsiteX17" fmla="*/ 39086 w 201579"/>
                <a:gd name="connsiteY17" fmla="*/ 10303 h 145823"/>
                <a:gd name="connsiteX18" fmla="*/ 12623 w 201579"/>
                <a:gd name="connsiteY18" fmla="*/ 18280 h 145823"/>
                <a:gd name="connsiteX19" fmla="*/ 9320 w 201579"/>
                <a:gd name="connsiteY19" fmla="*/ 60226 h 145823"/>
                <a:gd name="connsiteX20" fmla="*/ 10993 w 201579"/>
                <a:gd name="connsiteY20" fmla="*/ 70949 h 145823"/>
                <a:gd name="connsiteX21" fmla="*/ 31322 w 201579"/>
                <a:gd name="connsiteY21" fmla="*/ 73007 h 14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1579" h="145823">
                  <a:moveTo>
                    <a:pt x="31322" y="73007"/>
                  </a:moveTo>
                  <a:cubicBezTo>
                    <a:pt x="35011" y="79012"/>
                    <a:pt x="46891" y="84158"/>
                    <a:pt x="51309" y="81585"/>
                  </a:cubicBezTo>
                  <a:cubicBezTo>
                    <a:pt x="55727" y="79012"/>
                    <a:pt x="69837" y="87590"/>
                    <a:pt x="69837" y="94409"/>
                  </a:cubicBezTo>
                  <a:cubicBezTo>
                    <a:pt x="69837" y="101271"/>
                    <a:pt x="66148" y="121815"/>
                    <a:pt x="69837" y="121815"/>
                  </a:cubicBezTo>
                  <a:cubicBezTo>
                    <a:pt x="73182" y="121815"/>
                    <a:pt x="94541" y="129449"/>
                    <a:pt x="96000" y="139786"/>
                  </a:cubicBezTo>
                  <a:cubicBezTo>
                    <a:pt x="105564" y="140043"/>
                    <a:pt x="116415" y="140601"/>
                    <a:pt x="120489" y="141802"/>
                  </a:cubicBezTo>
                  <a:cubicBezTo>
                    <a:pt x="128424" y="144075"/>
                    <a:pt x="133313" y="138371"/>
                    <a:pt x="137259" y="132666"/>
                  </a:cubicBezTo>
                  <a:cubicBezTo>
                    <a:pt x="141205" y="126962"/>
                    <a:pt x="155015" y="124689"/>
                    <a:pt x="158961" y="124689"/>
                  </a:cubicBezTo>
                  <a:cubicBezTo>
                    <a:pt x="162907" y="124689"/>
                    <a:pt x="162907" y="112165"/>
                    <a:pt x="163893" y="106375"/>
                  </a:cubicBezTo>
                  <a:cubicBezTo>
                    <a:pt x="164923" y="100714"/>
                    <a:pt x="174787" y="90420"/>
                    <a:pt x="180706" y="88147"/>
                  </a:cubicBezTo>
                  <a:cubicBezTo>
                    <a:pt x="186668" y="85831"/>
                    <a:pt x="185639" y="77854"/>
                    <a:pt x="191557" y="77854"/>
                  </a:cubicBezTo>
                  <a:cubicBezTo>
                    <a:pt x="197475" y="77854"/>
                    <a:pt x="196489" y="68718"/>
                    <a:pt x="195503" y="63014"/>
                  </a:cubicBezTo>
                  <a:cubicBezTo>
                    <a:pt x="194902" y="59540"/>
                    <a:pt x="195632" y="55208"/>
                    <a:pt x="197905" y="50833"/>
                  </a:cubicBezTo>
                  <a:cubicBezTo>
                    <a:pt x="191557" y="46587"/>
                    <a:pt x="185810" y="42856"/>
                    <a:pt x="181006" y="38224"/>
                  </a:cubicBezTo>
                  <a:cubicBezTo>
                    <a:pt x="171957" y="29474"/>
                    <a:pt x="156816" y="17251"/>
                    <a:pt x="149311" y="19009"/>
                  </a:cubicBezTo>
                  <a:cubicBezTo>
                    <a:pt x="141762" y="20768"/>
                    <a:pt x="141762" y="5028"/>
                    <a:pt x="129668" y="10303"/>
                  </a:cubicBezTo>
                  <a:cubicBezTo>
                    <a:pt x="117616" y="15535"/>
                    <a:pt x="96429" y="10303"/>
                    <a:pt x="87379" y="10303"/>
                  </a:cubicBezTo>
                  <a:cubicBezTo>
                    <a:pt x="78329" y="10303"/>
                    <a:pt x="49636" y="1596"/>
                    <a:pt x="39086" y="10303"/>
                  </a:cubicBezTo>
                  <a:cubicBezTo>
                    <a:pt x="33038" y="15278"/>
                    <a:pt x="22530" y="17380"/>
                    <a:pt x="12623" y="18280"/>
                  </a:cubicBezTo>
                  <a:cubicBezTo>
                    <a:pt x="19357" y="34235"/>
                    <a:pt x="16912" y="50362"/>
                    <a:pt x="9320" y="60226"/>
                  </a:cubicBezTo>
                  <a:cubicBezTo>
                    <a:pt x="3917" y="67260"/>
                    <a:pt x="7047" y="68204"/>
                    <a:pt x="10993" y="70949"/>
                  </a:cubicBezTo>
                  <a:cubicBezTo>
                    <a:pt x="19142" y="70005"/>
                    <a:pt x="28363" y="68204"/>
                    <a:pt x="31322" y="7300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08" name="Freeform: Shape 161">
              <a:extLst>
                <a:ext uri="{FF2B5EF4-FFF2-40B4-BE49-F238E27FC236}">
                  <a16:creationId xmlns:a16="http://schemas.microsoft.com/office/drawing/2014/main" id="{56F1DE27-787F-2CCE-88CE-B35FC4D04B51}"/>
                </a:ext>
              </a:extLst>
            </p:cNvPr>
            <p:cNvSpPr/>
            <p:nvPr/>
          </p:nvSpPr>
          <p:spPr>
            <a:xfrm>
              <a:off x="7157554" y="2897825"/>
              <a:ext cx="121372" cy="78728"/>
            </a:xfrm>
            <a:custGeom>
              <a:avLst/>
              <a:gdLst>
                <a:gd name="connsiteX0" fmla="*/ 139076 w 158690"/>
                <a:gd name="connsiteY0" fmla="*/ 45092 h 102934"/>
                <a:gd name="connsiteX1" fmla="*/ 122049 w 158690"/>
                <a:gd name="connsiteY1" fmla="*/ 34798 h 102934"/>
                <a:gd name="connsiteX2" fmla="*/ 122092 w 158690"/>
                <a:gd name="connsiteY2" fmla="*/ 18586 h 102934"/>
                <a:gd name="connsiteX3" fmla="*/ 102792 w 158690"/>
                <a:gd name="connsiteY3" fmla="*/ 8850 h 102934"/>
                <a:gd name="connsiteX4" fmla="*/ 80103 w 158690"/>
                <a:gd name="connsiteY4" fmla="*/ 9965 h 102934"/>
                <a:gd name="connsiteX5" fmla="*/ 51753 w 158690"/>
                <a:gd name="connsiteY5" fmla="*/ 11123 h 102934"/>
                <a:gd name="connsiteX6" fmla="*/ 47250 w 158690"/>
                <a:gd name="connsiteY6" fmla="*/ 16827 h 102934"/>
                <a:gd name="connsiteX7" fmla="*/ 30223 w 158690"/>
                <a:gd name="connsiteY7" fmla="*/ 33125 h 102934"/>
                <a:gd name="connsiteX8" fmla="*/ 8735 w 158690"/>
                <a:gd name="connsiteY8" fmla="*/ 63963 h 102934"/>
                <a:gd name="connsiteX9" fmla="*/ 13196 w 158690"/>
                <a:gd name="connsiteY9" fmla="*/ 76830 h 102934"/>
                <a:gd name="connsiteX10" fmla="*/ 27992 w 158690"/>
                <a:gd name="connsiteY10" fmla="*/ 78545 h 102934"/>
                <a:gd name="connsiteX11" fmla="*/ 33911 w 158690"/>
                <a:gd name="connsiteY11" fmla="*/ 97416 h 102934"/>
                <a:gd name="connsiteX12" fmla="*/ 33825 w 158690"/>
                <a:gd name="connsiteY12" fmla="*/ 98017 h 102934"/>
                <a:gd name="connsiteX13" fmla="*/ 62304 w 158690"/>
                <a:gd name="connsiteY13" fmla="*/ 95658 h 102934"/>
                <a:gd name="connsiteX14" fmla="*/ 79074 w 158690"/>
                <a:gd name="connsiteY14" fmla="*/ 68252 h 102934"/>
                <a:gd name="connsiteX15" fmla="*/ 97816 w 158690"/>
                <a:gd name="connsiteY15" fmla="*/ 94543 h 102934"/>
                <a:gd name="connsiteX16" fmla="*/ 106695 w 158690"/>
                <a:gd name="connsiteY16" fmla="*/ 80818 h 102934"/>
                <a:gd name="connsiteX17" fmla="*/ 118532 w 158690"/>
                <a:gd name="connsiteY17" fmla="*/ 72841 h 102934"/>
                <a:gd name="connsiteX18" fmla="*/ 134358 w 158690"/>
                <a:gd name="connsiteY18" fmla="*/ 68252 h 102934"/>
                <a:gd name="connsiteX19" fmla="*/ 144223 w 158690"/>
                <a:gd name="connsiteY19" fmla="*/ 63705 h 102934"/>
                <a:gd name="connsiteX20" fmla="*/ 149155 w 158690"/>
                <a:gd name="connsiteY20" fmla="*/ 54570 h 102934"/>
                <a:gd name="connsiteX21" fmla="*/ 155631 w 158690"/>
                <a:gd name="connsiteY21" fmla="*/ 47622 h 102934"/>
                <a:gd name="connsiteX22" fmla="*/ 139076 w 158690"/>
                <a:gd name="connsiteY22" fmla="*/ 45092 h 102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8690" h="102934">
                  <a:moveTo>
                    <a:pt x="139076" y="45092"/>
                  </a:moveTo>
                  <a:cubicBezTo>
                    <a:pt x="132428" y="48523"/>
                    <a:pt x="122049" y="38229"/>
                    <a:pt x="122049" y="34798"/>
                  </a:cubicBezTo>
                  <a:cubicBezTo>
                    <a:pt x="122049" y="32396"/>
                    <a:pt x="120676" y="23861"/>
                    <a:pt x="122092" y="18586"/>
                  </a:cubicBezTo>
                  <a:cubicBezTo>
                    <a:pt x="116602" y="15284"/>
                    <a:pt x="108710" y="10866"/>
                    <a:pt x="102792" y="8850"/>
                  </a:cubicBezTo>
                  <a:cubicBezTo>
                    <a:pt x="92927" y="5462"/>
                    <a:pt x="87994" y="5462"/>
                    <a:pt x="80103" y="9965"/>
                  </a:cubicBezTo>
                  <a:cubicBezTo>
                    <a:pt x="75085" y="12882"/>
                    <a:pt x="61189" y="12067"/>
                    <a:pt x="51753" y="11123"/>
                  </a:cubicBezTo>
                  <a:cubicBezTo>
                    <a:pt x="50939" y="14554"/>
                    <a:pt x="49609" y="16827"/>
                    <a:pt x="47250" y="16827"/>
                  </a:cubicBezTo>
                  <a:cubicBezTo>
                    <a:pt x="40602" y="16827"/>
                    <a:pt x="31681" y="24548"/>
                    <a:pt x="30223" y="33125"/>
                  </a:cubicBezTo>
                  <a:cubicBezTo>
                    <a:pt x="28722" y="41703"/>
                    <a:pt x="13196" y="48523"/>
                    <a:pt x="8735" y="63963"/>
                  </a:cubicBezTo>
                  <a:cubicBezTo>
                    <a:pt x="4317" y="79360"/>
                    <a:pt x="6505" y="86222"/>
                    <a:pt x="13196" y="76830"/>
                  </a:cubicBezTo>
                  <a:cubicBezTo>
                    <a:pt x="19844" y="67394"/>
                    <a:pt x="27992" y="70825"/>
                    <a:pt x="27992" y="78545"/>
                  </a:cubicBezTo>
                  <a:cubicBezTo>
                    <a:pt x="27992" y="86265"/>
                    <a:pt x="36871" y="87123"/>
                    <a:pt x="33911" y="97416"/>
                  </a:cubicBezTo>
                  <a:cubicBezTo>
                    <a:pt x="33868" y="97674"/>
                    <a:pt x="33868" y="97760"/>
                    <a:pt x="33825" y="98017"/>
                  </a:cubicBezTo>
                  <a:cubicBezTo>
                    <a:pt x="43948" y="96988"/>
                    <a:pt x="58015" y="95658"/>
                    <a:pt x="62304" y="95658"/>
                  </a:cubicBezTo>
                  <a:cubicBezTo>
                    <a:pt x="69209" y="95658"/>
                    <a:pt x="76115" y="70568"/>
                    <a:pt x="79074" y="68252"/>
                  </a:cubicBezTo>
                  <a:cubicBezTo>
                    <a:pt x="82033" y="65979"/>
                    <a:pt x="89968" y="86566"/>
                    <a:pt x="97816" y="94543"/>
                  </a:cubicBezTo>
                  <a:cubicBezTo>
                    <a:pt x="105708" y="102520"/>
                    <a:pt x="106695" y="87681"/>
                    <a:pt x="106695" y="80818"/>
                  </a:cubicBezTo>
                  <a:cubicBezTo>
                    <a:pt x="106695" y="73956"/>
                    <a:pt x="113600" y="71683"/>
                    <a:pt x="118532" y="72841"/>
                  </a:cubicBezTo>
                  <a:cubicBezTo>
                    <a:pt x="123464" y="73956"/>
                    <a:pt x="134358" y="76272"/>
                    <a:pt x="134358" y="68252"/>
                  </a:cubicBezTo>
                  <a:cubicBezTo>
                    <a:pt x="134358" y="60317"/>
                    <a:pt x="140277" y="63705"/>
                    <a:pt x="144223" y="63705"/>
                  </a:cubicBezTo>
                  <a:cubicBezTo>
                    <a:pt x="148168" y="63705"/>
                    <a:pt x="149155" y="54570"/>
                    <a:pt x="149155" y="54570"/>
                  </a:cubicBezTo>
                  <a:lnTo>
                    <a:pt x="155631" y="47622"/>
                  </a:lnTo>
                  <a:cubicBezTo>
                    <a:pt x="150399" y="44491"/>
                    <a:pt x="144265" y="42390"/>
                    <a:pt x="139076" y="45092"/>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09" name="Freeform: Shape 162">
              <a:extLst>
                <a:ext uri="{FF2B5EF4-FFF2-40B4-BE49-F238E27FC236}">
                  <a16:creationId xmlns:a16="http://schemas.microsoft.com/office/drawing/2014/main" id="{79C454E0-73D2-E2DD-2902-633952E70319}"/>
                </a:ext>
              </a:extLst>
            </p:cNvPr>
            <p:cNvSpPr/>
            <p:nvPr/>
          </p:nvSpPr>
          <p:spPr>
            <a:xfrm>
              <a:off x="7154181" y="2614908"/>
              <a:ext cx="236184" cy="305072"/>
            </a:xfrm>
            <a:custGeom>
              <a:avLst/>
              <a:gdLst>
                <a:gd name="connsiteX0" fmla="*/ 43982 w 308802"/>
                <a:gd name="connsiteY0" fmla="*/ 108081 h 398870"/>
                <a:gd name="connsiteX1" fmla="*/ 27212 w 308802"/>
                <a:gd name="connsiteY1" fmla="*/ 126309 h 398870"/>
                <a:gd name="connsiteX2" fmla="*/ 38106 w 308802"/>
                <a:gd name="connsiteY2" fmla="*/ 146853 h 398870"/>
                <a:gd name="connsiteX3" fmla="*/ 31158 w 308802"/>
                <a:gd name="connsiteY3" fmla="*/ 159462 h 398870"/>
                <a:gd name="connsiteX4" fmla="*/ 12416 w 308802"/>
                <a:gd name="connsiteY4" fmla="*/ 169713 h 398870"/>
                <a:gd name="connsiteX5" fmla="*/ 10442 w 308802"/>
                <a:gd name="connsiteY5" fmla="*/ 187984 h 398870"/>
                <a:gd name="connsiteX6" fmla="*/ 6497 w 308802"/>
                <a:gd name="connsiteY6" fmla="*/ 218821 h 398870"/>
                <a:gd name="connsiteX7" fmla="*/ 15375 w 308802"/>
                <a:gd name="connsiteY7" fmla="*/ 242796 h 398870"/>
                <a:gd name="connsiteX8" fmla="*/ 8470 w 308802"/>
                <a:gd name="connsiteY8" fmla="*/ 257636 h 398870"/>
                <a:gd name="connsiteX9" fmla="*/ 19063 w 308802"/>
                <a:gd name="connsiteY9" fmla="*/ 289631 h 398870"/>
                <a:gd name="connsiteX10" fmla="*/ 26483 w 308802"/>
                <a:gd name="connsiteY10" fmla="*/ 294178 h 398870"/>
                <a:gd name="connsiteX11" fmla="*/ 47971 w 308802"/>
                <a:gd name="connsiteY11" fmla="*/ 306187 h 398870"/>
                <a:gd name="connsiteX12" fmla="*/ 65770 w 308802"/>
                <a:gd name="connsiteY12" fmla="*/ 313049 h 398870"/>
                <a:gd name="connsiteX13" fmla="*/ 72418 w 308802"/>
                <a:gd name="connsiteY13" fmla="*/ 325916 h 398870"/>
                <a:gd name="connsiteX14" fmla="*/ 59079 w 308802"/>
                <a:gd name="connsiteY14" fmla="*/ 357611 h 398870"/>
                <a:gd name="connsiteX15" fmla="*/ 56163 w 308802"/>
                <a:gd name="connsiteY15" fmla="*/ 381028 h 398870"/>
                <a:gd name="connsiteX16" fmla="*/ 84512 w 308802"/>
                <a:gd name="connsiteY16" fmla="*/ 379871 h 398870"/>
                <a:gd name="connsiteX17" fmla="*/ 107201 w 308802"/>
                <a:gd name="connsiteY17" fmla="*/ 378755 h 398870"/>
                <a:gd name="connsiteX18" fmla="*/ 126501 w 308802"/>
                <a:gd name="connsiteY18" fmla="*/ 388491 h 398870"/>
                <a:gd name="connsiteX19" fmla="*/ 130190 w 308802"/>
                <a:gd name="connsiteY19" fmla="*/ 384160 h 398870"/>
                <a:gd name="connsiteX20" fmla="*/ 149447 w 308802"/>
                <a:gd name="connsiteY20" fmla="*/ 390164 h 398870"/>
                <a:gd name="connsiteX21" fmla="*/ 169433 w 308802"/>
                <a:gd name="connsiteY21" fmla="*/ 386733 h 398870"/>
                <a:gd name="connsiteX22" fmla="*/ 188691 w 308802"/>
                <a:gd name="connsiteY22" fmla="*/ 385017 h 398870"/>
                <a:gd name="connsiteX23" fmla="*/ 222744 w 308802"/>
                <a:gd name="connsiteY23" fmla="*/ 377340 h 398870"/>
                <a:gd name="connsiteX24" fmla="*/ 236083 w 308802"/>
                <a:gd name="connsiteY24" fmla="*/ 366189 h 398870"/>
                <a:gd name="connsiteX25" fmla="*/ 249379 w 308802"/>
                <a:gd name="connsiteY25" fmla="*/ 342214 h 398870"/>
                <a:gd name="connsiteX26" fmla="*/ 267907 w 308802"/>
                <a:gd name="connsiteY26" fmla="*/ 325101 h 398870"/>
                <a:gd name="connsiteX27" fmla="*/ 233081 w 308802"/>
                <a:gd name="connsiteY27" fmla="*/ 295121 h 398870"/>
                <a:gd name="connsiteX28" fmla="*/ 221973 w 308802"/>
                <a:gd name="connsiteY28" fmla="*/ 262568 h 398870"/>
                <a:gd name="connsiteX29" fmla="*/ 219742 w 308802"/>
                <a:gd name="connsiteY29" fmla="*/ 242024 h 398870"/>
                <a:gd name="connsiteX30" fmla="*/ 254569 w 308802"/>
                <a:gd name="connsiteY30" fmla="*/ 226584 h 398870"/>
                <a:gd name="connsiteX31" fmla="*/ 281975 w 308802"/>
                <a:gd name="connsiteY31" fmla="*/ 212045 h 398870"/>
                <a:gd name="connsiteX32" fmla="*/ 299774 w 308802"/>
                <a:gd name="connsiteY32" fmla="*/ 211187 h 398870"/>
                <a:gd name="connsiteX33" fmla="*/ 300503 w 308802"/>
                <a:gd name="connsiteY33" fmla="*/ 189785 h 398870"/>
                <a:gd name="connsiteX34" fmla="*/ 292354 w 308802"/>
                <a:gd name="connsiteY34" fmla="*/ 158948 h 398870"/>
                <a:gd name="connsiteX35" fmla="*/ 287894 w 308802"/>
                <a:gd name="connsiteY35" fmla="*/ 138404 h 398870"/>
                <a:gd name="connsiteX36" fmla="*/ 280474 w 308802"/>
                <a:gd name="connsiteY36" fmla="*/ 119532 h 398870"/>
                <a:gd name="connsiteX37" fmla="*/ 278244 w 308802"/>
                <a:gd name="connsiteY37" fmla="*/ 104135 h 398870"/>
                <a:gd name="connsiteX38" fmla="*/ 278972 w 308802"/>
                <a:gd name="connsiteY38" fmla="*/ 63862 h 398870"/>
                <a:gd name="connsiteX39" fmla="*/ 278844 w 308802"/>
                <a:gd name="connsiteY39" fmla="*/ 59144 h 398870"/>
                <a:gd name="connsiteX40" fmla="*/ 276013 w 308802"/>
                <a:gd name="connsiteY40" fmla="*/ 54384 h 398870"/>
                <a:gd name="connsiteX41" fmla="*/ 256284 w 308802"/>
                <a:gd name="connsiteY41" fmla="*/ 41860 h 398870"/>
                <a:gd name="connsiteX42" fmla="*/ 259243 w 308802"/>
                <a:gd name="connsiteY42" fmla="*/ 19600 h 398870"/>
                <a:gd name="connsiteX43" fmla="*/ 229650 w 308802"/>
                <a:gd name="connsiteY43" fmla="*/ 28736 h 398870"/>
                <a:gd name="connsiteX44" fmla="*/ 192121 w 308802"/>
                <a:gd name="connsiteY44" fmla="*/ 53869 h 398870"/>
                <a:gd name="connsiteX45" fmla="*/ 174837 w 308802"/>
                <a:gd name="connsiteY45" fmla="*/ 38986 h 398870"/>
                <a:gd name="connsiteX46" fmla="*/ 163000 w 308802"/>
                <a:gd name="connsiteY46" fmla="*/ 32167 h 398870"/>
                <a:gd name="connsiteX47" fmla="*/ 138296 w 308802"/>
                <a:gd name="connsiteY47" fmla="*/ 18442 h 398870"/>
                <a:gd name="connsiteX48" fmla="*/ 136365 w 308802"/>
                <a:gd name="connsiteY48" fmla="*/ 9564 h 398870"/>
                <a:gd name="connsiteX49" fmla="*/ 124013 w 308802"/>
                <a:gd name="connsiteY49" fmla="*/ 9864 h 398870"/>
                <a:gd name="connsiteX50" fmla="*/ 93519 w 308802"/>
                <a:gd name="connsiteY50" fmla="*/ 6433 h 398870"/>
                <a:gd name="connsiteX51" fmla="*/ 99309 w 308802"/>
                <a:gd name="connsiteY51" fmla="*/ 24747 h 398870"/>
                <a:gd name="connsiteX52" fmla="*/ 108187 w 308802"/>
                <a:gd name="connsiteY52" fmla="*/ 57858 h 398870"/>
                <a:gd name="connsiteX53" fmla="*/ 93862 w 308802"/>
                <a:gd name="connsiteY53" fmla="*/ 73298 h 398870"/>
                <a:gd name="connsiteX54" fmla="*/ 69201 w 308802"/>
                <a:gd name="connsiteY54" fmla="*/ 69309 h 398870"/>
                <a:gd name="connsiteX55" fmla="*/ 44025 w 308802"/>
                <a:gd name="connsiteY55" fmla="*/ 73898 h 398870"/>
                <a:gd name="connsiteX56" fmla="*/ 43081 w 308802"/>
                <a:gd name="connsiteY56" fmla="*/ 82004 h 398870"/>
                <a:gd name="connsiteX57" fmla="*/ 43982 w 308802"/>
                <a:gd name="connsiteY57" fmla="*/ 108081 h 39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08802" h="398870">
                  <a:moveTo>
                    <a:pt x="43982" y="108081"/>
                  </a:moveTo>
                  <a:cubicBezTo>
                    <a:pt x="36090" y="121763"/>
                    <a:pt x="25240" y="122878"/>
                    <a:pt x="27212" y="126309"/>
                  </a:cubicBezTo>
                  <a:cubicBezTo>
                    <a:pt x="29185" y="129740"/>
                    <a:pt x="41065" y="141192"/>
                    <a:pt x="38106" y="146853"/>
                  </a:cubicBezTo>
                  <a:cubicBezTo>
                    <a:pt x="35147" y="152557"/>
                    <a:pt x="31158" y="149169"/>
                    <a:pt x="31158" y="159462"/>
                  </a:cubicBezTo>
                  <a:cubicBezTo>
                    <a:pt x="31158" y="169713"/>
                    <a:pt x="17305" y="169713"/>
                    <a:pt x="12416" y="169713"/>
                  </a:cubicBezTo>
                  <a:cubicBezTo>
                    <a:pt x="7483" y="169713"/>
                    <a:pt x="13402" y="180006"/>
                    <a:pt x="10442" y="187984"/>
                  </a:cubicBezTo>
                  <a:cubicBezTo>
                    <a:pt x="7483" y="195961"/>
                    <a:pt x="7483" y="211959"/>
                    <a:pt x="6497" y="218821"/>
                  </a:cubicBezTo>
                  <a:cubicBezTo>
                    <a:pt x="5510" y="225684"/>
                    <a:pt x="16361" y="237092"/>
                    <a:pt x="15375" y="242796"/>
                  </a:cubicBezTo>
                  <a:cubicBezTo>
                    <a:pt x="14388" y="248544"/>
                    <a:pt x="6497" y="253090"/>
                    <a:pt x="8470" y="257636"/>
                  </a:cubicBezTo>
                  <a:cubicBezTo>
                    <a:pt x="10314" y="261968"/>
                    <a:pt x="17433" y="268530"/>
                    <a:pt x="19063" y="289631"/>
                  </a:cubicBezTo>
                  <a:cubicBezTo>
                    <a:pt x="22452" y="290789"/>
                    <a:pt x="25240" y="292248"/>
                    <a:pt x="26483" y="294178"/>
                  </a:cubicBezTo>
                  <a:cubicBezTo>
                    <a:pt x="30944" y="301040"/>
                    <a:pt x="38320" y="306187"/>
                    <a:pt x="47971" y="306187"/>
                  </a:cubicBezTo>
                  <a:cubicBezTo>
                    <a:pt x="57621" y="306187"/>
                    <a:pt x="61309" y="313907"/>
                    <a:pt x="65770" y="313049"/>
                  </a:cubicBezTo>
                  <a:cubicBezTo>
                    <a:pt x="70230" y="312191"/>
                    <a:pt x="82068" y="316523"/>
                    <a:pt x="72418" y="325916"/>
                  </a:cubicBezTo>
                  <a:cubicBezTo>
                    <a:pt x="62811" y="335352"/>
                    <a:pt x="61309" y="346460"/>
                    <a:pt x="59079" y="357611"/>
                  </a:cubicBezTo>
                  <a:cubicBezTo>
                    <a:pt x="57621" y="364816"/>
                    <a:pt x="57749" y="374810"/>
                    <a:pt x="56163" y="381028"/>
                  </a:cubicBezTo>
                  <a:cubicBezTo>
                    <a:pt x="65555" y="381972"/>
                    <a:pt x="79452" y="382787"/>
                    <a:pt x="84512" y="379871"/>
                  </a:cubicBezTo>
                  <a:cubicBezTo>
                    <a:pt x="92404" y="375324"/>
                    <a:pt x="97336" y="375324"/>
                    <a:pt x="107201" y="378755"/>
                  </a:cubicBezTo>
                  <a:cubicBezTo>
                    <a:pt x="113077" y="380771"/>
                    <a:pt x="120968" y="385232"/>
                    <a:pt x="126501" y="388491"/>
                  </a:cubicBezTo>
                  <a:cubicBezTo>
                    <a:pt x="127102" y="386175"/>
                    <a:pt x="128174" y="384417"/>
                    <a:pt x="130190" y="384160"/>
                  </a:cubicBezTo>
                  <a:cubicBezTo>
                    <a:pt x="136838" y="383302"/>
                    <a:pt x="144986" y="398699"/>
                    <a:pt x="149447" y="390164"/>
                  </a:cubicBezTo>
                  <a:cubicBezTo>
                    <a:pt x="153907" y="381586"/>
                    <a:pt x="164243" y="383345"/>
                    <a:pt x="169433" y="386733"/>
                  </a:cubicBezTo>
                  <a:cubicBezTo>
                    <a:pt x="174623" y="390164"/>
                    <a:pt x="182772" y="391880"/>
                    <a:pt x="188691" y="385017"/>
                  </a:cubicBezTo>
                  <a:cubicBezTo>
                    <a:pt x="194609" y="378155"/>
                    <a:pt x="217555" y="374767"/>
                    <a:pt x="222744" y="377340"/>
                  </a:cubicBezTo>
                  <a:cubicBezTo>
                    <a:pt x="227934" y="379913"/>
                    <a:pt x="241273" y="386776"/>
                    <a:pt x="236083" y="366189"/>
                  </a:cubicBezTo>
                  <a:cubicBezTo>
                    <a:pt x="230894" y="345645"/>
                    <a:pt x="247149" y="349934"/>
                    <a:pt x="249379" y="342214"/>
                  </a:cubicBezTo>
                  <a:cubicBezTo>
                    <a:pt x="251609" y="334494"/>
                    <a:pt x="270867" y="331106"/>
                    <a:pt x="267907" y="325101"/>
                  </a:cubicBezTo>
                  <a:cubicBezTo>
                    <a:pt x="264948" y="319096"/>
                    <a:pt x="240501" y="301083"/>
                    <a:pt x="233081" y="295121"/>
                  </a:cubicBezTo>
                  <a:cubicBezTo>
                    <a:pt x="225661" y="289117"/>
                    <a:pt x="225661" y="270246"/>
                    <a:pt x="221973" y="262568"/>
                  </a:cubicBezTo>
                  <a:cubicBezTo>
                    <a:pt x="218284" y="254848"/>
                    <a:pt x="210135" y="244598"/>
                    <a:pt x="219742" y="242024"/>
                  </a:cubicBezTo>
                  <a:cubicBezTo>
                    <a:pt x="229350" y="239451"/>
                    <a:pt x="246419" y="235162"/>
                    <a:pt x="254569" y="226584"/>
                  </a:cubicBezTo>
                  <a:cubicBezTo>
                    <a:pt x="262718" y="218006"/>
                    <a:pt x="277514" y="217149"/>
                    <a:pt x="281975" y="212045"/>
                  </a:cubicBezTo>
                  <a:cubicBezTo>
                    <a:pt x="286393" y="206898"/>
                    <a:pt x="296771" y="216334"/>
                    <a:pt x="299774" y="211187"/>
                  </a:cubicBezTo>
                  <a:cubicBezTo>
                    <a:pt x="302733" y="206040"/>
                    <a:pt x="304963" y="195747"/>
                    <a:pt x="300503" y="189785"/>
                  </a:cubicBezTo>
                  <a:cubicBezTo>
                    <a:pt x="296043" y="183781"/>
                    <a:pt x="293083" y="173530"/>
                    <a:pt x="292354" y="158948"/>
                  </a:cubicBezTo>
                  <a:cubicBezTo>
                    <a:pt x="291582" y="144365"/>
                    <a:pt x="287894" y="145223"/>
                    <a:pt x="287894" y="138404"/>
                  </a:cubicBezTo>
                  <a:cubicBezTo>
                    <a:pt x="287894" y="131541"/>
                    <a:pt x="285663" y="122964"/>
                    <a:pt x="280474" y="119532"/>
                  </a:cubicBezTo>
                  <a:cubicBezTo>
                    <a:pt x="275284" y="116101"/>
                    <a:pt x="273096" y="113528"/>
                    <a:pt x="278244" y="104135"/>
                  </a:cubicBezTo>
                  <a:cubicBezTo>
                    <a:pt x="283433" y="94700"/>
                    <a:pt x="281203" y="70724"/>
                    <a:pt x="278972" y="63862"/>
                  </a:cubicBezTo>
                  <a:cubicBezTo>
                    <a:pt x="278544" y="62490"/>
                    <a:pt x="278586" y="60903"/>
                    <a:pt x="278844" y="59144"/>
                  </a:cubicBezTo>
                  <a:cubicBezTo>
                    <a:pt x="277514" y="58415"/>
                    <a:pt x="276442" y="56914"/>
                    <a:pt x="276013" y="54384"/>
                  </a:cubicBezTo>
                  <a:cubicBezTo>
                    <a:pt x="274512" y="45248"/>
                    <a:pt x="269108" y="41860"/>
                    <a:pt x="256284" y="41860"/>
                  </a:cubicBezTo>
                  <a:cubicBezTo>
                    <a:pt x="243417" y="41860"/>
                    <a:pt x="264176" y="27020"/>
                    <a:pt x="259243" y="19600"/>
                  </a:cubicBezTo>
                  <a:cubicBezTo>
                    <a:pt x="254311" y="12181"/>
                    <a:pt x="241444" y="33282"/>
                    <a:pt x="229650" y="28736"/>
                  </a:cubicBezTo>
                  <a:cubicBezTo>
                    <a:pt x="217770" y="24190"/>
                    <a:pt x="202501" y="44776"/>
                    <a:pt x="192121" y="53869"/>
                  </a:cubicBezTo>
                  <a:cubicBezTo>
                    <a:pt x="181743" y="63004"/>
                    <a:pt x="166945" y="52153"/>
                    <a:pt x="174837" y="38986"/>
                  </a:cubicBezTo>
                  <a:cubicBezTo>
                    <a:pt x="182729" y="25862"/>
                    <a:pt x="174837" y="27020"/>
                    <a:pt x="163000" y="32167"/>
                  </a:cubicBezTo>
                  <a:cubicBezTo>
                    <a:pt x="151162" y="37271"/>
                    <a:pt x="136838" y="31009"/>
                    <a:pt x="138296" y="18442"/>
                  </a:cubicBezTo>
                  <a:cubicBezTo>
                    <a:pt x="138639" y="15269"/>
                    <a:pt x="137781" y="12309"/>
                    <a:pt x="136365" y="9564"/>
                  </a:cubicBezTo>
                  <a:cubicBezTo>
                    <a:pt x="130575" y="10465"/>
                    <a:pt x="126115" y="10722"/>
                    <a:pt x="124013" y="9864"/>
                  </a:cubicBezTo>
                  <a:cubicBezTo>
                    <a:pt x="118738" y="7849"/>
                    <a:pt x="106686" y="6734"/>
                    <a:pt x="93519" y="6433"/>
                  </a:cubicBezTo>
                  <a:cubicBezTo>
                    <a:pt x="97465" y="13081"/>
                    <a:pt x="101711" y="19600"/>
                    <a:pt x="99309" y="24747"/>
                  </a:cubicBezTo>
                  <a:cubicBezTo>
                    <a:pt x="94892" y="34483"/>
                    <a:pt x="101797" y="43575"/>
                    <a:pt x="108187" y="57858"/>
                  </a:cubicBezTo>
                  <a:cubicBezTo>
                    <a:pt x="114621" y="72140"/>
                    <a:pt x="94377" y="64162"/>
                    <a:pt x="93862" y="73298"/>
                  </a:cubicBezTo>
                  <a:cubicBezTo>
                    <a:pt x="93391" y="82433"/>
                    <a:pt x="75120" y="72740"/>
                    <a:pt x="69201" y="69309"/>
                  </a:cubicBezTo>
                  <a:cubicBezTo>
                    <a:pt x="63282" y="65878"/>
                    <a:pt x="43510" y="68151"/>
                    <a:pt x="44025" y="73898"/>
                  </a:cubicBezTo>
                  <a:cubicBezTo>
                    <a:pt x="44239" y="76171"/>
                    <a:pt x="43939" y="79302"/>
                    <a:pt x="43081" y="82004"/>
                  </a:cubicBezTo>
                  <a:cubicBezTo>
                    <a:pt x="45655" y="92898"/>
                    <a:pt x="46855" y="103106"/>
                    <a:pt x="43982" y="10808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10" name="Freeform: Shape 163">
              <a:extLst>
                <a:ext uri="{FF2B5EF4-FFF2-40B4-BE49-F238E27FC236}">
                  <a16:creationId xmlns:a16="http://schemas.microsoft.com/office/drawing/2014/main" id="{B948095C-CC01-C973-2551-05E678D6C267}"/>
                </a:ext>
              </a:extLst>
            </p:cNvPr>
            <p:cNvSpPr/>
            <p:nvPr/>
          </p:nvSpPr>
          <p:spPr>
            <a:xfrm>
              <a:off x="7526548" y="1901224"/>
              <a:ext cx="275548" cy="498611"/>
            </a:xfrm>
            <a:custGeom>
              <a:avLst/>
              <a:gdLst>
                <a:gd name="connsiteX0" fmla="*/ 345173 w 360270"/>
                <a:gd name="connsiteY0" fmla="*/ 458719 h 651917"/>
                <a:gd name="connsiteX1" fmla="*/ 302713 w 360270"/>
                <a:gd name="connsiteY1" fmla="*/ 421062 h 651917"/>
                <a:gd name="connsiteX2" fmla="*/ 323428 w 360270"/>
                <a:gd name="connsiteY2" fmla="*/ 399317 h 651917"/>
                <a:gd name="connsiteX3" fmla="*/ 305672 w 360270"/>
                <a:gd name="connsiteY3" fmla="*/ 378773 h 651917"/>
                <a:gd name="connsiteX4" fmla="*/ 310604 w 360270"/>
                <a:gd name="connsiteY4" fmla="*/ 359344 h 651917"/>
                <a:gd name="connsiteX5" fmla="*/ 293835 w 360270"/>
                <a:gd name="connsiteY5" fmla="*/ 346777 h 651917"/>
                <a:gd name="connsiteX6" fmla="*/ 301726 w 360270"/>
                <a:gd name="connsiteY6" fmla="*/ 335369 h 651917"/>
                <a:gd name="connsiteX7" fmla="*/ 296794 w 360270"/>
                <a:gd name="connsiteY7" fmla="*/ 305647 h 651917"/>
                <a:gd name="connsiteX8" fmla="*/ 307645 w 360270"/>
                <a:gd name="connsiteY8" fmla="*/ 282829 h 651917"/>
                <a:gd name="connsiteX9" fmla="*/ 276036 w 360270"/>
                <a:gd name="connsiteY9" fmla="*/ 224586 h 651917"/>
                <a:gd name="connsiteX10" fmla="*/ 285943 w 360270"/>
                <a:gd name="connsiteY10" fmla="*/ 201769 h 651917"/>
                <a:gd name="connsiteX11" fmla="*/ 306659 w 360270"/>
                <a:gd name="connsiteY11" fmla="*/ 173204 h 651917"/>
                <a:gd name="connsiteX12" fmla="*/ 282941 w 360270"/>
                <a:gd name="connsiteY12" fmla="*/ 144640 h 651917"/>
                <a:gd name="connsiteX13" fmla="*/ 262225 w 360270"/>
                <a:gd name="connsiteY13" fmla="*/ 130916 h 651917"/>
                <a:gd name="connsiteX14" fmla="*/ 257250 w 360270"/>
                <a:gd name="connsiteY14" fmla="*/ 109214 h 651917"/>
                <a:gd name="connsiteX15" fmla="*/ 262225 w 360270"/>
                <a:gd name="connsiteY15" fmla="*/ 88670 h 651917"/>
                <a:gd name="connsiteX16" fmla="*/ 275006 w 360270"/>
                <a:gd name="connsiteY16" fmla="*/ 77261 h 651917"/>
                <a:gd name="connsiteX17" fmla="*/ 282383 w 360270"/>
                <a:gd name="connsiteY17" fmla="*/ 63193 h 651917"/>
                <a:gd name="connsiteX18" fmla="*/ 282383 w 360270"/>
                <a:gd name="connsiteY18" fmla="*/ 41663 h 651917"/>
                <a:gd name="connsiteX19" fmla="*/ 247471 w 360270"/>
                <a:gd name="connsiteY19" fmla="*/ 14128 h 651917"/>
                <a:gd name="connsiteX20" fmla="*/ 220494 w 360270"/>
                <a:gd name="connsiteY20" fmla="*/ 14128 h 651917"/>
                <a:gd name="connsiteX21" fmla="*/ 187169 w 360270"/>
                <a:gd name="connsiteY21" fmla="*/ 23306 h 651917"/>
                <a:gd name="connsiteX22" fmla="*/ 166582 w 360270"/>
                <a:gd name="connsiteY22" fmla="*/ 48997 h 651917"/>
                <a:gd name="connsiteX23" fmla="*/ 160234 w 360270"/>
                <a:gd name="connsiteY23" fmla="*/ 82022 h 651917"/>
                <a:gd name="connsiteX24" fmla="*/ 145952 w 360270"/>
                <a:gd name="connsiteY24" fmla="*/ 104024 h 651917"/>
                <a:gd name="connsiteX25" fmla="*/ 126909 w 360270"/>
                <a:gd name="connsiteY25" fmla="*/ 98491 h 651917"/>
                <a:gd name="connsiteX26" fmla="*/ 101519 w 360270"/>
                <a:gd name="connsiteY26" fmla="*/ 96647 h 651917"/>
                <a:gd name="connsiteX27" fmla="*/ 65063 w 360270"/>
                <a:gd name="connsiteY27" fmla="*/ 94803 h 651917"/>
                <a:gd name="connsiteX28" fmla="*/ 28564 w 360270"/>
                <a:gd name="connsiteY28" fmla="*/ 63622 h 651917"/>
                <a:gd name="connsiteX29" fmla="*/ 6433 w 360270"/>
                <a:gd name="connsiteY29" fmla="*/ 82451 h 651917"/>
                <a:gd name="connsiteX30" fmla="*/ 42846 w 360270"/>
                <a:gd name="connsiteY30" fmla="*/ 113159 h 651917"/>
                <a:gd name="connsiteX31" fmla="*/ 90453 w 360270"/>
                <a:gd name="connsiteY31" fmla="*/ 146184 h 651917"/>
                <a:gd name="connsiteX32" fmla="*/ 91997 w 360270"/>
                <a:gd name="connsiteY32" fmla="*/ 182897 h 651917"/>
                <a:gd name="connsiteX33" fmla="*/ 99932 w 360270"/>
                <a:gd name="connsiteY33" fmla="*/ 217766 h 651917"/>
                <a:gd name="connsiteX34" fmla="*/ 98345 w 360270"/>
                <a:gd name="connsiteY34" fmla="*/ 250791 h 651917"/>
                <a:gd name="connsiteX35" fmla="*/ 104735 w 360270"/>
                <a:gd name="connsiteY35" fmla="*/ 270949 h 651917"/>
                <a:gd name="connsiteX36" fmla="*/ 109411 w 360270"/>
                <a:gd name="connsiteY36" fmla="*/ 289992 h 651917"/>
                <a:gd name="connsiteX37" fmla="*/ 136302 w 360270"/>
                <a:gd name="connsiteY37" fmla="*/ 302773 h 651917"/>
                <a:gd name="connsiteX38" fmla="*/ 148139 w 360270"/>
                <a:gd name="connsiteY38" fmla="*/ 332452 h 651917"/>
                <a:gd name="connsiteX39" fmla="*/ 142221 w 360270"/>
                <a:gd name="connsiteY39" fmla="*/ 346134 h 651917"/>
                <a:gd name="connsiteX40" fmla="*/ 123907 w 360270"/>
                <a:gd name="connsiteY40" fmla="*/ 363290 h 651917"/>
                <a:gd name="connsiteX41" fmla="*/ 89853 w 360270"/>
                <a:gd name="connsiteY41" fmla="*/ 402105 h 651917"/>
                <a:gd name="connsiteX42" fmla="*/ 70081 w 360270"/>
                <a:gd name="connsiteY42" fmla="*/ 419818 h 651917"/>
                <a:gd name="connsiteX43" fmla="*/ 55670 w 360270"/>
                <a:gd name="connsiteY43" fmla="*/ 429211 h 651917"/>
                <a:gd name="connsiteX44" fmla="*/ 52711 w 360270"/>
                <a:gd name="connsiteY44" fmla="*/ 436202 h 651917"/>
                <a:gd name="connsiteX45" fmla="*/ 52325 w 360270"/>
                <a:gd name="connsiteY45" fmla="*/ 440962 h 651917"/>
                <a:gd name="connsiteX46" fmla="*/ 30365 w 360270"/>
                <a:gd name="connsiteY46" fmla="*/ 454087 h 651917"/>
                <a:gd name="connsiteX47" fmla="*/ 25948 w 360270"/>
                <a:gd name="connsiteY47" fmla="*/ 455073 h 651917"/>
                <a:gd name="connsiteX48" fmla="*/ 14282 w 360270"/>
                <a:gd name="connsiteY48" fmla="*/ 478662 h 651917"/>
                <a:gd name="connsiteX49" fmla="*/ 15268 w 360270"/>
                <a:gd name="connsiteY49" fmla="*/ 500965 h 651917"/>
                <a:gd name="connsiteX50" fmla="*/ 18700 w 360270"/>
                <a:gd name="connsiteY50" fmla="*/ 527813 h 651917"/>
                <a:gd name="connsiteX51" fmla="*/ 24618 w 360270"/>
                <a:gd name="connsiteY51" fmla="*/ 571174 h 651917"/>
                <a:gd name="connsiteX52" fmla="*/ 15740 w 360270"/>
                <a:gd name="connsiteY52" fmla="*/ 611190 h 651917"/>
                <a:gd name="connsiteX53" fmla="*/ 46835 w 360270"/>
                <a:gd name="connsiteY53" fmla="*/ 625472 h 651917"/>
                <a:gd name="connsiteX54" fmla="*/ 67079 w 360270"/>
                <a:gd name="connsiteY54" fmla="*/ 638039 h 651917"/>
                <a:gd name="connsiteX55" fmla="*/ 103620 w 360270"/>
                <a:gd name="connsiteY55" fmla="*/ 647174 h 651917"/>
                <a:gd name="connsiteX56" fmla="*/ 207327 w 360270"/>
                <a:gd name="connsiteY56" fmla="*/ 619768 h 651917"/>
                <a:gd name="connsiteX57" fmla="*/ 237263 w 360270"/>
                <a:gd name="connsiteY57" fmla="*/ 615822 h 651917"/>
                <a:gd name="connsiteX58" fmla="*/ 253261 w 360270"/>
                <a:gd name="connsiteY58" fmla="*/ 592362 h 651917"/>
                <a:gd name="connsiteX59" fmla="*/ 304599 w 360270"/>
                <a:gd name="connsiteY59" fmla="*/ 544369 h 651917"/>
                <a:gd name="connsiteX60" fmla="*/ 354008 w 360270"/>
                <a:gd name="connsiteY60" fmla="*/ 489556 h 651917"/>
                <a:gd name="connsiteX61" fmla="*/ 345173 w 360270"/>
                <a:gd name="connsiteY61" fmla="*/ 458719 h 65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60270" h="651917">
                  <a:moveTo>
                    <a:pt x="345173" y="458719"/>
                  </a:moveTo>
                  <a:cubicBezTo>
                    <a:pt x="332349" y="441606"/>
                    <a:pt x="303699" y="430154"/>
                    <a:pt x="302713" y="421062"/>
                  </a:cubicBezTo>
                  <a:cubicBezTo>
                    <a:pt x="301726" y="411883"/>
                    <a:pt x="324457" y="410768"/>
                    <a:pt x="323428" y="399317"/>
                  </a:cubicBezTo>
                  <a:cubicBezTo>
                    <a:pt x="322442" y="387908"/>
                    <a:pt x="310604" y="387908"/>
                    <a:pt x="305672" y="378773"/>
                  </a:cubicBezTo>
                  <a:cubicBezTo>
                    <a:pt x="300740" y="369638"/>
                    <a:pt x="311590" y="363890"/>
                    <a:pt x="310604" y="359344"/>
                  </a:cubicBezTo>
                  <a:cubicBezTo>
                    <a:pt x="309618" y="354798"/>
                    <a:pt x="294821" y="352482"/>
                    <a:pt x="293835" y="346777"/>
                  </a:cubicBezTo>
                  <a:cubicBezTo>
                    <a:pt x="292848" y="341073"/>
                    <a:pt x="303742" y="342231"/>
                    <a:pt x="301726" y="335369"/>
                  </a:cubicBezTo>
                  <a:cubicBezTo>
                    <a:pt x="299753" y="328507"/>
                    <a:pt x="289889" y="315940"/>
                    <a:pt x="296794" y="305647"/>
                  </a:cubicBezTo>
                  <a:cubicBezTo>
                    <a:pt x="303699" y="295396"/>
                    <a:pt x="318538" y="305647"/>
                    <a:pt x="307645" y="282829"/>
                  </a:cubicBezTo>
                  <a:cubicBezTo>
                    <a:pt x="296794" y="260012"/>
                    <a:pt x="280024" y="231448"/>
                    <a:pt x="276036" y="224586"/>
                  </a:cubicBezTo>
                  <a:cubicBezTo>
                    <a:pt x="272090" y="217724"/>
                    <a:pt x="279981" y="206272"/>
                    <a:pt x="285943" y="201769"/>
                  </a:cubicBezTo>
                  <a:cubicBezTo>
                    <a:pt x="291861" y="197179"/>
                    <a:pt x="306659" y="180067"/>
                    <a:pt x="306659" y="173204"/>
                  </a:cubicBezTo>
                  <a:cubicBezTo>
                    <a:pt x="306659" y="166342"/>
                    <a:pt x="287873" y="148071"/>
                    <a:pt x="282941" y="144640"/>
                  </a:cubicBezTo>
                  <a:cubicBezTo>
                    <a:pt x="278008" y="141209"/>
                    <a:pt x="267157" y="142367"/>
                    <a:pt x="262225" y="130916"/>
                  </a:cubicBezTo>
                  <a:cubicBezTo>
                    <a:pt x="257250" y="119507"/>
                    <a:pt x="252361" y="116076"/>
                    <a:pt x="257250" y="109214"/>
                  </a:cubicBezTo>
                  <a:cubicBezTo>
                    <a:pt x="262225" y="102351"/>
                    <a:pt x="262225" y="95532"/>
                    <a:pt x="262225" y="88670"/>
                  </a:cubicBezTo>
                  <a:cubicBezTo>
                    <a:pt x="262225" y="81807"/>
                    <a:pt x="273076" y="87512"/>
                    <a:pt x="275006" y="77261"/>
                  </a:cubicBezTo>
                  <a:cubicBezTo>
                    <a:pt x="275907" y="72586"/>
                    <a:pt x="278738" y="67439"/>
                    <a:pt x="282383" y="63193"/>
                  </a:cubicBezTo>
                  <a:cubicBezTo>
                    <a:pt x="282426" y="55387"/>
                    <a:pt x="283155" y="47024"/>
                    <a:pt x="282383" y="41663"/>
                  </a:cubicBezTo>
                  <a:cubicBezTo>
                    <a:pt x="280796" y="30640"/>
                    <a:pt x="253819" y="26995"/>
                    <a:pt x="247471" y="14128"/>
                  </a:cubicBezTo>
                  <a:cubicBezTo>
                    <a:pt x="241081" y="1304"/>
                    <a:pt x="225254" y="6794"/>
                    <a:pt x="220494" y="14128"/>
                  </a:cubicBezTo>
                  <a:cubicBezTo>
                    <a:pt x="215776" y="21462"/>
                    <a:pt x="187169" y="12327"/>
                    <a:pt x="187169" y="23306"/>
                  </a:cubicBezTo>
                  <a:cubicBezTo>
                    <a:pt x="187169" y="34286"/>
                    <a:pt x="166582" y="36173"/>
                    <a:pt x="166582" y="48997"/>
                  </a:cubicBezTo>
                  <a:cubicBezTo>
                    <a:pt x="166582" y="61821"/>
                    <a:pt x="176103" y="83866"/>
                    <a:pt x="160234" y="82022"/>
                  </a:cubicBezTo>
                  <a:cubicBezTo>
                    <a:pt x="144365" y="80177"/>
                    <a:pt x="155474" y="89356"/>
                    <a:pt x="145952" y="104024"/>
                  </a:cubicBezTo>
                  <a:cubicBezTo>
                    <a:pt x="136431" y="118692"/>
                    <a:pt x="136431" y="94803"/>
                    <a:pt x="126909" y="98491"/>
                  </a:cubicBezTo>
                  <a:cubicBezTo>
                    <a:pt x="117388" y="102137"/>
                    <a:pt x="106279" y="87469"/>
                    <a:pt x="101519" y="96647"/>
                  </a:cubicBezTo>
                  <a:cubicBezTo>
                    <a:pt x="96758" y="105868"/>
                    <a:pt x="80889" y="98491"/>
                    <a:pt x="65063" y="94803"/>
                  </a:cubicBezTo>
                  <a:cubicBezTo>
                    <a:pt x="49194" y="91157"/>
                    <a:pt x="41259" y="65466"/>
                    <a:pt x="28564" y="63622"/>
                  </a:cubicBezTo>
                  <a:cubicBezTo>
                    <a:pt x="20158" y="62421"/>
                    <a:pt x="11151" y="70184"/>
                    <a:pt x="6433" y="82451"/>
                  </a:cubicBezTo>
                  <a:cubicBezTo>
                    <a:pt x="18743" y="91629"/>
                    <a:pt x="26806" y="104710"/>
                    <a:pt x="42846" y="113159"/>
                  </a:cubicBezTo>
                  <a:cubicBezTo>
                    <a:pt x="60302" y="122338"/>
                    <a:pt x="92040" y="133317"/>
                    <a:pt x="90453" y="146184"/>
                  </a:cubicBezTo>
                  <a:cubicBezTo>
                    <a:pt x="88867" y="159008"/>
                    <a:pt x="84063" y="177365"/>
                    <a:pt x="91997" y="182897"/>
                  </a:cubicBezTo>
                  <a:cubicBezTo>
                    <a:pt x="99932" y="188387"/>
                    <a:pt x="90453" y="212234"/>
                    <a:pt x="99932" y="217766"/>
                  </a:cubicBezTo>
                  <a:cubicBezTo>
                    <a:pt x="109453" y="223299"/>
                    <a:pt x="106279" y="250791"/>
                    <a:pt x="98345" y="250791"/>
                  </a:cubicBezTo>
                  <a:cubicBezTo>
                    <a:pt x="90453" y="250791"/>
                    <a:pt x="99932" y="265459"/>
                    <a:pt x="104735" y="270949"/>
                  </a:cubicBezTo>
                  <a:cubicBezTo>
                    <a:pt x="106880" y="273480"/>
                    <a:pt x="108638" y="280942"/>
                    <a:pt x="109411" y="289992"/>
                  </a:cubicBezTo>
                  <a:cubicBezTo>
                    <a:pt x="119146" y="292737"/>
                    <a:pt x="127810" y="298398"/>
                    <a:pt x="136302" y="302773"/>
                  </a:cubicBezTo>
                  <a:cubicBezTo>
                    <a:pt x="149641" y="309635"/>
                    <a:pt x="147625" y="320486"/>
                    <a:pt x="148139" y="332452"/>
                  </a:cubicBezTo>
                  <a:cubicBezTo>
                    <a:pt x="148611" y="344419"/>
                    <a:pt x="149126" y="351281"/>
                    <a:pt x="142221" y="346134"/>
                  </a:cubicBezTo>
                  <a:cubicBezTo>
                    <a:pt x="135315" y="341030"/>
                    <a:pt x="127896" y="346134"/>
                    <a:pt x="123907" y="363290"/>
                  </a:cubicBezTo>
                  <a:cubicBezTo>
                    <a:pt x="119961" y="380403"/>
                    <a:pt x="101219" y="400990"/>
                    <a:pt x="89853" y="402105"/>
                  </a:cubicBezTo>
                  <a:cubicBezTo>
                    <a:pt x="78487" y="403220"/>
                    <a:pt x="79473" y="416944"/>
                    <a:pt x="70081" y="419818"/>
                  </a:cubicBezTo>
                  <a:cubicBezTo>
                    <a:pt x="64462" y="421533"/>
                    <a:pt x="59016" y="424536"/>
                    <a:pt x="55670" y="429211"/>
                  </a:cubicBezTo>
                  <a:cubicBezTo>
                    <a:pt x="54898" y="431612"/>
                    <a:pt x="53912" y="433971"/>
                    <a:pt x="52711" y="436202"/>
                  </a:cubicBezTo>
                  <a:cubicBezTo>
                    <a:pt x="52411" y="437703"/>
                    <a:pt x="52239" y="439247"/>
                    <a:pt x="52325" y="440962"/>
                  </a:cubicBezTo>
                  <a:cubicBezTo>
                    <a:pt x="52796" y="452457"/>
                    <a:pt x="39716" y="453958"/>
                    <a:pt x="30365" y="454087"/>
                  </a:cubicBezTo>
                  <a:cubicBezTo>
                    <a:pt x="28907" y="454515"/>
                    <a:pt x="27449" y="454816"/>
                    <a:pt x="25948" y="455073"/>
                  </a:cubicBezTo>
                  <a:cubicBezTo>
                    <a:pt x="20115" y="459019"/>
                    <a:pt x="20715" y="474202"/>
                    <a:pt x="14282" y="478662"/>
                  </a:cubicBezTo>
                  <a:cubicBezTo>
                    <a:pt x="6905" y="483809"/>
                    <a:pt x="8363" y="490671"/>
                    <a:pt x="15268" y="500965"/>
                  </a:cubicBezTo>
                  <a:cubicBezTo>
                    <a:pt x="22173" y="511258"/>
                    <a:pt x="16255" y="520393"/>
                    <a:pt x="18700" y="527813"/>
                  </a:cubicBezTo>
                  <a:cubicBezTo>
                    <a:pt x="21187" y="535233"/>
                    <a:pt x="32038" y="552346"/>
                    <a:pt x="24618" y="571174"/>
                  </a:cubicBezTo>
                  <a:cubicBezTo>
                    <a:pt x="17241" y="590046"/>
                    <a:pt x="9307" y="613463"/>
                    <a:pt x="15740" y="611190"/>
                  </a:cubicBezTo>
                  <a:cubicBezTo>
                    <a:pt x="22131" y="608917"/>
                    <a:pt x="36971" y="626630"/>
                    <a:pt x="46835" y="625472"/>
                  </a:cubicBezTo>
                  <a:cubicBezTo>
                    <a:pt x="56700" y="624314"/>
                    <a:pt x="57729" y="641427"/>
                    <a:pt x="67079" y="638039"/>
                  </a:cubicBezTo>
                  <a:cubicBezTo>
                    <a:pt x="76429" y="634608"/>
                    <a:pt x="76429" y="648289"/>
                    <a:pt x="103620" y="647174"/>
                  </a:cubicBezTo>
                  <a:cubicBezTo>
                    <a:pt x="130769" y="646016"/>
                    <a:pt x="185582" y="619768"/>
                    <a:pt x="207327" y="619768"/>
                  </a:cubicBezTo>
                  <a:cubicBezTo>
                    <a:pt x="219636" y="619768"/>
                    <a:pt x="229501" y="618052"/>
                    <a:pt x="237263" y="615822"/>
                  </a:cubicBezTo>
                  <a:cubicBezTo>
                    <a:pt x="241938" y="607716"/>
                    <a:pt x="247600" y="598881"/>
                    <a:pt x="253261" y="592362"/>
                  </a:cubicBezTo>
                  <a:cubicBezTo>
                    <a:pt x="267114" y="576321"/>
                    <a:pt x="296708" y="564955"/>
                    <a:pt x="304599" y="544369"/>
                  </a:cubicBezTo>
                  <a:cubicBezTo>
                    <a:pt x="312534" y="523824"/>
                    <a:pt x="348046" y="507913"/>
                    <a:pt x="354008" y="489556"/>
                  </a:cubicBezTo>
                  <a:cubicBezTo>
                    <a:pt x="357011" y="480421"/>
                    <a:pt x="357997" y="475874"/>
                    <a:pt x="345173" y="458719"/>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11" name="Freeform: Shape 172">
              <a:extLst>
                <a:ext uri="{FF2B5EF4-FFF2-40B4-BE49-F238E27FC236}">
                  <a16:creationId xmlns:a16="http://schemas.microsoft.com/office/drawing/2014/main" id="{8C4003B8-6A3F-50E3-AABE-076422805BB1}"/>
                </a:ext>
              </a:extLst>
            </p:cNvPr>
            <p:cNvSpPr/>
            <p:nvPr/>
          </p:nvSpPr>
          <p:spPr>
            <a:xfrm>
              <a:off x="6874810" y="2767509"/>
              <a:ext cx="341155" cy="334595"/>
            </a:xfrm>
            <a:custGeom>
              <a:avLst/>
              <a:gdLst>
                <a:gd name="connsiteX0" fmla="*/ 399858 w 446048"/>
                <a:gd name="connsiteY0" fmla="*/ 203467 h 437470"/>
                <a:gd name="connsiteX1" fmla="*/ 416885 w 446048"/>
                <a:gd name="connsiteY1" fmla="*/ 187169 h 437470"/>
                <a:gd name="connsiteX2" fmla="*/ 424306 w 446048"/>
                <a:gd name="connsiteY2" fmla="*/ 158047 h 437470"/>
                <a:gd name="connsiteX3" fmla="*/ 437644 w 446048"/>
                <a:gd name="connsiteY3" fmla="*/ 126352 h 437470"/>
                <a:gd name="connsiteX4" fmla="*/ 430996 w 446048"/>
                <a:gd name="connsiteY4" fmla="*/ 113485 h 437470"/>
                <a:gd name="connsiteX5" fmla="*/ 413197 w 446048"/>
                <a:gd name="connsiteY5" fmla="*/ 106623 h 437470"/>
                <a:gd name="connsiteX6" fmla="*/ 391709 w 446048"/>
                <a:gd name="connsiteY6" fmla="*/ 94614 h 437470"/>
                <a:gd name="connsiteX7" fmla="*/ 356926 w 446048"/>
                <a:gd name="connsiteY7" fmla="*/ 87752 h 437470"/>
                <a:gd name="connsiteX8" fmla="*/ 339899 w 446048"/>
                <a:gd name="connsiteY8" fmla="*/ 74928 h 437470"/>
                <a:gd name="connsiteX9" fmla="*/ 330292 w 446048"/>
                <a:gd name="connsiteY9" fmla="*/ 56957 h 437470"/>
                <a:gd name="connsiteX10" fmla="*/ 315495 w 446048"/>
                <a:gd name="connsiteY10" fmla="*/ 65535 h 437470"/>
                <a:gd name="connsiteX11" fmla="*/ 305888 w 446048"/>
                <a:gd name="connsiteY11" fmla="*/ 52668 h 437470"/>
                <a:gd name="connsiteX12" fmla="*/ 285129 w 446048"/>
                <a:gd name="connsiteY12" fmla="*/ 38129 h 437470"/>
                <a:gd name="connsiteX13" fmla="*/ 268103 w 446048"/>
                <a:gd name="connsiteY13" fmla="*/ 26120 h 437470"/>
                <a:gd name="connsiteX14" fmla="*/ 256265 w 446048"/>
                <a:gd name="connsiteY14" fmla="*/ 11537 h 437470"/>
                <a:gd name="connsiteX15" fmla="*/ 251976 w 446048"/>
                <a:gd name="connsiteY15" fmla="*/ 6433 h 437470"/>
                <a:gd name="connsiteX16" fmla="*/ 244428 w 446048"/>
                <a:gd name="connsiteY16" fmla="*/ 7248 h 437470"/>
                <a:gd name="connsiteX17" fmla="*/ 224184 w 446048"/>
                <a:gd name="connsiteY17" fmla="*/ 40402 h 437470"/>
                <a:gd name="connsiteX18" fmla="*/ 189615 w 446048"/>
                <a:gd name="connsiteY18" fmla="*/ 67208 h 437470"/>
                <a:gd name="connsiteX19" fmla="*/ 167913 w 446048"/>
                <a:gd name="connsiteY19" fmla="*/ 94614 h 437470"/>
                <a:gd name="connsiteX20" fmla="*/ 125924 w 446048"/>
                <a:gd name="connsiteY20" fmla="*/ 78102 h 437470"/>
                <a:gd name="connsiteX21" fmla="*/ 106667 w 446048"/>
                <a:gd name="connsiteY21" fmla="*/ 92941 h 437470"/>
                <a:gd name="connsiteX22" fmla="*/ 111128 w 446048"/>
                <a:gd name="connsiteY22" fmla="*/ 134072 h 437470"/>
                <a:gd name="connsiteX23" fmla="*/ 82006 w 446048"/>
                <a:gd name="connsiteY23" fmla="*/ 132357 h 437470"/>
                <a:gd name="connsiteX24" fmla="*/ 61762 w 446048"/>
                <a:gd name="connsiteY24" fmla="*/ 120948 h 437470"/>
                <a:gd name="connsiteX25" fmla="*/ 29166 w 446048"/>
                <a:gd name="connsiteY25" fmla="*/ 124937 h 437470"/>
                <a:gd name="connsiteX26" fmla="*/ 8408 w 446048"/>
                <a:gd name="connsiteY26" fmla="*/ 143207 h 437470"/>
                <a:gd name="connsiteX27" fmla="*/ 12354 w 446048"/>
                <a:gd name="connsiteY27" fmla="*/ 167183 h 437470"/>
                <a:gd name="connsiteX28" fmla="*/ 31397 w 446048"/>
                <a:gd name="connsiteY28" fmla="*/ 174645 h 437470"/>
                <a:gd name="connsiteX29" fmla="*/ 52455 w 446048"/>
                <a:gd name="connsiteY29" fmla="*/ 174088 h 437470"/>
                <a:gd name="connsiteX30" fmla="*/ 72656 w 446048"/>
                <a:gd name="connsiteY30" fmla="*/ 189271 h 437470"/>
                <a:gd name="connsiteX31" fmla="*/ 85909 w 446048"/>
                <a:gd name="connsiteY31" fmla="*/ 192873 h 437470"/>
                <a:gd name="connsiteX32" fmla="*/ 96760 w 446048"/>
                <a:gd name="connsiteY32" fmla="*/ 209986 h 437470"/>
                <a:gd name="connsiteX33" fmla="*/ 96974 w 446048"/>
                <a:gd name="connsiteY33" fmla="*/ 211959 h 437470"/>
                <a:gd name="connsiteX34" fmla="*/ 106067 w 446048"/>
                <a:gd name="connsiteY34" fmla="*/ 223239 h 437470"/>
                <a:gd name="connsiteX35" fmla="*/ 112886 w 446048"/>
                <a:gd name="connsiteY35" fmla="*/ 238250 h 437470"/>
                <a:gd name="connsiteX36" fmla="*/ 122922 w 446048"/>
                <a:gd name="connsiteY36" fmla="*/ 243097 h 437470"/>
                <a:gd name="connsiteX37" fmla="*/ 131800 w 446048"/>
                <a:gd name="connsiteY37" fmla="*/ 273334 h 437470"/>
                <a:gd name="connsiteX38" fmla="*/ 132487 w 446048"/>
                <a:gd name="connsiteY38" fmla="*/ 285257 h 437470"/>
                <a:gd name="connsiteX39" fmla="*/ 137934 w 446048"/>
                <a:gd name="connsiteY39" fmla="*/ 302541 h 437470"/>
                <a:gd name="connsiteX40" fmla="*/ 125924 w 446048"/>
                <a:gd name="connsiteY40" fmla="*/ 341485 h 437470"/>
                <a:gd name="connsiteX41" fmla="*/ 111085 w 446048"/>
                <a:gd name="connsiteY41" fmla="*/ 389263 h 437470"/>
                <a:gd name="connsiteX42" fmla="*/ 109112 w 446048"/>
                <a:gd name="connsiteY42" fmla="*/ 389692 h 437470"/>
                <a:gd name="connsiteX43" fmla="*/ 128069 w 446048"/>
                <a:gd name="connsiteY43" fmla="*/ 400586 h 437470"/>
                <a:gd name="connsiteX44" fmla="*/ 160536 w 446048"/>
                <a:gd name="connsiteY44" fmla="*/ 418643 h 437470"/>
                <a:gd name="connsiteX45" fmla="*/ 186956 w 446048"/>
                <a:gd name="connsiteY45" fmla="*/ 415855 h 437470"/>
                <a:gd name="connsiteX46" fmla="*/ 202568 w 446048"/>
                <a:gd name="connsiteY46" fmla="*/ 420058 h 437470"/>
                <a:gd name="connsiteX47" fmla="*/ 242197 w 446048"/>
                <a:gd name="connsiteY47" fmla="*/ 431166 h 437470"/>
                <a:gd name="connsiteX48" fmla="*/ 276509 w 446048"/>
                <a:gd name="connsiteY48" fmla="*/ 432324 h 437470"/>
                <a:gd name="connsiteX49" fmla="*/ 274493 w 446048"/>
                <a:gd name="connsiteY49" fmla="*/ 422417 h 437470"/>
                <a:gd name="connsiteX50" fmla="*/ 302114 w 446048"/>
                <a:gd name="connsiteY50" fmla="*/ 384117 h 437470"/>
                <a:gd name="connsiteX51" fmla="*/ 363360 w 446048"/>
                <a:gd name="connsiteY51" fmla="*/ 399557 h 437470"/>
                <a:gd name="connsiteX52" fmla="*/ 401874 w 446048"/>
                <a:gd name="connsiteY52" fmla="*/ 384717 h 437470"/>
                <a:gd name="connsiteX53" fmla="*/ 422804 w 446048"/>
                <a:gd name="connsiteY53" fmla="*/ 368977 h 437470"/>
                <a:gd name="connsiteX54" fmla="*/ 426578 w 446048"/>
                <a:gd name="connsiteY54" fmla="*/ 355896 h 437470"/>
                <a:gd name="connsiteX55" fmla="*/ 411009 w 446048"/>
                <a:gd name="connsiteY55" fmla="*/ 349891 h 437470"/>
                <a:gd name="connsiteX56" fmla="*/ 403590 w 446048"/>
                <a:gd name="connsiteY56" fmla="*/ 331020 h 437470"/>
                <a:gd name="connsiteX57" fmla="*/ 393983 w 446048"/>
                <a:gd name="connsiteY57" fmla="*/ 311334 h 437470"/>
                <a:gd name="connsiteX58" fmla="*/ 400631 w 446048"/>
                <a:gd name="connsiteY58" fmla="*/ 301898 h 437470"/>
                <a:gd name="connsiteX59" fmla="*/ 407278 w 446048"/>
                <a:gd name="connsiteY59" fmla="*/ 286501 h 437470"/>
                <a:gd name="connsiteX60" fmla="*/ 403590 w 446048"/>
                <a:gd name="connsiteY60" fmla="*/ 267629 h 437470"/>
                <a:gd name="connsiteX61" fmla="*/ 397671 w 446048"/>
                <a:gd name="connsiteY61" fmla="*/ 248758 h 437470"/>
                <a:gd name="connsiteX62" fmla="*/ 382874 w 446048"/>
                <a:gd name="connsiteY62" fmla="*/ 247043 h 437470"/>
                <a:gd name="connsiteX63" fmla="*/ 378414 w 446048"/>
                <a:gd name="connsiteY63" fmla="*/ 234176 h 437470"/>
                <a:gd name="connsiteX64" fmla="*/ 399858 w 446048"/>
                <a:gd name="connsiteY64" fmla="*/ 203467 h 437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46048" h="437470">
                  <a:moveTo>
                    <a:pt x="399858" y="203467"/>
                  </a:moveTo>
                  <a:cubicBezTo>
                    <a:pt x="401359" y="194889"/>
                    <a:pt x="410238" y="187169"/>
                    <a:pt x="416885" y="187169"/>
                  </a:cubicBezTo>
                  <a:cubicBezTo>
                    <a:pt x="423576" y="187169"/>
                    <a:pt x="422075" y="169198"/>
                    <a:pt x="424306" y="158047"/>
                  </a:cubicBezTo>
                  <a:cubicBezTo>
                    <a:pt x="426535" y="146896"/>
                    <a:pt x="427994" y="135788"/>
                    <a:pt x="437644" y="126352"/>
                  </a:cubicBezTo>
                  <a:cubicBezTo>
                    <a:pt x="447251" y="116916"/>
                    <a:pt x="435414" y="112627"/>
                    <a:pt x="430996" y="113485"/>
                  </a:cubicBezTo>
                  <a:cubicBezTo>
                    <a:pt x="426535" y="114386"/>
                    <a:pt x="422847" y="106623"/>
                    <a:pt x="413197" y="106623"/>
                  </a:cubicBezTo>
                  <a:cubicBezTo>
                    <a:pt x="403590" y="106623"/>
                    <a:pt x="396170" y="101476"/>
                    <a:pt x="391709" y="94614"/>
                  </a:cubicBezTo>
                  <a:cubicBezTo>
                    <a:pt x="387249" y="87752"/>
                    <a:pt x="364304" y="86079"/>
                    <a:pt x="356926" y="87752"/>
                  </a:cubicBezTo>
                  <a:cubicBezTo>
                    <a:pt x="349506" y="89467"/>
                    <a:pt x="347276" y="73212"/>
                    <a:pt x="339899" y="74928"/>
                  </a:cubicBezTo>
                  <a:cubicBezTo>
                    <a:pt x="332479" y="76643"/>
                    <a:pt x="330292" y="63777"/>
                    <a:pt x="330292" y="56957"/>
                  </a:cubicBezTo>
                  <a:cubicBezTo>
                    <a:pt x="330292" y="50095"/>
                    <a:pt x="322143" y="62104"/>
                    <a:pt x="315495" y="65535"/>
                  </a:cubicBezTo>
                  <a:cubicBezTo>
                    <a:pt x="308847" y="68966"/>
                    <a:pt x="306617" y="57815"/>
                    <a:pt x="305888" y="52668"/>
                  </a:cubicBezTo>
                  <a:cubicBezTo>
                    <a:pt x="305159" y="47521"/>
                    <a:pt x="291820" y="42375"/>
                    <a:pt x="285129" y="38129"/>
                  </a:cubicBezTo>
                  <a:cubicBezTo>
                    <a:pt x="278482" y="33840"/>
                    <a:pt x="271062" y="20115"/>
                    <a:pt x="268103" y="26120"/>
                  </a:cubicBezTo>
                  <a:cubicBezTo>
                    <a:pt x="265143" y="32124"/>
                    <a:pt x="256994" y="17542"/>
                    <a:pt x="256265" y="11537"/>
                  </a:cubicBezTo>
                  <a:cubicBezTo>
                    <a:pt x="255793" y="7549"/>
                    <a:pt x="253477" y="8835"/>
                    <a:pt x="251976" y="6433"/>
                  </a:cubicBezTo>
                  <a:cubicBezTo>
                    <a:pt x="249446" y="7077"/>
                    <a:pt x="246915" y="7377"/>
                    <a:pt x="244428" y="7248"/>
                  </a:cubicBezTo>
                  <a:cubicBezTo>
                    <a:pt x="232590" y="6691"/>
                    <a:pt x="222211" y="17542"/>
                    <a:pt x="224184" y="40402"/>
                  </a:cubicBezTo>
                  <a:cubicBezTo>
                    <a:pt x="226157" y="63219"/>
                    <a:pt x="209859" y="65492"/>
                    <a:pt x="189615" y="67208"/>
                  </a:cubicBezTo>
                  <a:cubicBezTo>
                    <a:pt x="169371" y="68923"/>
                    <a:pt x="176276" y="87194"/>
                    <a:pt x="167913" y="94614"/>
                  </a:cubicBezTo>
                  <a:cubicBezTo>
                    <a:pt x="159507" y="102077"/>
                    <a:pt x="129913" y="90625"/>
                    <a:pt x="125924" y="78102"/>
                  </a:cubicBezTo>
                  <a:cubicBezTo>
                    <a:pt x="121979" y="65535"/>
                    <a:pt x="95344" y="78102"/>
                    <a:pt x="106667" y="92941"/>
                  </a:cubicBezTo>
                  <a:cubicBezTo>
                    <a:pt x="118033" y="107781"/>
                    <a:pt x="117518" y="128368"/>
                    <a:pt x="111128" y="134072"/>
                  </a:cubicBezTo>
                  <a:cubicBezTo>
                    <a:pt x="104737" y="139776"/>
                    <a:pt x="90884" y="124937"/>
                    <a:pt x="82006" y="132357"/>
                  </a:cubicBezTo>
                  <a:cubicBezTo>
                    <a:pt x="73128" y="139819"/>
                    <a:pt x="72613" y="125494"/>
                    <a:pt x="61762" y="120948"/>
                  </a:cubicBezTo>
                  <a:cubicBezTo>
                    <a:pt x="50911" y="116359"/>
                    <a:pt x="46450" y="126609"/>
                    <a:pt x="29166" y="124937"/>
                  </a:cubicBezTo>
                  <a:cubicBezTo>
                    <a:pt x="11882" y="123221"/>
                    <a:pt x="1974" y="134630"/>
                    <a:pt x="8408" y="143207"/>
                  </a:cubicBezTo>
                  <a:cubicBezTo>
                    <a:pt x="14798" y="151742"/>
                    <a:pt x="7421" y="159763"/>
                    <a:pt x="12354" y="167183"/>
                  </a:cubicBezTo>
                  <a:cubicBezTo>
                    <a:pt x="14970" y="171086"/>
                    <a:pt x="22475" y="172587"/>
                    <a:pt x="31397" y="174645"/>
                  </a:cubicBezTo>
                  <a:cubicBezTo>
                    <a:pt x="38216" y="172458"/>
                    <a:pt x="46107" y="172287"/>
                    <a:pt x="52455" y="174088"/>
                  </a:cubicBezTo>
                  <a:cubicBezTo>
                    <a:pt x="60904" y="176490"/>
                    <a:pt x="67638" y="182108"/>
                    <a:pt x="72656" y="189271"/>
                  </a:cubicBezTo>
                  <a:cubicBezTo>
                    <a:pt x="77760" y="189571"/>
                    <a:pt x="81105" y="188627"/>
                    <a:pt x="85909" y="192873"/>
                  </a:cubicBezTo>
                  <a:cubicBezTo>
                    <a:pt x="94315" y="200293"/>
                    <a:pt x="96288" y="195704"/>
                    <a:pt x="96760" y="209986"/>
                  </a:cubicBezTo>
                  <a:cubicBezTo>
                    <a:pt x="96803" y="210630"/>
                    <a:pt x="96931" y="211273"/>
                    <a:pt x="96974" y="211959"/>
                  </a:cubicBezTo>
                  <a:cubicBezTo>
                    <a:pt x="100405" y="214790"/>
                    <a:pt x="103493" y="218478"/>
                    <a:pt x="106067" y="223239"/>
                  </a:cubicBezTo>
                  <a:cubicBezTo>
                    <a:pt x="108469" y="227742"/>
                    <a:pt x="110784" y="232932"/>
                    <a:pt x="112886" y="238250"/>
                  </a:cubicBezTo>
                  <a:cubicBezTo>
                    <a:pt x="115846" y="240223"/>
                    <a:pt x="119191" y="241896"/>
                    <a:pt x="122922" y="243097"/>
                  </a:cubicBezTo>
                  <a:cubicBezTo>
                    <a:pt x="139220" y="248243"/>
                    <a:pt x="126868" y="260767"/>
                    <a:pt x="131800" y="273334"/>
                  </a:cubicBezTo>
                  <a:cubicBezTo>
                    <a:pt x="133173" y="276893"/>
                    <a:pt x="133130" y="280968"/>
                    <a:pt x="132487" y="285257"/>
                  </a:cubicBezTo>
                  <a:cubicBezTo>
                    <a:pt x="134803" y="291004"/>
                    <a:pt x="136861" y="296880"/>
                    <a:pt x="137934" y="302541"/>
                  </a:cubicBezTo>
                  <a:cubicBezTo>
                    <a:pt x="140722" y="317295"/>
                    <a:pt x="136476" y="332349"/>
                    <a:pt x="125924" y="341485"/>
                  </a:cubicBezTo>
                  <a:cubicBezTo>
                    <a:pt x="123136" y="361514"/>
                    <a:pt x="116532" y="386133"/>
                    <a:pt x="111085" y="389263"/>
                  </a:cubicBezTo>
                  <a:cubicBezTo>
                    <a:pt x="110613" y="389564"/>
                    <a:pt x="109755" y="389564"/>
                    <a:pt x="109112" y="389692"/>
                  </a:cubicBezTo>
                  <a:cubicBezTo>
                    <a:pt x="116532" y="393938"/>
                    <a:pt x="124295" y="397670"/>
                    <a:pt x="128069" y="400586"/>
                  </a:cubicBezTo>
                  <a:cubicBezTo>
                    <a:pt x="135274" y="406162"/>
                    <a:pt x="150886" y="411695"/>
                    <a:pt x="160536" y="418643"/>
                  </a:cubicBezTo>
                  <a:cubicBezTo>
                    <a:pt x="170144" y="425591"/>
                    <a:pt x="186956" y="424218"/>
                    <a:pt x="186956" y="415855"/>
                  </a:cubicBezTo>
                  <a:cubicBezTo>
                    <a:pt x="186956" y="407534"/>
                    <a:pt x="196563" y="413110"/>
                    <a:pt x="202568" y="420058"/>
                  </a:cubicBezTo>
                  <a:cubicBezTo>
                    <a:pt x="208572" y="427006"/>
                    <a:pt x="231432" y="428378"/>
                    <a:pt x="242197" y="431166"/>
                  </a:cubicBezTo>
                  <a:cubicBezTo>
                    <a:pt x="251333" y="433525"/>
                    <a:pt x="264628" y="432024"/>
                    <a:pt x="276509" y="432324"/>
                  </a:cubicBezTo>
                  <a:cubicBezTo>
                    <a:pt x="276037" y="429193"/>
                    <a:pt x="275436" y="425934"/>
                    <a:pt x="274493" y="422417"/>
                  </a:cubicBezTo>
                  <a:cubicBezTo>
                    <a:pt x="268574" y="400115"/>
                    <a:pt x="285816" y="386990"/>
                    <a:pt x="302114" y="384117"/>
                  </a:cubicBezTo>
                  <a:cubicBezTo>
                    <a:pt x="318412" y="381286"/>
                    <a:pt x="353924" y="392694"/>
                    <a:pt x="363360" y="399557"/>
                  </a:cubicBezTo>
                  <a:cubicBezTo>
                    <a:pt x="372710" y="406419"/>
                    <a:pt x="385576" y="404704"/>
                    <a:pt x="401874" y="384717"/>
                  </a:cubicBezTo>
                  <a:cubicBezTo>
                    <a:pt x="410109" y="374595"/>
                    <a:pt x="416843" y="370950"/>
                    <a:pt x="422804" y="368977"/>
                  </a:cubicBezTo>
                  <a:cubicBezTo>
                    <a:pt x="423233" y="364474"/>
                    <a:pt x="425249" y="359927"/>
                    <a:pt x="426578" y="355896"/>
                  </a:cubicBezTo>
                  <a:cubicBezTo>
                    <a:pt x="428809" y="349033"/>
                    <a:pt x="418430" y="350749"/>
                    <a:pt x="411009" y="349891"/>
                  </a:cubicBezTo>
                  <a:cubicBezTo>
                    <a:pt x="403590" y="349033"/>
                    <a:pt x="398400" y="340455"/>
                    <a:pt x="403590" y="331020"/>
                  </a:cubicBezTo>
                  <a:cubicBezTo>
                    <a:pt x="408780" y="321584"/>
                    <a:pt x="399130" y="320726"/>
                    <a:pt x="393983" y="311334"/>
                  </a:cubicBezTo>
                  <a:cubicBezTo>
                    <a:pt x="388793" y="301898"/>
                    <a:pt x="396213" y="304471"/>
                    <a:pt x="400631" y="301898"/>
                  </a:cubicBezTo>
                  <a:cubicBezTo>
                    <a:pt x="405091" y="299325"/>
                    <a:pt x="411009" y="289031"/>
                    <a:pt x="407278" y="286501"/>
                  </a:cubicBezTo>
                  <a:cubicBezTo>
                    <a:pt x="403590" y="283927"/>
                    <a:pt x="400631" y="277923"/>
                    <a:pt x="403590" y="267629"/>
                  </a:cubicBezTo>
                  <a:cubicBezTo>
                    <a:pt x="406549" y="257336"/>
                    <a:pt x="397671" y="256478"/>
                    <a:pt x="397671" y="248758"/>
                  </a:cubicBezTo>
                  <a:cubicBezTo>
                    <a:pt x="397671" y="241081"/>
                    <a:pt x="389522" y="237650"/>
                    <a:pt x="382874" y="247043"/>
                  </a:cubicBezTo>
                  <a:cubicBezTo>
                    <a:pt x="376183" y="256435"/>
                    <a:pt x="373996" y="249616"/>
                    <a:pt x="378414" y="234176"/>
                  </a:cubicBezTo>
                  <a:cubicBezTo>
                    <a:pt x="382831" y="218864"/>
                    <a:pt x="398357" y="212045"/>
                    <a:pt x="399858" y="20346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12" name="Freeform: Shape 173">
              <a:extLst>
                <a:ext uri="{FF2B5EF4-FFF2-40B4-BE49-F238E27FC236}">
                  <a16:creationId xmlns:a16="http://schemas.microsoft.com/office/drawing/2014/main" id="{22A82726-6259-E8CE-47AB-A4E1F0803595}"/>
                </a:ext>
              </a:extLst>
            </p:cNvPr>
            <p:cNvSpPr/>
            <p:nvPr/>
          </p:nvSpPr>
          <p:spPr>
            <a:xfrm>
              <a:off x="7219672" y="3071713"/>
              <a:ext cx="32803" cy="62327"/>
            </a:xfrm>
            <a:custGeom>
              <a:avLst/>
              <a:gdLst>
                <a:gd name="connsiteX0" fmla="*/ 32897 w 42889"/>
                <a:gd name="connsiteY0" fmla="*/ 6453 h 81489"/>
                <a:gd name="connsiteX1" fmla="*/ 12138 w 42889"/>
                <a:gd name="connsiteY1" fmla="*/ 27040 h 81489"/>
                <a:gd name="connsiteX2" fmla="*/ 25949 w 42889"/>
                <a:gd name="connsiteY2" fmla="*/ 78421 h 81489"/>
                <a:gd name="connsiteX3" fmla="*/ 32897 w 42889"/>
                <a:gd name="connsiteY3" fmla="*/ 6453 h 81489"/>
              </a:gdLst>
              <a:ahLst/>
              <a:cxnLst>
                <a:cxn ang="0">
                  <a:pos x="connsiteX0" y="connsiteY0"/>
                </a:cxn>
                <a:cxn ang="0">
                  <a:pos x="connsiteX1" y="connsiteY1"/>
                </a:cxn>
                <a:cxn ang="0">
                  <a:pos x="connsiteX2" y="connsiteY2"/>
                </a:cxn>
                <a:cxn ang="0">
                  <a:pos x="connsiteX3" y="connsiteY3"/>
                </a:cxn>
              </a:cxnLst>
              <a:rect l="l" t="t" r="r" b="b"/>
              <a:pathLst>
                <a:path w="42889" h="81489">
                  <a:moveTo>
                    <a:pt x="32897" y="6453"/>
                  </a:moveTo>
                  <a:cubicBezTo>
                    <a:pt x="27450" y="5896"/>
                    <a:pt x="25992" y="17261"/>
                    <a:pt x="12138" y="27040"/>
                  </a:cubicBezTo>
                  <a:cubicBezTo>
                    <a:pt x="-1672" y="36733"/>
                    <a:pt x="12224" y="80609"/>
                    <a:pt x="25949" y="78421"/>
                  </a:cubicBezTo>
                  <a:cubicBezTo>
                    <a:pt x="40317" y="76105"/>
                    <a:pt x="38344" y="7011"/>
                    <a:pt x="32897" y="645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13" name="Freeform: Shape 241">
              <a:extLst>
                <a:ext uri="{FF2B5EF4-FFF2-40B4-BE49-F238E27FC236}">
                  <a16:creationId xmlns:a16="http://schemas.microsoft.com/office/drawing/2014/main" id="{2C654C54-368D-BB33-BF79-922C9D2F716D}"/>
                </a:ext>
              </a:extLst>
            </p:cNvPr>
            <p:cNvSpPr/>
            <p:nvPr/>
          </p:nvSpPr>
          <p:spPr>
            <a:xfrm>
              <a:off x="6776073" y="3045091"/>
              <a:ext cx="314912" cy="275548"/>
            </a:xfrm>
            <a:custGeom>
              <a:avLst/>
              <a:gdLst>
                <a:gd name="connsiteX0" fmla="*/ 405561 w 411737"/>
                <a:gd name="connsiteY0" fmla="*/ 69480 h 360270"/>
                <a:gd name="connsiteX1" fmla="*/ 371250 w 411737"/>
                <a:gd name="connsiteY1" fmla="*/ 68323 h 360270"/>
                <a:gd name="connsiteX2" fmla="*/ 331620 w 411737"/>
                <a:gd name="connsiteY2" fmla="*/ 57214 h 360270"/>
                <a:gd name="connsiteX3" fmla="*/ 316008 w 411737"/>
                <a:gd name="connsiteY3" fmla="*/ 53011 h 360270"/>
                <a:gd name="connsiteX4" fmla="*/ 289589 w 411737"/>
                <a:gd name="connsiteY4" fmla="*/ 55799 h 360270"/>
                <a:gd name="connsiteX5" fmla="*/ 257121 w 411737"/>
                <a:gd name="connsiteY5" fmla="*/ 37743 h 360270"/>
                <a:gd name="connsiteX6" fmla="*/ 238164 w 411737"/>
                <a:gd name="connsiteY6" fmla="*/ 26848 h 360270"/>
                <a:gd name="connsiteX7" fmla="*/ 180392 w 411737"/>
                <a:gd name="connsiteY7" fmla="*/ 19558 h 360270"/>
                <a:gd name="connsiteX8" fmla="*/ 70253 w 411737"/>
                <a:gd name="connsiteY8" fmla="*/ 18442 h 360270"/>
                <a:gd name="connsiteX9" fmla="*/ 29765 w 411737"/>
                <a:gd name="connsiteY9" fmla="*/ 6433 h 360270"/>
                <a:gd name="connsiteX10" fmla="*/ 6433 w 411737"/>
                <a:gd name="connsiteY10" fmla="*/ 25862 h 360270"/>
                <a:gd name="connsiteX11" fmla="*/ 7891 w 411737"/>
                <a:gd name="connsiteY11" fmla="*/ 44862 h 360270"/>
                <a:gd name="connsiteX12" fmla="*/ 21102 w 411737"/>
                <a:gd name="connsiteY12" fmla="*/ 60174 h 360270"/>
                <a:gd name="connsiteX13" fmla="*/ 24790 w 411737"/>
                <a:gd name="connsiteY13" fmla="*/ 89081 h 360270"/>
                <a:gd name="connsiteX14" fmla="*/ 24018 w 411737"/>
                <a:gd name="connsiteY14" fmla="*/ 91526 h 360270"/>
                <a:gd name="connsiteX15" fmla="*/ 24618 w 411737"/>
                <a:gd name="connsiteY15" fmla="*/ 93927 h 360270"/>
                <a:gd name="connsiteX16" fmla="*/ 42031 w 411737"/>
                <a:gd name="connsiteY16" fmla="*/ 94785 h 360270"/>
                <a:gd name="connsiteX17" fmla="*/ 55241 w 411737"/>
                <a:gd name="connsiteY17" fmla="*/ 94785 h 360270"/>
                <a:gd name="connsiteX18" fmla="*/ 75657 w 411737"/>
                <a:gd name="connsiteY18" fmla="*/ 98945 h 360270"/>
                <a:gd name="connsiteX19" fmla="*/ 84063 w 411737"/>
                <a:gd name="connsiteY19" fmla="*/ 114257 h 360270"/>
                <a:gd name="connsiteX20" fmla="*/ 62404 w 411737"/>
                <a:gd name="connsiteY20" fmla="*/ 136474 h 360270"/>
                <a:gd name="connsiteX21" fmla="*/ 64806 w 411737"/>
                <a:gd name="connsiteY21" fmla="*/ 172587 h 360270"/>
                <a:gd name="connsiteX22" fmla="*/ 58801 w 411737"/>
                <a:gd name="connsiteY22" fmla="*/ 198963 h 360270"/>
                <a:gd name="connsiteX23" fmla="*/ 50395 w 411737"/>
                <a:gd name="connsiteY23" fmla="*/ 214232 h 360270"/>
                <a:gd name="connsiteX24" fmla="*/ 60002 w 411737"/>
                <a:gd name="connsiteY24" fmla="*/ 235076 h 360270"/>
                <a:gd name="connsiteX25" fmla="*/ 51596 w 411737"/>
                <a:gd name="connsiteY25" fmla="*/ 255920 h 360270"/>
                <a:gd name="connsiteX26" fmla="*/ 58844 w 411737"/>
                <a:gd name="connsiteY26" fmla="*/ 275392 h 360270"/>
                <a:gd name="connsiteX27" fmla="*/ 45634 w 411737"/>
                <a:gd name="connsiteY27" fmla="*/ 299024 h 360270"/>
                <a:gd name="connsiteX28" fmla="*/ 50481 w 411737"/>
                <a:gd name="connsiteY28" fmla="*/ 311591 h 360270"/>
                <a:gd name="connsiteX29" fmla="*/ 68237 w 411737"/>
                <a:gd name="connsiteY29" fmla="*/ 313092 h 360270"/>
                <a:gd name="connsiteX30" fmla="*/ 108724 w 411737"/>
                <a:gd name="connsiteY30" fmla="*/ 357611 h 360270"/>
                <a:gd name="connsiteX31" fmla="*/ 116659 w 411737"/>
                <a:gd name="connsiteY31" fmla="*/ 345044 h 360270"/>
                <a:gd name="connsiteX32" fmla="*/ 135916 w 411737"/>
                <a:gd name="connsiteY32" fmla="*/ 343929 h 360270"/>
                <a:gd name="connsiteX33" fmla="*/ 166496 w 411737"/>
                <a:gd name="connsiteY33" fmla="*/ 330248 h 360270"/>
                <a:gd name="connsiteX34" fmla="*/ 208957 w 411737"/>
                <a:gd name="connsiteY34" fmla="*/ 328532 h 360270"/>
                <a:gd name="connsiteX35" fmla="*/ 233146 w 411737"/>
                <a:gd name="connsiteY35" fmla="*/ 314850 h 360270"/>
                <a:gd name="connsiteX36" fmla="*/ 259309 w 411737"/>
                <a:gd name="connsiteY36" fmla="*/ 294306 h 360270"/>
                <a:gd name="connsiteX37" fmla="*/ 271661 w 411737"/>
                <a:gd name="connsiteY37" fmla="*/ 266900 h 360270"/>
                <a:gd name="connsiteX38" fmla="*/ 296365 w 411737"/>
                <a:gd name="connsiteY38" fmla="*/ 237221 h 360270"/>
                <a:gd name="connsiteX39" fmla="*/ 296837 w 411737"/>
                <a:gd name="connsiteY39" fmla="*/ 180650 h 360270"/>
                <a:gd name="connsiteX40" fmla="*/ 324501 w 411737"/>
                <a:gd name="connsiteY40" fmla="*/ 142950 h 360270"/>
                <a:gd name="connsiteX41" fmla="*/ 355123 w 411737"/>
                <a:gd name="connsiteY41" fmla="*/ 124079 h 360270"/>
                <a:gd name="connsiteX42" fmla="*/ 391665 w 411737"/>
                <a:gd name="connsiteY42" fmla="*/ 101819 h 360270"/>
                <a:gd name="connsiteX43" fmla="*/ 405561 w 411737"/>
                <a:gd name="connsiteY43" fmla="*/ 69480 h 360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11737" h="360270">
                  <a:moveTo>
                    <a:pt x="405561" y="69480"/>
                  </a:moveTo>
                  <a:cubicBezTo>
                    <a:pt x="393681" y="69180"/>
                    <a:pt x="380385" y="70681"/>
                    <a:pt x="371250" y="68323"/>
                  </a:cubicBezTo>
                  <a:cubicBezTo>
                    <a:pt x="360442" y="65535"/>
                    <a:pt x="337625" y="64162"/>
                    <a:pt x="331620" y="57214"/>
                  </a:cubicBezTo>
                  <a:cubicBezTo>
                    <a:pt x="325616" y="50309"/>
                    <a:pt x="316008" y="44734"/>
                    <a:pt x="316008" y="53011"/>
                  </a:cubicBezTo>
                  <a:cubicBezTo>
                    <a:pt x="316008" y="61375"/>
                    <a:pt x="299196" y="62747"/>
                    <a:pt x="289589" y="55799"/>
                  </a:cubicBezTo>
                  <a:cubicBezTo>
                    <a:pt x="279939" y="48851"/>
                    <a:pt x="264370" y="43318"/>
                    <a:pt x="257121" y="37743"/>
                  </a:cubicBezTo>
                  <a:cubicBezTo>
                    <a:pt x="253347" y="34826"/>
                    <a:pt x="245541" y="31095"/>
                    <a:pt x="238164" y="26848"/>
                  </a:cubicBezTo>
                  <a:cubicBezTo>
                    <a:pt x="228128" y="29079"/>
                    <a:pt x="199349" y="16855"/>
                    <a:pt x="180392" y="19558"/>
                  </a:cubicBezTo>
                  <a:cubicBezTo>
                    <a:pt x="160149" y="22388"/>
                    <a:pt x="95429" y="16126"/>
                    <a:pt x="70253" y="18442"/>
                  </a:cubicBezTo>
                  <a:cubicBezTo>
                    <a:pt x="45077" y="20715"/>
                    <a:pt x="43576" y="6433"/>
                    <a:pt x="29765" y="6433"/>
                  </a:cubicBezTo>
                  <a:cubicBezTo>
                    <a:pt x="17070" y="6433"/>
                    <a:pt x="20973" y="22688"/>
                    <a:pt x="6433" y="25862"/>
                  </a:cubicBezTo>
                  <a:cubicBezTo>
                    <a:pt x="8449" y="31909"/>
                    <a:pt x="8835" y="38515"/>
                    <a:pt x="7891" y="44862"/>
                  </a:cubicBezTo>
                  <a:cubicBezTo>
                    <a:pt x="12910" y="49237"/>
                    <a:pt x="16598" y="53569"/>
                    <a:pt x="21102" y="60174"/>
                  </a:cubicBezTo>
                  <a:cubicBezTo>
                    <a:pt x="26677" y="68365"/>
                    <a:pt x="26849" y="79688"/>
                    <a:pt x="24790" y="89081"/>
                  </a:cubicBezTo>
                  <a:cubicBezTo>
                    <a:pt x="24618" y="89896"/>
                    <a:pt x="24318" y="90711"/>
                    <a:pt x="24018" y="91526"/>
                  </a:cubicBezTo>
                  <a:cubicBezTo>
                    <a:pt x="24275" y="92341"/>
                    <a:pt x="24490" y="93113"/>
                    <a:pt x="24618" y="93927"/>
                  </a:cubicBezTo>
                  <a:cubicBezTo>
                    <a:pt x="28907" y="96072"/>
                    <a:pt x="36928" y="94785"/>
                    <a:pt x="42031" y="94785"/>
                  </a:cubicBezTo>
                  <a:cubicBezTo>
                    <a:pt x="49237" y="94785"/>
                    <a:pt x="46835" y="101733"/>
                    <a:pt x="55241" y="94785"/>
                  </a:cubicBezTo>
                  <a:cubicBezTo>
                    <a:pt x="63648" y="87794"/>
                    <a:pt x="75657" y="90582"/>
                    <a:pt x="75657" y="98945"/>
                  </a:cubicBezTo>
                  <a:cubicBezTo>
                    <a:pt x="75657" y="107266"/>
                    <a:pt x="93670" y="103106"/>
                    <a:pt x="84063" y="114257"/>
                  </a:cubicBezTo>
                  <a:cubicBezTo>
                    <a:pt x="74456" y="125365"/>
                    <a:pt x="62404" y="128153"/>
                    <a:pt x="62404" y="136474"/>
                  </a:cubicBezTo>
                  <a:cubicBezTo>
                    <a:pt x="62404" y="144837"/>
                    <a:pt x="73212" y="162851"/>
                    <a:pt x="64806" y="172587"/>
                  </a:cubicBezTo>
                  <a:cubicBezTo>
                    <a:pt x="56400" y="182322"/>
                    <a:pt x="67208" y="198963"/>
                    <a:pt x="58801" y="198963"/>
                  </a:cubicBezTo>
                  <a:cubicBezTo>
                    <a:pt x="50395" y="198963"/>
                    <a:pt x="40788" y="203124"/>
                    <a:pt x="50395" y="214232"/>
                  </a:cubicBezTo>
                  <a:cubicBezTo>
                    <a:pt x="60002" y="225383"/>
                    <a:pt x="67208" y="235076"/>
                    <a:pt x="60002" y="235076"/>
                  </a:cubicBezTo>
                  <a:cubicBezTo>
                    <a:pt x="52796" y="235076"/>
                    <a:pt x="47993" y="251760"/>
                    <a:pt x="51596" y="255920"/>
                  </a:cubicBezTo>
                  <a:cubicBezTo>
                    <a:pt x="55199" y="260081"/>
                    <a:pt x="72054" y="272604"/>
                    <a:pt x="58844" y="275392"/>
                  </a:cubicBezTo>
                  <a:cubicBezTo>
                    <a:pt x="45634" y="278180"/>
                    <a:pt x="45634" y="290661"/>
                    <a:pt x="45634" y="299024"/>
                  </a:cubicBezTo>
                  <a:cubicBezTo>
                    <a:pt x="45634" y="302112"/>
                    <a:pt x="47779" y="306830"/>
                    <a:pt x="50481" y="311591"/>
                  </a:cubicBezTo>
                  <a:cubicBezTo>
                    <a:pt x="56614" y="310304"/>
                    <a:pt x="62661" y="310090"/>
                    <a:pt x="68237" y="313092"/>
                  </a:cubicBezTo>
                  <a:cubicBezTo>
                    <a:pt x="82047" y="320512"/>
                    <a:pt x="90068" y="360313"/>
                    <a:pt x="108724" y="357611"/>
                  </a:cubicBezTo>
                  <a:cubicBezTo>
                    <a:pt x="116659" y="356453"/>
                    <a:pt x="112670" y="349633"/>
                    <a:pt x="116659" y="345044"/>
                  </a:cubicBezTo>
                  <a:cubicBezTo>
                    <a:pt x="120605" y="340498"/>
                    <a:pt x="127982" y="343929"/>
                    <a:pt x="135916" y="343929"/>
                  </a:cubicBezTo>
                  <a:cubicBezTo>
                    <a:pt x="143808" y="343929"/>
                    <a:pt x="147753" y="330805"/>
                    <a:pt x="166496" y="330248"/>
                  </a:cubicBezTo>
                  <a:cubicBezTo>
                    <a:pt x="185282" y="329690"/>
                    <a:pt x="197119" y="327931"/>
                    <a:pt x="208957" y="328532"/>
                  </a:cubicBezTo>
                  <a:cubicBezTo>
                    <a:pt x="220794" y="329090"/>
                    <a:pt x="230187" y="324500"/>
                    <a:pt x="233146" y="314850"/>
                  </a:cubicBezTo>
                  <a:cubicBezTo>
                    <a:pt x="236105" y="305114"/>
                    <a:pt x="245970" y="296579"/>
                    <a:pt x="259309" y="294306"/>
                  </a:cubicBezTo>
                  <a:cubicBezTo>
                    <a:pt x="272647" y="292033"/>
                    <a:pt x="270674" y="275993"/>
                    <a:pt x="271661" y="266900"/>
                  </a:cubicBezTo>
                  <a:cubicBezTo>
                    <a:pt x="272647" y="257808"/>
                    <a:pt x="294864" y="244040"/>
                    <a:pt x="296365" y="237221"/>
                  </a:cubicBezTo>
                  <a:cubicBezTo>
                    <a:pt x="297866" y="230358"/>
                    <a:pt x="283498" y="204067"/>
                    <a:pt x="296837" y="180650"/>
                  </a:cubicBezTo>
                  <a:cubicBezTo>
                    <a:pt x="310175" y="157275"/>
                    <a:pt x="324501" y="156117"/>
                    <a:pt x="324501" y="142950"/>
                  </a:cubicBezTo>
                  <a:cubicBezTo>
                    <a:pt x="324501" y="130898"/>
                    <a:pt x="338311" y="126395"/>
                    <a:pt x="355123" y="124079"/>
                  </a:cubicBezTo>
                  <a:cubicBezTo>
                    <a:pt x="371893" y="121848"/>
                    <a:pt x="377340" y="108681"/>
                    <a:pt x="391665" y="101819"/>
                  </a:cubicBezTo>
                  <a:cubicBezTo>
                    <a:pt x="403717" y="96029"/>
                    <a:pt x="408006" y="85779"/>
                    <a:pt x="405561" y="6948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14" name="Freeform: Shape 242">
              <a:extLst>
                <a:ext uri="{FF2B5EF4-FFF2-40B4-BE49-F238E27FC236}">
                  <a16:creationId xmlns:a16="http://schemas.microsoft.com/office/drawing/2014/main" id="{0860D465-70E9-B52F-F472-1AB1BF5706D8}"/>
                </a:ext>
              </a:extLst>
            </p:cNvPr>
            <p:cNvSpPr/>
            <p:nvPr/>
          </p:nvSpPr>
          <p:spPr>
            <a:xfrm>
              <a:off x="7060514" y="3183240"/>
              <a:ext cx="32803" cy="26242"/>
            </a:xfrm>
            <a:custGeom>
              <a:avLst/>
              <a:gdLst>
                <a:gd name="connsiteX0" fmla="*/ 36580 w 42889"/>
                <a:gd name="connsiteY0" fmla="*/ 13664 h 34311"/>
                <a:gd name="connsiteX1" fmla="*/ 7458 w 42889"/>
                <a:gd name="connsiteY1" fmla="*/ 25073 h 34311"/>
                <a:gd name="connsiteX2" fmla="*/ 36580 w 42889"/>
                <a:gd name="connsiteY2" fmla="*/ 13664 h 34311"/>
              </a:gdLst>
              <a:ahLst/>
              <a:cxnLst>
                <a:cxn ang="0">
                  <a:pos x="connsiteX0" y="connsiteY0"/>
                </a:cxn>
                <a:cxn ang="0">
                  <a:pos x="connsiteX1" y="connsiteY1"/>
                </a:cxn>
                <a:cxn ang="0">
                  <a:pos x="connsiteX2" y="connsiteY2"/>
                </a:cxn>
              </a:cxnLst>
              <a:rect l="l" t="t" r="r" b="b"/>
              <a:pathLst>
                <a:path w="42889" h="34311">
                  <a:moveTo>
                    <a:pt x="36580" y="13664"/>
                  </a:moveTo>
                  <a:cubicBezTo>
                    <a:pt x="34093" y="-5765"/>
                    <a:pt x="167" y="19497"/>
                    <a:pt x="7458" y="25073"/>
                  </a:cubicBezTo>
                  <a:cubicBezTo>
                    <a:pt x="22255" y="36524"/>
                    <a:pt x="39024" y="33093"/>
                    <a:pt x="36580" y="1366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15" name="Freeform: Shape 243">
              <a:extLst>
                <a:ext uri="{FF2B5EF4-FFF2-40B4-BE49-F238E27FC236}">
                  <a16:creationId xmlns:a16="http://schemas.microsoft.com/office/drawing/2014/main" id="{381AC197-1094-E6C9-B45E-39C3864FDAF0}"/>
                </a:ext>
              </a:extLst>
            </p:cNvPr>
            <p:cNvSpPr/>
            <p:nvPr/>
          </p:nvSpPr>
          <p:spPr>
            <a:xfrm>
              <a:off x="7327667" y="2928663"/>
              <a:ext cx="95130" cy="62327"/>
            </a:xfrm>
            <a:custGeom>
              <a:avLst/>
              <a:gdLst>
                <a:gd name="connsiteX0" fmla="*/ 6684 w 124378"/>
                <a:gd name="connsiteY0" fmla="*/ 69321 h 81489"/>
                <a:gd name="connsiteX1" fmla="*/ 28000 w 124378"/>
                <a:gd name="connsiteY1" fmla="*/ 66190 h 81489"/>
                <a:gd name="connsiteX2" fmla="*/ 33833 w 124378"/>
                <a:gd name="connsiteY2" fmla="*/ 77685 h 81489"/>
                <a:gd name="connsiteX3" fmla="*/ 57380 w 124378"/>
                <a:gd name="connsiteY3" fmla="*/ 72452 h 81489"/>
                <a:gd name="connsiteX4" fmla="*/ 78095 w 124378"/>
                <a:gd name="connsiteY4" fmla="*/ 73310 h 81489"/>
                <a:gd name="connsiteX5" fmla="*/ 89932 w 124378"/>
                <a:gd name="connsiteY5" fmla="*/ 56197 h 81489"/>
                <a:gd name="connsiteX6" fmla="*/ 98081 w 124378"/>
                <a:gd name="connsiteY6" fmla="*/ 37326 h 81489"/>
                <a:gd name="connsiteX7" fmla="*/ 118840 w 124378"/>
                <a:gd name="connsiteY7" fmla="*/ 21071 h 81489"/>
                <a:gd name="connsiteX8" fmla="*/ 110691 w 124378"/>
                <a:gd name="connsiteY8" fmla="*/ 6489 h 81489"/>
                <a:gd name="connsiteX9" fmla="*/ 87702 w 124378"/>
                <a:gd name="connsiteY9" fmla="*/ 15066 h 81489"/>
                <a:gd name="connsiteX10" fmla="*/ 58838 w 124378"/>
                <a:gd name="connsiteY10" fmla="*/ 27075 h 81489"/>
                <a:gd name="connsiteX11" fmla="*/ 21781 w 124378"/>
                <a:gd name="connsiteY11" fmla="*/ 19355 h 81489"/>
                <a:gd name="connsiteX12" fmla="*/ 8400 w 124378"/>
                <a:gd name="connsiteY12" fmla="*/ 18112 h 81489"/>
                <a:gd name="connsiteX13" fmla="*/ 6684 w 124378"/>
                <a:gd name="connsiteY13" fmla="*/ 69321 h 8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378" h="81489">
                  <a:moveTo>
                    <a:pt x="6684" y="69321"/>
                  </a:moveTo>
                  <a:cubicBezTo>
                    <a:pt x="14661" y="65633"/>
                    <a:pt x="23626" y="64132"/>
                    <a:pt x="28000" y="66190"/>
                  </a:cubicBezTo>
                  <a:cubicBezTo>
                    <a:pt x="31860" y="67949"/>
                    <a:pt x="33104" y="72667"/>
                    <a:pt x="33833" y="77685"/>
                  </a:cubicBezTo>
                  <a:cubicBezTo>
                    <a:pt x="40653" y="76527"/>
                    <a:pt x="53134" y="74297"/>
                    <a:pt x="57380" y="72452"/>
                  </a:cubicBezTo>
                  <a:cubicBezTo>
                    <a:pt x="63298" y="69879"/>
                    <a:pt x="76637" y="78457"/>
                    <a:pt x="78095" y="73310"/>
                  </a:cubicBezTo>
                  <a:cubicBezTo>
                    <a:pt x="79553" y="68163"/>
                    <a:pt x="84014" y="56197"/>
                    <a:pt x="89932" y="56197"/>
                  </a:cubicBezTo>
                  <a:cubicBezTo>
                    <a:pt x="95851" y="56197"/>
                    <a:pt x="92163" y="38184"/>
                    <a:pt x="98081" y="37326"/>
                  </a:cubicBezTo>
                  <a:cubicBezTo>
                    <a:pt x="104000" y="36468"/>
                    <a:pt x="118840" y="21071"/>
                    <a:pt x="118840" y="21071"/>
                  </a:cubicBezTo>
                  <a:cubicBezTo>
                    <a:pt x="118840" y="21071"/>
                    <a:pt x="112921" y="7389"/>
                    <a:pt x="110691" y="6489"/>
                  </a:cubicBezTo>
                  <a:cubicBezTo>
                    <a:pt x="108460" y="5631"/>
                    <a:pt x="101041" y="15066"/>
                    <a:pt x="87702" y="15066"/>
                  </a:cubicBezTo>
                  <a:cubicBezTo>
                    <a:pt x="74406" y="15066"/>
                    <a:pt x="64756" y="27075"/>
                    <a:pt x="58838" y="27075"/>
                  </a:cubicBezTo>
                  <a:cubicBezTo>
                    <a:pt x="52919" y="27075"/>
                    <a:pt x="34391" y="20213"/>
                    <a:pt x="21781" y="19355"/>
                  </a:cubicBezTo>
                  <a:cubicBezTo>
                    <a:pt x="17364" y="19055"/>
                    <a:pt x="12732" y="18626"/>
                    <a:pt x="8400" y="18112"/>
                  </a:cubicBezTo>
                  <a:cubicBezTo>
                    <a:pt x="7199" y="31021"/>
                    <a:pt x="5869" y="51008"/>
                    <a:pt x="6684" y="6932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16" name="Freeform: Shape 244">
              <a:extLst>
                <a:ext uri="{FF2B5EF4-FFF2-40B4-BE49-F238E27FC236}">
                  <a16:creationId xmlns:a16="http://schemas.microsoft.com/office/drawing/2014/main" id="{8918F1D4-5012-C797-70F3-5B7059980DF1}"/>
                </a:ext>
              </a:extLst>
            </p:cNvPr>
            <p:cNvSpPr/>
            <p:nvPr/>
          </p:nvSpPr>
          <p:spPr>
            <a:xfrm>
              <a:off x="7504340" y="3115585"/>
              <a:ext cx="170577" cy="242745"/>
            </a:xfrm>
            <a:custGeom>
              <a:avLst/>
              <a:gdLst>
                <a:gd name="connsiteX0" fmla="*/ 215433 w 223024"/>
                <a:gd name="connsiteY0" fmla="*/ 6433 h 317380"/>
                <a:gd name="connsiteX1" fmla="*/ 199392 w 223024"/>
                <a:gd name="connsiteY1" fmla="*/ 15312 h 317380"/>
                <a:gd name="connsiteX2" fmla="*/ 186568 w 223024"/>
                <a:gd name="connsiteY2" fmla="*/ 24404 h 317380"/>
                <a:gd name="connsiteX3" fmla="*/ 151013 w 223024"/>
                <a:gd name="connsiteY3" fmla="*/ 17585 h 317380"/>
                <a:gd name="connsiteX4" fmla="*/ 106194 w 223024"/>
                <a:gd name="connsiteY4" fmla="*/ 16984 h 317380"/>
                <a:gd name="connsiteX5" fmla="*/ 105593 w 223024"/>
                <a:gd name="connsiteY5" fmla="*/ 18743 h 317380"/>
                <a:gd name="connsiteX6" fmla="*/ 74499 w 223024"/>
                <a:gd name="connsiteY6" fmla="*/ 35298 h 317380"/>
                <a:gd name="connsiteX7" fmla="*/ 58973 w 223024"/>
                <a:gd name="connsiteY7" fmla="*/ 46449 h 317380"/>
                <a:gd name="connsiteX8" fmla="*/ 36027 w 223024"/>
                <a:gd name="connsiteY8" fmla="*/ 49880 h 317380"/>
                <a:gd name="connsiteX9" fmla="*/ 24190 w 223024"/>
                <a:gd name="connsiteY9" fmla="*/ 72140 h 317380"/>
                <a:gd name="connsiteX10" fmla="*/ 16041 w 223024"/>
                <a:gd name="connsiteY10" fmla="*/ 86722 h 317380"/>
                <a:gd name="connsiteX11" fmla="*/ 6433 w 223024"/>
                <a:gd name="connsiteY11" fmla="*/ 107566 h 317380"/>
                <a:gd name="connsiteX12" fmla="*/ 7891 w 223024"/>
                <a:gd name="connsiteY12" fmla="*/ 108424 h 317380"/>
                <a:gd name="connsiteX13" fmla="*/ 25691 w 223024"/>
                <a:gd name="connsiteY13" fmla="*/ 141535 h 317380"/>
                <a:gd name="connsiteX14" fmla="*/ 49409 w 223024"/>
                <a:gd name="connsiteY14" fmla="*/ 150670 h 317380"/>
                <a:gd name="connsiteX15" fmla="*/ 79516 w 223024"/>
                <a:gd name="connsiteY15" fmla="*/ 163237 h 317380"/>
                <a:gd name="connsiteX16" fmla="*/ 43962 w 223024"/>
                <a:gd name="connsiteY16" fmla="*/ 166668 h 317380"/>
                <a:gd name="connsiteX17" fmla="*/ 50910 w 223024"/>
                <a:gd name="connsiteY17" fmla="*/ 199221 h 317380"/>
                <a:gd name="connsiteX18" fmla="*/ 68194 w 223024"/>
                <a:gd name="connsiteY18" fmla="*/ 226069 h 317380"/>
                <a:gd name="connsiteX19" fmla="*/ 99289 w 223024"/>
                <a:gd name="connsiteY19" fmla="*/ 243182 h 317380"/>
                <a:gd name="connsiteX20" fmla="*/ 93370 w 223024"/>
                <a:gd name="connsiteY20" fmla="*/ 204367 h 317380"/>
                <a:gd name="connsiteX21" fmla="*/ 116573 w 223024"/>
                <a:gd name="connsiteY21" fmla="*/ 203210 h 317380"/>
                <a:gd name="connsiteX22" fmla="*/ 101262 w 223024"/>
                <a:gd name="connsiteY22" fmla="*/ 187812 h 317380"/>
                <a:gd name="connsiteX23" fmla="*/ 113142 w 223024"/>
                <a:gd name="connsiteY23" fmla="*/ 180392 h 317380"/>
                <a:gd name="connsiteX24" fmla="*/ 137332 w 223024"/>
                <a:gd name="connsiteY24" fmla="*/ 176961 h 317380"/>
                <a:gd name="connsiteX25" fmla="*/ 126481 w 223024"/>
                <a:gd name="connsiteY25" fmla="*/ 145566 h 317380"/>
                <a:gd name="connsiteX26" fmla="*/ 98817 w 223024"/>
                <a:gd name="connsiteY26" fmla="*/ 146681 h 317380"/>
                <a:gd name="connsiteX27" fmla="*/ 109668 w 223024"/>
                <a:gd name="connsiteY27" fmla="*/ 126137 h 317380"/>
                <a:gd name="connsiteX28" fmla="*/ 82519 w 223024"/>
                <a:gd name="connsiteY28" fmla="*/ 82733 h 317380"/>
                <a:gd name="connsiteX29" fmla="*/ 99804 w 223024"/>
                <a:gd name="connsiteY29" fmla="*/ 71925 h 317380"/>
                <a:gd name="connsiteX30" fmla="*/ 126481 w 223024"/>
                <a:gd name="connsiteY30" fmla="*/ 76471 h 317380"/>
                <a:gd name="connsiteX31" fmla="*/ 132871 w 223024"/>
                <a:gd name="connsiteY31" fmla="*/ 47350 h 317380"/>
                <a:gd name="connsiteX32" fmla="*/ 153115 w 223024"/>
                <a:gd name="connsiteY32" fmla="*/ 54769 h 317380"/>
                <a:gd name="connsiteX33" fmla="*/ 178291 w 223024"/>
                <a:gd name="connsiteY33" fmla="*/ 40488 h 317380"/>
                <a:gd name="connsiteX34" fmla="*/ 200850 w 223024"/>
                <a:gd name="connsiteY34" fmla="*/ 52882 h 317380"/>
                <a:gd name="connsiteX35" fmla="*/ 208657 w 223024"/>
                <a:gd name="connsiteY35" fmla="*/ 39630 h 317380"/>
                <a:gd name="connsiteX36" fmla="*/ 218307 w 223024"/>
                <a:gd name="connsiteY36" fmla="*/ 21616 h 317380"/>
                <a:gd name="connsiteX37" fmla="*/ 215433 w 223024"/>
                <a:gd name="connsiteY37" fmla="*/ 6433 h 317380"/>
                <a:gd name="connsiteX38" fmla="*/ 187555 w 223024"/>
                <a:gd name="connsiteY38" fmla="*/ 294564 h 317380"/>
                <a:gd name="connsiteX39" fmla="*/ 134758 w 223024"/>
                <a:gd name="connsiteY39" fmla="*/ 287701 h 317380"/>
                <a:gd name="connsiteX40" fmla="*/ 114514 w 223024"/>
                <a:gd name="connsiteY40" fmla="*/ 297394 h 317380"/>
                <a:gd name="connsiteX41" fmla="*/ 163408 w 223024"/>
                <a:gd name="connsiteY41" fmla="*/ 312234 h 317380"/>
                <a:gd name="connsiteX42" fmla="*/ 208356 w 223024"/>
                <a:gd name="connsiteY42" fmla="*/ 296236 h 317380"/>
                <a:gd name="connsiteX43" fmla="*/ 187555 w 223024"/>
                <a:gd name="connsiteY43" fmla="*/ 294564 h 317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23024" h="317380">
                  <a:moveTo>
                    <a:pt x="215433" y="6433"/>
                  </a:moveTo>
                  <a:cubicBezTo>
                    <a:pt x="208013" y="7291"/>
                    <a:pt x="197720" y="10508"/>
                    <a:pt x="199392" y="15312"/>
                  </a:cubicBezTo>
                  <a:cubicBezTo>
                    <a:pt x="201365" y="21016"/>
                    <a:pt x="194417" y="24404"/>
                    <a:pt x="186568" y="24404"/>
                  </a:cubicBezTo>
                  <a:cubicBezTo>
                    <a:pt x="186568" y="24404"/>
                    <a:pt x="158905" y="22174"/>
                    <a:pt x="151013" y="17585"/>
                  </a:cubicBezTo>
                  <a:cubicBezTo>
                    <a:pt x="145008" y="14153"/>
                    <a:pt x="118632" y="15869"/>
                    <a:pt x="106194" y="16984"/>
                  </a:cubicBezTo>
                  <a:cubicBezTo>
                    <a:pt x="106151" y="17542"/>
                    <a:pt x="105936" y="18142"/>
                    <a:pt x="105593" y="18743"/>
                  </a:cubicBezTo>
                  <a:cubicBezTo>
                    <a:pt x="102634" y="23889"/>
                    <a:pt x="78916" y="37871"/>
                    <a:pt x="74499" y="35298"/>
                  </a:cubicBezTo>
                  <a:cubicBezTo>
                    <a:pt x="70038" y="32725"/>
                    <a:pt x="67851" y="43876"/>
                    <a:pt x="58973" y="46449"/>
                  </a:cubicBezTo>
                  <a:cubicBezTo>
                    <a:pt x="50051" y="49022"/>
                    <a:pt x="36756" y="45591"/>
                    <a:pt x="36027" y="49880"/>
                  </a:cubicBezTo>
                  <a:cubicBezTo>
                    <a:pt x="35255" y="54169"/>
                    <a:pt x="29336" y="66135"/>
                    <a:pt x="24190" y="72140"/>
                  </a:cubicBezTo>
                  <a:cubicBezTo>
                    <a:pt x="19000" y="78144"/>
                    <a:pt x="23417" y="85007"/>
                    <a:pt x="16041" y="86722"/>
                  </a:cubicBezTo>
                  <a:cubicBezTo>
                    <a:pt x="11151" y="87880"/>
                    <a:pt x="9135" y="98345"/>
                    <a:pt x="6433" y="107566"/>
                  </a:cubicBezTo>
                  <a:cubicBezTo>
                    <a:pt x="6905" y="107824"/>
                    <a:pt x="7377" y="108253"/>
                    <a:pt x="7891" y="108424"/>
                  </a:cubicBezTo>
                  <a:cubicBezTo>
                    <a:pt x="18743" y="112413"/>
                    <a:pt x="27149" y="127295"/>
                    <a:pt x="25691" y="141535"/>
                  </a:cubicBezTo>
                  <a:cubicBezTo>
                    <a:pt x="24233" y="155817"/>
                    <a:pt x="41474" y="160963"/>
                    <a:pt x="49409" y="150670"/>
                  </a:cubicBezTo>
                  <a:cubicBezTo>
                    <a:pt x="57300" y="140420"/>
                    <a:pt x="79516" y="156374"/>
                    <a:pt x="79516" y="163237"/>
                  </a:cubicBezTo>
                  <a:cubicBezTo>
                    <a:pt x="79516" y="170099"/>
                    <a:pt x="56785" y="155817"/>
                    <a:pt x="43962" y="166668"/>
                  </a:cubicBezTo>
                  <a:cubicBezTo>
                    <a:pt x="31138" y="177476"/>
                    <a:pt x="53869" y="187812"/>
                    <a:pt x="50910" y="199221"/>
                  </a:cubicBezTo>
                  <a:cubicBezTo>
                    <a:pt x="47907" y="210629"/>
                    <a:pt x="56828" y="226627"/>
                    <a:pt x="68194" y="226069"/>
                  </a:cubicBezTo>
                  <a:cubicBezTo>
                    <a:pt x="79559" y="225512"/>
                    <a:pt x="92383" y="247214"/>
                    <a:pt x="99289" y="243182"/>
                  </a:cubicBezTo>
                  <a:cubicBezTo>
                    <a:pt x="106237" y="239193"/>
                    <a:pt x="90925" y="208957"/>
                    <a:pt x="93370" y="204367"/>
                  </a:cubicBezTo>
                  <a:cubicBezTo>
                    <a:pt x="95857" y="199778"/>
                    <a:pt x="109668" y="212345"/>
                    <a:pt x="116573" y="203210"/>
                  </a:cubicBezTo>
                  <a:cubicBezTo>
                    <a:pt x="123521" y="194074"/>
                    <a:pt x="111641" y="187255"/>
                    <a:pt x="101262" y="187812"/>
                  </a:cubicBezTo>
                  <a:cubicBezTo>
                    <a:pt x="90882" y="188370"/>
                    <a:pt x="100790" y="171815"/>
                    <a:pt x="113142" y="180392"/>
                  </a:cubicBezTo>
                  <a:cubicBezTo>
                    <a:pt x="125451" y="188970"/>
                    <a:pt x="131413" y="178119"/>
                    <a:pt x="137332" y="176961"/>
                  </a:cubicBezTo>
                  <a:cubicBezTo>
                    <a:pt x="143250" y="175803"/>
                    <a:pt x="144751" y="151270"/>
                    <a:pt x="126481" y="145566"/>
                  </a:cubicBezTo>
                  <a:cubicBezTo>
                    <a:pt x="108210" y="139862"/>
                    <a:pt x="110697" y="161006"/>
                    <a:pt x="98817" y="146681"/>
                  </a:cubicBezTo>
                  <a:cubicBezTo>
                    <a:pt x="86980" y="132442"/>
                    <a:pt x="109668" y="138146"/>
                    <a:pt x="109668" y="126137"/>
                  </a:cubicBezTo>
                  <a:cubicBezTo>
                    <a:pt x="109668" y="114128"/>
                    <a:pt x="91397" y="97016"/>
                    <a:pt x="82519" y="82733"/>
                  </a:cubicBezTo>
                  <a:cubicBezTo>
                    <a:pt x="73641" y="68494"/>
                    <a:pt x="94871" y="61589"/>
                    <a:pt x="99804" y="71925"/>
                  </a:cubicBezTo>
                  <a:cubicBezTo>
                    <a:pt x="104735" y="82176"/>
                    <a:pt x="118074" y="80460"/>
                    <a:pt x="126481" y="76471"/>
                  </a:cubicBezTo>
                  <a:cubicBezTo>
                    <a:pt x="134887" y="72483"/>
                    <a:pt x="117602" y="54212"/>
                    <a:pt x="132871" y="47350"/>
                  </a:cubicBezTo>
                  <a:cubicBezTo>
                    <a:pt x="148182" y="40488"/>
                    <a:pt x="148182" y="52496"/>
                    <a:pt x="153115" y="54769"/>
                  </a:cubicBezTo>
                  <a:cubicBezTo>
                    <a:pt x="158047" y="57043"/>
                    <a:pt x="162465" y="40488"/>
                    <a:pt x="178291" y="40488"/>
                  </a:cubicBezTo>
                  <a:cubicBezTo>
                    <a:pt x="186526" y="40488"/>
                    <a:pt x="193774" y="46835"/>
                    <a:pt x="200850" y="52882"/>
                  </a:cubicBezTo>
                  <a:cubicBezTo>
                    <a:pt x="205139" y="47436"/>
                    <a:pt x="208657" y="44262"/>
                    <a:pt x="208657" y="39630"/>
                  </a:cubicBezTo>
                  <a:cubicBezTo>
                    <a:pt x="208657" y="33625"/>
                    <a:pt x="218307" y="31052"/>
                    <a:pt x="218307" y="21616"/>
                  </a:cubicBezTo>
                  <a:cubicBezTo>
                    <a:pt x="218178" y="17070"/>
                    <a:pt x="216634" y="11366"/>
                    <a:pt x="215433" y="6433"/>
                  </a:cubicBezTo>
                  <a:close/>
                  <a:moveTo>
                    <a:pt x="187555" y="294564"/>
                  </a:moveTo>
                  <a:cubicBezTo>
                    <a:pt x="179620" y="289460"/>
                    <a:pt x="144108" y="297995"/>
                    <a:pt x="134758" y="287701"/>
                  </a:cubicBezTo>
                  <a:cubicBezTo>
                    <a:pt x="125365" y="277408"/>
                    <a:pt x="106237" y="295807"/>
                    <a:pt x="114514" y="297394"/>
                  </a:cubicBezTo>
                  <a:cubicBezTo>
                    <a:pt x="126352" y="299668"/>
                    <a:pt x="144151" y="311677"/>
                    <a:pt x="163408" y="312234"/>
                  </a:cubicBezTo>
                  <a:cubicBezTo>
                    <a:pt x="182665" y="312835"/>
                    <a:pt x="208828" y="301984"/>
                    <a:pt x="208356" y="296236"/>
                  </a:cubicBezTo>
                  <a:cubicBezTo>
                    <a:pt x="207798" y="290575"/>
                    <a:pt x="195446" y="299711"/>
                    <a:pt x="187555" y="29456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17" name="Freeform: Shape 246">
              <a:extLst>
                <a:ext uri="{FF2B5EF4-FFF2-40B4-BE49-F238E27FC236}">
                  <a16:creationId xmlns:a16="http://schemas.microsoft.com/office/drawing/2014/main" id="{CFE32777-6AFA-A859-4487-B45BD85AD228}"/>
                </a:ext>
              </a:extLst>
            </p:cNvPr>
            <p:cNvSpPr/>
            <p:nvPr/>
          </p:nvSpPr>
          <p:spPr>
            <a:xfrm>
              <a:off x="6377744" y="2090775"/>
              <a:ext cx="278829" cy="144335"/>
            </a:xfrm>
            <a:custGeom>
              <a:avLst/>
              <a:gdLst>
                <a:gd name="connsiteX0" fmla="*/ 341696 w 364559"/>
                <a:gd name="connsiteY0" fmla="*/ 61889 h 188712"/>
                <a:gd name="connsiteX1" fmla="*/ 332646 w 364559"/>
                <a:gd name="connsiteY1" fmla="*/ 59530 h 188712"/>
                <a:gd name="connsiteX2" fmla="*/ 317463 w 364559"/>
                <a:gd name="connsiteY2" fmla="*/ 58930 h 188712"/>
                <a:gd name="connsiteX3" fmla="*/ 291301 w 364559"/>
                <a:gd name="connsiteY3" fmla="*/ 20415 h 188712"/>
                <a:gd name="connsiteX4" fmla="*/ 276890 w 364559"/>
                <a:gd name="connsiteY4" fmla="*/ 9607 h 188712"/>
                <a:gd name="connsiteX5" fmla="*/ 259691 w 364559"/>
                <a:gd name="connsiteY5" fmla="*/ 6820 h 188712"/>
                <a:gd name="connsiteX6" fmla="*/ 258791 w 364559"/>
                <a:gd name="connsiteY6" fmla="*/ 26463 h 188712"/>
                <a:gd name="connsiteX7" fmla="*/ 239061 w 364559"/>
                <a:gd name="connsiteY7" fmla="*/ 28178 h 188712"/>
                <a:gd name="connsiteX8" fmla="*/ 225723 w 364559"/>
                <a:gd name="connsiteY8" fmla="*/ 28736 h 188712"/>
                <a:gd name="connsiteX9" fmla="*/ 206466 w 364559"/>
                <a:gd name="connsiteY9" fmla="*/ 32167 h 188712"/>
                <a:gd name="connsiteX10" fmla="*/ 189181 w 364559"/>
                <a:gd name="connsiteY10" fmla="*/ 25305 h 188712"/>
                <a:gd name="connsiteX11" fmla="*/ 166965 w 364559"/>
                <a:gd name="connsiteY11" fmla="*/ 43018 h 188712"/>
                <a:gd name="connsiteX12" fmla="*/ 153626 w 364559"/>
                <a:gd name="connsiteY12" fmla="*/ 34998 h 188712"/>
                <a:gd name="connsiteX13" fmla="*/ 138314 w 364559"/>
                <a:gd name="connsiteY13" fmla="*/ 47007 h 188712"/>
                <a:gd name="connsiteX14" fmla="*/ 133897 w 364559"/>
                <a:gd name="connsiteY14" fmla="*/ 64677 h 188712"/>
                <a:gd name="connsiteX15" fmla="*/ 112152 w 364559"/>
                <a:gd name="connsiteY15" fmla="*/ 76129 h 188712"/>
                <a:gd name="connsiteX16" fmla="*/ 103274 w 364559"/>
                <a:gd name="connsiteY16" fmla="*/ 45291 h 188712"/>
                <a:gd name="connsiteX17" fmla="*/ 52408 w 364559"/>
                <a:gd name="connsiteY17" fmla="*/ 6433 h 188712"/>
                <a:gd name="connsiteX18" fmla="*/ 57339 w 364559"/>
                <a:gd name="connsiteY18" fmla="*/ 28178 h 188712"/>
                <a:gd name="connsiteX19" fmla="*/ 44987 w 364559"/>
                <a:gd name="connsiteY19" fmla="*/ 27020 h 188712"/>
                <a:gd name="connsiteX20" fmla="*/ 23243 w 364559"/>
                <a:gd name="connsiteY20" fmla="*/ 36713 h 188712"/>
                <a:gd name="connsiteX21" fmla="*/ 6473 w 364559"/>
                <a:gd name="connsiteY21" fmla="*/ 62404 h 188712"/>
                <a:gd name="connsiteX22" fmla="*/ 38554 w 364559"/>
                <a:gd name="connsiteY22" fmla="*/ 71539 h 188712"/>
                <a:gd name="connsiteX23" fmla="*/ 79085 w 364559"/>
                <a:gd name="connsiteY23" fmla="*/ 71539 h 188712"/>
                <a:gd name="connsiteX24" fmla="*/ 72651 w 364559"/>
                <a:gd name="connsiteY24" fmla="*/ 90368 h 188712"/>
                <a:gd name="connsiteX25" fmla="*/ 55410 w 364559"/>
                <a:gd name="connsiteY25" fmla="*/ 101219 h 188712"/>
                <a:gd name="connsiteX26" fmla="*/ 17367 w 364559"/>
                <a:gd name="connsiteY26" fmla="*/ 113228 h 188712"/>
                <a:gd name="connsiteX27" fmla="*/ 65746 w 364559"/>
                <a:gd name="connsiteY27" fmla="*/ 114386 h 188712"/>
                <a:gd name="connsiteX28" fmla="*/ 77626 w 364559"/>
                <a:gd name="connsiteY28" fmla="*/ 128668 h 188712"/>
                <a:gd name="connsiteX29" fmla="*/ 87491 w 364559"/>
                <a:gd name="connsiteY29" fmla="*/ 141792 h 188712"/>
                <a:gd name="connsiteX30" fmla="*/ 76168 w 364559"/>
                <a:gd name="connsiteY30" fmla="*/ 159505 h 188712"/>
                <a:gd name="connsiteX31" fmla="*/ 59356 w 364559"/>
                <a:gd name="connsiteY31" fmla="*/ 172072 h 188712"/>
                <a:gd name="connsiteX32" fmla="*/ 101816 w 364559"/>
                <a:gd name="connsiteY32" fmla="*/ 170356 h 188712"/>
                <a:gd name="connsiteX33" fmla="*/ 137714 w 364559"/>
                <a:gd name="connsiteY33" fmla="*/ 183395 h 188712"/>
                <a:gd name="connsiteX34" fmla="*/ 152382 w 364559"/>
                <a:gd name="connsiteY34" fmla="*/ 183695 h 188712"/>
                <a:gd name="connsiteX35" fmla="*/ 220448 w 364559"/>
                <a:gd name="connsiteY35" fmla="*/ 171643 h 188712"/>
                <a:gd name="connsiteX36" fmla="*/ 225122 w 364559"/>
                <a:gd name="connsiteY36" fmla="*/ 170957 h 188712"/>
                <a:gd name="connsiteX37" fmla="*/ 225294 w 364559"/>
                <a:gd name="connsiteY37" fmla="*/ 165295 h 188712"/>
                <a:gd name="connsiteX38" fmla="*/ 257375 w 364559"/>
                <a:gd name="connsiteY38" fmla="*/ 129183 h 188712"/>
                <a:gd name="connsiteX39" fmla="*/ 285983 w 364559"/>
                <a:gd name="connsiteY39" fmla="*/ 124122 h 188712"/>
                <a:gd name="connsiteX40" fmla="*/ 297820 w 364559"/>
                <a:gd name="connsiteY40" fmla="*/ 126695 h 188712"/>
                <a:gd name="connsiteX41" fmla="*/ 311287 w 364559"/>
                <a:gd name="connsiteY41" fmla="*/ 123049 h 188712"/>
                <a:gd name="connsiteX42" fmla="*/ 348301 w 364559"/>
                <a:gd name="connsiteY42" fmla="*/ 111727 h 188712"/>
                <a:gd name="connsiteX43" fmla="*/ 359194 w 364559"/>
                <a:gd name="connsiteY43" fmla="*/ 93842 h 188712"/>
                <a:gd name="connsiteX44" fmla="*/ 341696 w 364559"/>
                <a:gd name="connsiteY44" fmla="*/ 61889 h 188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4559" h="188712">
                  <a:moveTo>
                    <a:pt x="341696" y="61889"/>
                  </a:moveTo>
                  <a:cubicBezTo>
                    <a:pt x="338350" y="61889"/>
                    <a:pt x="335305" y="60946"/>
                    <a:pt x="332646" y="59530"/>
                  </a:cubicBezTo>
                  <a:cubicBezTo>
                    <a:pt x="327542" y="60388"/>
                    <a:pt x="322310" y="60260"/>
                    <a:pt x="317463" y="58930"/>
                  </a:cubicBezTo>
                  <a:cubicBezTo>
                    <a:pt x="300007" y="53998"/>
                    <a:pt x="290872" y="37700"/>
                    <a:pt x="291301" y="20415"/>
                  </a:cubicBezTo>
                  <a:cubicBezTo>
                    <a:pt x="287184" y="18828"/>
                    <a:pt x="281908" y="13896"/>
                    <a:pt x="276890" y="9607"/>
                  </a:cubicBezTo>
                  <a:cubicBezTo>
                    <a:pt x="270671" y="8363"/>
                    <a:pt x="265095" y="7549"/>
                    <a:pt x="259691" y="6820"/>
                  </a:cubicBezTo>
                  <a:cubicBezTo>
                    <a:pt x="257375" y="12438"/>
                    <a:pt x="260335" y="21059"/>
                    <a:pt x="258791" y="26463"/>
                  </a:cubicBezTo>
                  <a:cubicBezTo>
                    <a:pt x="256818" y="33325"/>
                    <a:pt x="239061" y="20158"/>
                    <a:pt x="239061" y="28178"/>
                  </a:cubicBezTo>
                  <a:cubicBezTo>
                    <a:pt x="239061" y="36156"/>
                    <a:pt x="231642" y="37314"/>
                    <a:pt x="225723" y="28736"/>
                  </a:cubicBezTo>
                  <a:cubicBezTo>
                    <a:pt x="219804" y="20158"/>
                    <a:pt x="205951" y="25305"/>
                    <a:pt x="206466" y="32167"/>
                  </a:cubicBezTo>
                  <a:cubicBezTo>
                    <a:pt x="206937" y="39029"/>
                    <a:pt x="200547" y="33325"/>
                    <a:pt x="189181" y="25305"/>
                  </a:cubicBezTo>
                  <a:cubicBezTo>
                    <a:pt x="177816" y="17327"/>
                    <a:pt x="165978" y="34440"/>
                    <a:pt x="166965" y="43018"/>
                  </a:cubicBezTo>
                  <a:cubicBezTo>
                    <a:pt x="167951" y="51596"/>
                    <a:pt x="163019" y="53826"/>
                    <a:pt x="153626" y="34998"/>
                  </a:cubicBezTo>
                  <a:cubicBezTo>
                    <a:pt x="144233" y="16169"/>
                    <a:pt x="133383" y="36713"/>
                    <a:pt x="138314" y="47007"/>
                  </a:cubicBezTo>
                  <a:cubicBezTo>
                    <a:pt x="143247" y="57257"/>
                    <a:pt x="141274" y="69824"/>
                    <a:pt x="133897" y="64677"/>
                  </a:cubicBezTo>
                  <a:cubicBezTo>
                    <a:pt x="126477" y="59573"/>
                    <a:pt x="116613" y="68108"/>
                    <a:pt x="112152" y="76129"/>
                  </a:cubicBezTo>
                  <a:cubicBezTo>
                    <a:pt x="107691" y="84106"/>
                    <a:pt x="91908" y="52711"/>
                    <a:pt x="103274" y="45291"/>
                  </a:cubicBezTo>
                  <a:cubicBezTo>
                    <a:pt x="114639" y="37871"/>
                    <a:pt x="67247" y="6433"/>
                    <a:pt x="52408" y="6433"/>
                  </a:cubicBezTo>
                  <a:cubicBezTo>
                    <a:pt x="37610" y="6433"/>
                    <a:pt x="47475" y="19000"/>
                    <a:pt x="57339" y="28178"/>
                  </a:cubicBezTo>
                  <a:cubicBezTo>
                    <a:pt x="67204" y="37314"/>
                    <a:pt x="50391" y="35041"/>
                    <a:pt x="44987" y="27020"/>
                  </a:cubicBezTo>
                  <a:cubicBezTo>
                    <a:pt x="39541" y="19043"/>
                    <a:pt x="29161" y="25305"/>
                    <a:pt x="23243" y="36713"/>
                  </a:cubicBezTo>
                  <a:cubicBezTo>
                    <a:pt x="17324" y="48122"/>
                    <a:pt x="7459" y="54427"/>
                    <a:pt x="6473" y="62404"/>
                  </a:cubicBezTo>
                  <a:cubicBezTo>
                    <a:pt x="5486" y="70381"/>
                    <a:pt x="23243" y="78959"/>
                    <a:pt x="38554" y="71539"/>
                  </a:cubicBezTo>
                  <a:cubicBezTo>
                    <a:pt x="53866" y="64120"/>
                    <a:pt x="71150" y="62962"/>
                    <a:pt x="79085" y="71539"/>
                  </a:cubicBezTo>
                  <a:cubicBezTo>
                    <a:pt x="86976" y="80074"/>
                    <a:pt x="64760" y="83548"/>
                    <a:pt x="72651" y="90368"/>
                  </a:cubicBezTo>
                  <a:cubicBezTo>
                    <a:pt x="80586" y="97230"/>
                    <a:pt x="74152" y="102934"/>
                    <a:pt x="55410" y="101219"/>
                  </a:cubicBezTo>
                  <a:cubicBezTo>
                    <a:pt x="36624" y="99503"/>
                    <a:pt x="13935" y="105765"/>
                    <a:pt x="17367" y="113228"/>
                  </a:cubicBezTo>
                  <a:cubicBezTo>
                    <a:pt x="20798" y="120648"/>
                    <a:pt x="65231" y="106966"/>
                    <a:pt x="65746" y="114386"/>
                  </a:cubicBezTo>
                  <a:cubicBezTo>
                    <a:pt x="66218" y="121806"/>
                    <a:pt x="65746" y="134372"/>
                    <a:pt x="77626" y="128668"/>
                  </a:cubicBezTo>
                  <a:cubicBezTo>
                    <a:pt x="89463" y="123007"/>
                    <a:pt x="81529" y="138961"/>
                    <a:pt x="87491" y="141792"/>
                  </a:cubicBezTo>
                  <a:cubicBezTo>
                    <a:pt x="93409" y="144666"/>
                    <a:pt x="91951" y="158347"/>
                    <a:pt x="76168" y="159505"/>
                  </a:cubicBezTo>
                  <a:cubicBezTo>
                    <a:pt x="60342" y="160663"/>
                    <a:pt x="52665" y="164309"/>
                    <a:pt x="59356" y="172072"/>
                  </a:cubicBezTo>
                  <a:cubicBezTo>
                    <a:pt x="67762" y="181765"/>
                    <a:pt x="85046" y="174903"/>
                    <a:pt x="101816" y="170356"/>
                  </a:cubicBezTo>
                  <a:cubicBezTo>
                    <a:pt x="111938" y="167569"/>
                    <a:pt x="124805" y="175031"/>
                    <a:pt x="137714" y="183395"/>
                  </a:cubicBezTo>
                  <a:cubicBezTo>
                    <a:pt x="142646" y="183352"/>
                    <a:pt x="147536" y="183395"/>
                    <a:pt x="152382" y="183695"/>
                  </a:cubicBezTo>
                  <a:cubicBezTo>
                    <a:pt x="174942" y="181036"/>
                    <a:pt x="197287" y="176490"/>
                    <a:pt x="220448" y="171643"/>
                  </a:cubicBezTo>
                  <a:cubicBezTo>
                    <a:pt x="222034" y="171300"/>
                    <a:pt x="223578" y="171086"/>
                    <a:pt x="225122" y="170957"/>
                  </a:cubicBezTo>
                  <a:cubicBezTo>
                    <a:pt x="225122" y="169070"/>
                    <a:pt x="225165" y="167226"/>
                    <a:pt x="225294" y="165295"/>
                  </a:cubicBezTo>
                  <a:cubicBezTo>
                    <a:pt x="226709" y="145180"/>
                    <a:pt x="241463" y="132142"/>
                    <a:pt x="257375" y="129183"/>
                  </a:cubicBezTo>
                  <a:cubicBezTo>
                    <a:pt x="265867" y="124079"/>
                    <a:pt x="276204" y="121891"/>
                    <a:pt x="285983" y="124122"/>
                  </a:cubicBezTo>
                  <a:cubicBezTo>
                    <a:pt x="289971" y="125022"/>
                    <a:pt x="293874" y="125880"/>
                    <a:pt x="297820" y="126695"/>
                  </a:cubicBezTo>
                  <a:cubicBezTo>
                    <a:pt x="301808" y="124594"/>
                    <a:pt x="306312" y="123307"/>
                    <a:pt x="311287" y="123049"/>
                  </a:cubicBezTo>
                  <a:cubicBezTo>
                    <a:pt x="323339" y="117946"/>
                    <a:pt x="335777" y="114086"/>
                    <a:pt x="348301" y="111727"/>
                  </a:cubicBezTo>
                  <a:cubicBezTo>
                    <a:pt x="352761" y="106065"/>
                    <a:pt x="356836" y="99203"/>
                    <a:pt x="359194" y="93842"/>
                  </a:cubicBezTo>
                  <a:cubicBezTo>
                    <a:pt x="363913" y="82433"/>
                    <a:pt x="353533" y="61889"/>
                    <a:pt x="341696" y="61889"/>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18" name="Freeform: Shape 247">
              <a:extLst>
                <a:ext uri="{FF2B5EF4-FFF2-40B4-BE49-F238E27FC236}">
                  <a16:creationId xmlns:a16="http://schemas.microsoft.com/office/drawing/2014/main" id="{01C599F9-997C-ED14-2674-6445C9503EA1}"/>
                </a:ext>
              </a:extLst>
            </p:cNvPr>
            <p:cNvSpPr/>
            <p:nvPr/>
          </p:nvSpPr>
          <p:spPr>
            <a:xfrm>
              <a:off x="6731606" y="2603520"/>
              <a:ext cx="114812" cy="137774"/>
            </a:xfrm>
            <a:custGeom>
              <a:avLst/>
              <a:gdLst>
                <a:gd name="connsiteX0" fmla="*/ 138771 w 150112"/>
                <a:gd name="connsiteY0" fmla="*/ 71546 h 180135"/>
                <a:gd name="connsiteX1" fmla="*/ 138171 w 150112"/>
                <a:gd name="connsiteY1" fmla="*/ 65584 h 180135"/>
                <a:gd name="connsiteX2" fmla="*/ 127148 w 150112"/>
                <a:gd name="connsiteY2" fmla="*/ 54004 h 180135"/>
                <a:gd name="connsiteX3" fmla="*/ 107762 w 150112"/>
                <a:gd name="connsiteY3" fmla="*/ 60909 h 180135"/>
                <a:gd name="connsiteX4" fmla="*/ 86875 w 150112"/>
                <a:gd name="connsiteY4" fmla="*/ 55763 h 180135"/>
                <a:gd name="connsiteX5" fmla="*/ 94337 w 150112"/>
                <a:gd name="connsiteY5" fmla="*/ 33289 h 180135"/>
                <a:gd name="connsiteX6" fmla="*/ 103430 w 150112"/>
                <a:gd name="connsiteY6" fmla="*/ 11286 h 180135"/>
                <a:gd name="connsiteX7" fmla="*/ 99313 w 150112"/>
                <a:gd name="connsiteY7" fmla="*/ 10429 h 180135"/>
                <a:gd name="connsiteX8" fmla="*/ 65731 w 150112"/>
                <a:gd name="connsiteY8" fmla="*/ 18449 h 180135"/>
                <a:gd name="connsiteX9" fmla="*/ 81513 w 150112"/>
                <a:gd name="connsiteY9" fmla="*/ 36720 h 180135"/>
                <a:gd name="connsiteX10" fmla="*/ 54322 w 150112"/>
                <a:gd name="connsiteY10" fmla="*/ 52717 h 180135"/>
                <a:gd name="connsiteX11" fmla="*/ 18766 w 150112"/>
                <a:gd name="connsiteY11" fmla="*/ 53275 h 180135"/>
                <a:gd name="connsiteX12" fmla="*/ 22712 w 150112"/>
                <a:gd name="connsiteY12" fmla="*/ 82397 h 180135"/>
                <a:gd name="connsiteX13" fmla="*/ 38024 w 150112"/>
                <a:gd name="connsiteY13" fmla="*/ 109803 h 180135"/>
                <a:gd name="connsiteX14" fmla="*/ 29146 w 150112"/>
                <a:gd name="connsiteY14" fmla="*/ 142356 h 180135"/>
                <a:gd name="connsiteX15" fmla="*/ 6929 w 150112"/>
                <a:gd name="connsiteY15" fmla="*/ 167489 h 180135"/>
                <a:gd name="connsiteX16" fmla="*/ 7486 w 150112"/>
                <a:gd name="connsiteY16" fmla="*/ 175338 h 180135"/>
                <a:gd name="connsiteX17" fmla="*/ 91206 w 150112"/>
                <a:gd name="connsiteY17" fmla="*/ 177139 h 180135"/>
                <a:gd name="connsiteX18" fmla="*/ 97769 w 150112"/>
                <a:gd name="connsiteY18" fmla="*/ 170921 h 180135"/>
                <a:gd name="connsiteX19" fmla="*/ 138728 w 150112"/>
                <a:gd name="connsiteY19" fmla="*/ 161227 h 180135"/>
                <a:gd name="connsiteX20" fmla="*/ 138771 w 150112"/>
                <a:gd name="connsiteY20" fmla="*/ 71546 h 18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0112" h="180135">
                  <a:moveTo>
                    <a:pt x="138771" y="71546"/>
                  </a:moveTo>
                  <a:cubicBezTo>
                    <a:pt x="137741" y="69101"/>
                    <a:pt x="137741" y="67214"/>
                    <a:pt x="138171" y="65584"/>
                  </a:cubicBezTo>
                  <a:cubicBezTo>
                    <a:pt x="134053" y="61982"/>
                    <a:pt x="130150" y="58122"/>
                    <a:pt x="127148" y="54004"/>
                  </a:cubicBezTo>
                  <a:cubicBezTo>
                    <a:pt x="114453" y="36763"/>
                    <a:pt x="109220" y="50573"/>
                    <a:pt x="107762" y="60909"/>
                  </a:cubicBezTo>
                  <a:cubicBezTo>
                    <a:pt x="106261" y="71289"/>
                    <a:pt x="94337" y="57478"/>
                    <a:pt x="86875" y="55763"/>
                  </a:cubicBezTo>
                  <a:cubicBezTo>
                    <a:pt x="79412" y="54004"/>
                    <a:pt x="89105" y="37620"/>
                    <a:pt x="94337" y="33289"/>
                  </a:cubicBezTo>
                  <a:cubicBezTo>
                    <a:pt x="97812" y="30415"/>
                    <a:pt x="101285" y="22395"/>
                    <a:pt x="103430" y="11286"/>
                  </a:cubicBezTo>
                  <a:cubicBezTo>
                    <a:pt x="102015" y="11286"/>
                    <a:pt x="100642" y="11072"/>
                    <a:pt x="99313" y="10429"/>
                  </a:cubicBezTo>
                  <a:cubicBezTo>
                    <a:pt x="85502" y="4167"/>
                    <a:pt x="66202" y="4167"/>
                    <a:pt x="65731" y="18449"/>
                  </a:cubicBezTo>
                  <a:cubicBezTo>
                    <a:pt x="65216" y="32731"/>
                    <a:pt x="81042" y="27584"/>
                    <a:pt x="81513" y="36720"/>
                  </a:cubicBezTo>
                  <a:cubicBezTo>
                    <a:pt x="81985" y="45855"/>
                    <a:pt x="65731" y="43582"/>
                    <a:pt x="54322" y="52717"/>
                  </a:cubicBezTo>
                  <a:cubicBezTo>
                    <a:pt x="42999" y="61853"/>
                    <a:pt x="30604" y="46456"/>
                    <a:pt x="18766" y="53275"/>
                  </a:cubicBezTo>
                  <a:cubicBezTo>
                    <a:pt x="6929" y="60094"/>
                    <a:pt x="31590" y="68158"/>
                    <a:pt x="22712" y="82397"/>
                  </a:cubicBezTo>
                  <a:cubicBezTo>
                    <a:pt x="13835" y="96679"/>
                    <a:pt x="23184" y="96079"/>
                    <a:pt x="38024" y="109803"/>
                  </a:cubicBezTo>
                  <a:cubicBezTo>
                    <a:pt x="52821" y="123528"/>
                    <a:pt x="29146" y="126916"/>
                    <a:pt x="29146" y="142356"/>
                  </a:cubicBezTo>
                  <a:cubicBezTo>
                    <a:pt x="29146" y="157753"/>
                    <a:pt x="10875" y="157196"/>
                    <a:pt x="6929" y="167489"/>
                  </a:cubicBezTo>
                  <a:cubicBezTo>
                    <a:pt x="6071" y="169719"/>
                    <a:pt x="6371" y="172464"/>
                    <a:pt x="7486" y="175338"/>
                  </a:cubicBezTo>
                  <a:cubicBezTo>
                    <a:pt x="35407" y="175595"/>
                    <a:pt x="63286" y="177011"/>
                    <a:pt x="91206" y="177139"/>
                  </a:cubicBezTo>
                  <a:cubicBezTo>
                    <a:pt x="93523" y="175209"/>
                    <a:pt x="95753" y="173151"/>
                    <a:pt x="97769" y="170921"/>
                  </a:cubicBezTo>
                  <a:cubicBezTo>
                    <a:pt x="114539" y="152650"/>
                    <a:pt x="123416" y="170320"/>
                    <a:pt x="138728" y="161227"/>
                  </a:cubicBezTo>
                  <a:cubicBezTo>
                    <a:pt x="154082" y="152092"/>
                    <a:pt x="144689" y="85270"/>
                    <a:pt x="138771" y="7154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19" name="Freeform: Shape 248">
              <a:extLst>
                <a:ext uri="{FF2B5EF4-FFF2-40B4-BE49-F238E27FC236}">
                  <a16:creationId xmlns:a16="http://schemas.microsoft.com/office/drawing/2014/main" id="{DBCCC4BD-F72E-CB53-A965-417A0DA96C70}"/>
                </a:ext>
              </a:extLst>
            </p:cNvPr>
            <p:cNvSpPr/>
            <p:nvPr/>
          </p:nvSpPr>
          <p:spPr>
            <a:xfrm>
              <a:off x="6815602" y="2468768"/>
              <a:ext cx="26242" cy="29523"/>
            </a:xfrm>
            <a:custGeom>
              <a:avLst/>
              <a:gdLst>
                <a:gd name="connsiteX0" fmla="*/ 19898 w 34311"/>
                <a:gd name="connsiteY0" fmla="*/ 6433 h 38600"/>
                <a:gd name="connsiteX1" fmla="*/ 8704 w 34311"/>
                <a:gd name="connsiteY1" fmla="*/ 34740 h 38600"/>
                <a:gd name="connsiteX2" fmla="*/ 29892 w 34311"/>
                <a:gd name="connsiteY2" fmla="*/ 15140 h 38600"/>
                <a:gd name="connsiteX3" fmla="*/ 19898 w 34311"/>
                <a:gd name="connsiteY3" fmla="*/ 6433 h 38600"/>
              </a:gdLst>
              <a:ahLst/>
              <a:cxnLst>
                <a:cxn ang="0">
                  <a:pos x="connsiteX0" y="connsiteY0"/>
                </a:cxn>
                <a:cxn ang="0">
                  <a:pos x="connsiteX1" y="connsiteY1"/>
                </a:cxn>
                <a:cxn ang="0">
                  <a:pos x="connsiteX2" y="connsiteY2"/>
                </a:cxn>
                <a:cxn ang="0">
                  <a:pos x="connsiteX3" y="connsiteY3"/>
                </a:cxn>
              </a:cxnLst>
              <a:rect l="l" t="t" r="r" b="b"/>
              <a:pathLst>
                <a:path w="34311" h="38600">
                  <a:moveTo>
                    <a:pt x="19898" y="6433"/>
                  </a:moveTo>
                  <a:cubicBezTo>
                    <a:pt x="11149" y="16727"/>
                    <a:pt x="2100" y="35041"/>
                    <a:pt x="8704" y="34740"/>
                  </a:cubicBezTo>
                  <a:cubicBezTo>
                    <a:pt x="16853" y="34397"/>
                    <a:pt x="25689" y="24490"/>
                    <a:pt x="29892" y="15140"/>
                  </a:cubicBezTo>
                  <a:cubicBezTo>
                    <a:pt x="25903" y="12910"/>
                    <a:pt x="22557" y="9907"/>
                    <a:pt x="19898" y="643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20" name="Freeform: Shape 249">
              <a:extLst>
                <a:ext uri="{FF2B5EF4-FFF2-40B4-BE49-F238E27FC236}">
                  <a16:creationId xmlns:a16="http://schemas.microsoft.com/office/drawing/2014/main" id="{E1A000A0-8350-F5BE-30B3-4E0C5E4A15B6}"/>
                </a:ext>
              </a:extLst>
            </p:cNvPr>
            <p:cNvSpPr/>
            <p:nvPr/>
          </p:nvSpPr>
          <p:spPr>
            <a:xfrm>
              <a:off x="6791015" y="2597790"/>
              <a:ext cx="72167" cy="59046"/>
            </a:xfrm>
            <a:custGeom>
              <a:avLst/>
              <a:gdLst>
                <a:gd name="connsiteX0" fmla="*/ 25710 w 94356"/>
                <a:gd name="connsiteY0" fmla="*/ 18778 h 77200"/>
                <a:gd name="connsiteX1" fmla="*/ 16618 w 94356"/>
                <a:gd name="connsiteY1" fmla="*/ 40780 h 77200"/>
                <a:gd name="connsiteX2" fmla="*/ 9155 w 94356"/>
                <a:gd name="connsiteY2" fmla="*/ 63254 h 77200"/>
                <a:gd name="connsiteX3" fmla="*/ 30042 w 94356"/>
                <a:gd name="connsiteY3" fmla="*/ 68401 h 77200"/>
                <a:gd name="connsiteX4" fmla="*/ 49428 w 94356"/>
                <a:gd name="connsiteY4" fmla="*/ 61496 h 77200"/>
                <a:gd name="connsiteX5" fmla="*/ 60451 w 94356"/>
                <a:gd name="connsiteY5" fmla="*/ 73076 h 77200"/>
                <a:gd name="connsiteX6" fmla="*/ 86228 w 94356"/>
                <a:gd name="connsiteY6" fmla="*/ 54462 h 77200"/>
                <a:gd name="connsiteX7" fmla="*/ 67485 w 94356"/>
                <a:gd name="connsiteY7" fmla="*/ 11058 h 77200"/>
                <a:gd name="connsiteX8" fmla="*/ 25710 w 94356"/>
                <a:gd name="connsiteY8" fmla="*/ 18778 h 7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356" h="77200">
                  <a:moveTo>
                    <a:pt x="25710" y="18778"/>
                  </a:moveTo>
                  <a:cubicBezTo>
                    <a:pt x="23566" y="29887"/>
                    <a:pt x="20092" y="37907"/>
                    <a:pt x="16618" y="40780"/>
                  </a:cubicBezTo>
                  <a:cubicBezTo>
                    <a:pt x="11385" y="45112"/>
                    <a:pt x="1692" y="61496"/>
                    <a:pt x="9155" y="63254"/>
                  </a:cubicBezTo>
                  <a:cubicBezTo>
                    <a:pt x="16618" y="64970"/>
                    <a:pt x="28541" y="78780"/>
                    <a:pt x="30042" y="68401"/>
                  </a:cubicBezTo>
                  <a:cubicBezTo>
                    <a:pt x="31501" y="58065"/>
                    <a:pt x="36733" y="44254"/>
                    <a:pt x="49428" y="61496"/>
                  </a:cubicBezTo>
                  <a:cubicBezTo>
                    <a:pt x="52431" y="65613"/>
                    <a:pt x="56333" y="69516"/>
                    <a:pt x="60451" y="73076"/>
                  </a:cubicBezTo>
                  <a:cubicBezTo>
                    <a:pt x="62510" y="65270"/>
                    <a:pt x="78121" y="63898"/>
                    <a:pt x="86228" y="54462"/>
                  </a:cubicBezTo>
                  <a:cubicBezTo>
                    <a:pt x="96135" y="43054"/>
                    <a:pt x="81295" y="26455"/>
                    <a:pt x="67485" y="11058"/>
                  </a:cubicBezTo>
                  <a:cubicBezTo>
                    <a:pt x="55047" y="-2838"/>
                    <a:pt x="38921" y="19036"/>
                    <a:pt x="25710" y="1877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21" name="Freeform: Shape 250">
              <a:extLst>
                <a:ext uri="{FF2B5EF4-FFF2-40B4-BE49-F238E27FC236}">
                  <a16:creationId xmlns:a16="http://schemas.microsoft.com/office/drawing/2014/main" id="{A6FD0BE1-E5B1-DEC5-A273-CA4EB8154616}"/>
                </a:ext>
              </a:extLst>
            </p:cNvPr>
            <p:cNvSpPr/>
            <p:nvPr/>
          </p:nvSpPr>
          <p:spPr>
            <a:xfrm>
              <a:off x="6826061" y="2443157"/>
              <a:ext cx="226343" cy="377239"/>
            </a:xfrm>
            <a:custGeom>
              <a:avLst/>
              <a:gdLst>
                <a:gd name="connsiteX0" fmla="*/ 284832 w 295936"/>
                <a:gd name="connsiteY0" fmla="*/ 351253 h 493227"/>
                <a:gd name="connsiteX1" fmla="*/ 280672 w 295936"/>
                <a:gd name="connsiteY1" fmla="*/ 349838 h 493227"/>
                <a:gd name="connsiteX2" fmla="*/ 258970 w 295936"/>
                <a:gd name="connsiteY2" fmla="*/ 332639 h 493227"/>
                <a:gd name="connsiteX3" fmla="*/ 256740 w 295936"/>
                <a:gd name="connsiteY3" fmla="*/ 334912 h 493227"/>
                <a:gd name="connsiteX4" fmla="*/ 240442 w 295936"/>
                <a:gd name="connsiteY4" fmla="*/ 332682 h 493227"/>
                <a:gd name="connsiteX5" fmla="*/ 239970 w 295936"/>
                <a:gd name="connsiteY5" fmla="*/ 311538 h 493227"/>
                <a:gd name="connsiteX6" fmla="*/ 229119 w 295936"/>
                <a:gd name="connsiteY6" fmla="*/ 290393 h 493227"/>
                <a:gd name="connsiteX7" fmla="*/ 229205 w 295936"/>
                <a:gd name="connsiteY7" fmla="*/ 287906 h 493227"/>
                <a:gd name="connsiteX8" fmla="*/ 212521 w 295936"/>
                <a:gd name="connsiteY8" fmla="*/ 267876 h 493227"/>
                <a:gd name="connsiteX9" fmla="*/ 208361 w 295936"/>
                <a:gd name="connsiteY9" fmla="*/ 257454 h 493227"/>
                <a:gd name="connsiteX10" fmla="*/ 205530 w 295936"/>
                <a:gd name="connsiteY10" fmla="*/ 255996 h 493227"/>
                <a:gd name="connsiteX11" fmla="*/ 188803 w 295936"/>
                <a:gd name="connsiteY11" fmla="*/ 233565 h 493227"/>
                <a:gd name="connsiteX12" fmla="*/ 187473 w 295936"/>
                <a:gd name="connsiteY12" fmla="*/ 223314 h 493227"/>
                <a:gd name="connsiteX13" fmla="*/ 185115 w 295936"/>
                <a:gd name="connsiteY13" fmla="*/ 214565 h 493227"/>
                <a:gd name="connsiteX14" fmla="*/ 166758 w 295936"/>
                <a:gd name="connsiteY14" fmla="*/ 183899 h 493227"/>
                <a:gd name="connsiteX15" fmla="*/ 159510 w 295936"/>
                <a:gd name="connsiteY15" fmla="*/ 177337 h 493227"/>
                <a:gd name="connsiteX16" fmla="*/ 129402 w 295936"/>
                <a:gd name="connsiteY16" fmla="*/ 171633 h 493227"/>
                <a:gd name="connsiteX17" fmla="*/ 136907 w 295936"/>
                <a:gd name="connsiteY17" fmla="*/ 150360 h 493227"/>
                <a:gd name="connsiteX18" fmla="*/ 134720 w 295936"/>
                <a:gd name="connsiteY18" fmla="*/ 138265 h 493227"/>
                <a:gd name="connsiteX19" fmla="*/ 156593 w 295936"/>
                <a:gd name="connsiteY19" fmla="*/ 103782 h 493227"/>
                <a:gd name="connsiteX20" fmla="*/ 163584 w 295936"/>
                <a:gd name="connsiteY20" fmla="*/ 94818 h 493227"/>
                <a:gd name="connsiteX21" fmla="*/ 164056 w 295936"/>
                <a:gd name="connsiteY21" fmla="*/ 94432 h 493227"/>
                <a:gd name="connsiteX22" fmla="*/ 166930 w 295936"/>
                <a:gd name="connsiteY22" fmla="*/ 79078 h 493227"/>
                <a:gd name="connsiteX23" fmla="*/ 105212 w 295936"/>
                <a:gd name="connsiteY23" fmla="*/ 75647 h 493227"/>
                <a:gd name="connsiteX24" fmla="*/ 93846 w 295936"/>
                <a:gd name="connsiteY24" fmla="*/ 63080 h 493227"/>
                <a:gd name="connsiteX25" fmla="*/ 119022 w 295936"/>
                <a:gd name="connsiteY25" fmla="*/ 31127 h 493227"/>
                <a:gd name="connsiteX26" fmla="*/ 123998 w 295936"/>
                <a:gd name="connsiteY26" fmla="*/ 8267 h 493227"/>
                <a:gd name="connsiteX27" fmla="*/ 109158 w 295936"/>
                <a:gd name="connsiteY27" fmla="*/ 23708 h 493227"/>
                <a:gd name="connsiteX28" fmla="*/ 73088 w 295936"/>
                <a:gd name="connsiteY28" fmla="*/ 24265 h 493227"/>
                <a:gd name="connsiteX29" fmla="*/ 67898 w 295936"/>
                <a:gd name="connsiteY29" fmla="*/ 24222 h 493227"/>
                <a:gd name="connsiteX30" fmla="*/ 53144 w 295936"/>
                <a:gd name="connsiteY30" fmla="*/ 47297 h 493227"/>
                <a:gd name="connsiteX31" fmla="*/ 52372 w 295936"/>
                <a:gd name="connsiteY31" fmla="*/ 56818 h 493227"/>
                <a:gd name="connsiteX32" fmla="*/ 37576 w 295936"/>
                <a:gd name="connsiteY32" fmla="*/ 83066 h 493227"/>
                <a:gd name="connsiteX33" fmla="*/ 29212 w 295936"/>
                <a:gd name="connsiteY33" fmla="*/ 93875 h 493227"/>
                <a:gd name="connsiteX34" fmla="*/ 8968 w 295936"/>
                <a:gd name="connsiteY34" fmla="*/ 85340 h 493227"/>
                <a:gd name="connsiteX35" fmla="*/ 33158 w 295936"/>
                <a:gd name="connsiteY35" fmla="*/ 108200 h 493227"/>
                <a:gd name="connsiteX36" fmla="*/ 20806 w 295936"/>
                <a:gd name="connsiteY36" fmla="*/ 136721 h 493227"/>
                <a:gd name="connsiteX37" fmla="*/ 38562 w 295936"/>
                <a:gd name="connsiteY37" fmla="*/ 157308 h 493227"/>
                <a:gd name="connsiteX38" fmla="*/ 10898 w 295936"/>
                <a:gd name="connsiteY38" fmla="*/ 181283 h 493227"/>
                <a:gd name="connsiteX39" fmla="*/ 34616 w 295936"/>
                <a:gd name="connsiteY39" fmla="*/ 171590 h 493227"/>
                <a:gd name="connsiteX40" fmla="*/ 48470 w 295936"/>
                <a:gd name="connsiteY40" fmla="*/ 194965 h 493227"/>
                <a:gd name="connsiteX41" fmla="*/ 67727 w 295936"/>
                <a:gd name="connsiteY41" fmla="*/ 164685 h 493227"/>
                <a:gd name="connsiteX42" fmla="*/ 70214 w 295936"/>
                <a:gd name="connsiteY42" fmla="*/ 191491 h 493227"/>
                <a:gd name="connsiteX43" fmla="*/ 58377 w 295936"/>
                <a:gd name="connsiteY43" fmla="*/ 230348 h 493227"/>
                <a:gd name="connsiteX44" fmla="*/ 106241 w 295936"/>
                <a:gd name="connsiteY44" fmla="*/ 225202 h 493227"/>
                <a:gd name="connsiteX45" fmla="*/ 115162 w 295936"/>
                <a:gd name="connsiteY45" fmla="*/ 236610 h 493227"/>
                <a:gd name="connsiteX46" fmla="*/ 120609 w 295936"/>
                <a:gd name="connsiteY46" fmla="*/ 260585 h 493227"/>
                <a:gd name="connsiteX47" fmla="*/ 129487 w 295936"/>
                <a:gd name="connsiteY47" fmla="*/ 274824 h 493227"/>
                <a:gd name="connsiteX48" fmla="*/ 126528 w 295936"/>
                <a:gd name="connsiteY48" fmla="*/ 309651 h 493227"/>
                <a:gd name="connsiteX49" fmla="*/ 92431 w 295936"/>
                <a:gd name="connsiteY49" fmla="*/ 311366 h 493227"/>
                <a:gd name="connsiteX50" fmla="*/ 82052 w 295936"/>
                <a:gd name="connsiteY50" fmla="*/ 317628 h 493227"/>
                <a:gd name="connsiteX51" fmla="*/ 72187 w 295936"/>
                <a:gd name="connsiteY51" fmla="*/ 341646 h 493227"/>
                <a:gd name="connsiteX52" fmla="*/ 91916 w 295936"/>
                <a:gd name="connsiteY52" fmla="*/ 356486 h 493227"/>
                <a:gd name="connsiteX53" fmla="*/ 59835 w 295936"/>
                <a:gd name="connsiteY53" fmla="*/ 382734 h 493227"/>
                <a:gd name="connsiteX54" fmla="*/ 72659 w 295936"/>
                <a:gd name="connsiteY54" fmla="*/ 398689 h 493227"/>
                <a:gd name="connsiteX55" fmla="*/ 92431 w 295936"/>
                <a:gd name="connsiteY55" fmla="*/ 403836 h 493227"/>
                <a:gd name="connsiteX56" fmla="*/ 127471 w 295936"/>
                <a:gd name="connsiteY56" fmla="*/ 409540 h 493227"/>
                <a:gd name="connsiteX57" fmla="*/ 130431 w 295936"/>
                <a:gd name="connsiteY57" fmla="*/ 419233 h 493227"/>
                <a:gd name="connsiteX58" fmla="*/ 93417 w 295936"/>
                <a:gd name="connsiteY58" fmla="*/ 424937 h 493227"/>
                <a:gd name="connsiteX59" fmla="*/ 50957 w 295936"/>
                <a:gd name="connsiteY59" fmla="*/ 485497 h 493227"/>
                <a:gd name="connsiteX60" fmla="*/ 75618 w 295936"/>
                <a:gd name="connsiteY60" fmla="*/ 469499 h 493227"/>
                <a:gd name="connsiteX61" fmla="*/ 91015 w 295936"/>
                <a:gd name="connsiteY61" fmla="*/ 469799 h 493227"/>
                <a:gd name="connsiteX62" fmla="*/ 104526 w 295936"/>
                <a:gd name="connsiteY62" fmla="*/ 455560 h 493227"/>
                <a:gd name="connsiteX63" fmla="*/ 132575 w 295936"/>
                <a:gd name="connsiteY63" fmla="*/ 451786 h 493227"/>
                <a:gd name="connsiteX64" fmla="*/ 138237 w 295936"/>
                <a:gd name="connsiteY64" fmla="*/ 454016 h 493227"/>
                <a:gd name="connsiteX65" fmla="*/ 139309 w 295936"/>
                <a:gd name="connsiteY65" fmla="*/ 454145 h 493227"/>
                <a:gd name="connsiteX66" fmla="*/ 165471 w 295936"/>
                <a:gd name="connsiteY66" fmla="*/ 445567 h 493227"/>
                <a:gd name="connsiteX67" fmla="*/ 192149 w 295936"/>
                <a:gd name="connsiteY67" fmla="*/ 452987 h 493227"/>
                <a:gd name="connsiteX68" fmla="*/ 229677 w 295936"/>
                <a:gd name="connsiteY68" fmla="*/ 444967 h 493227"/>
                <a:gd name="connsiteX69" fmla="*/ 276083 w 295936"/>
                <a:gd name="connsiteY69" fmla="*/ 422707 h 493227"/>
                <a:gd name="connsiteX70" fmla="*/ 261801 w 295936"/>
                <a:gd name="connsiteY70" fmla="*/ 414729 h 493227"/>
                <a:gd name="connsiteX71" fmla="*/ 264245 w 295936"/>
                <a:gd name="connsiteY71" fmla="*/ 391870 h 493227"/>
                <a:gd name="connsiteX72" fmla="*/ 291909 w 295936"/>
                <a:gd name="connsiteY72" fmla="*/ 354770 h 493227"/>
                <a:gd name="connsiteX73" fmla="*/ 291909 w 295936"/>
                <a:gd name="connsiteY73" fmla="*/ 354727 h 493227"/>
                <a:gd name="connsiteX74" fmla="*/ 284832 w 295936"/>
                <a:gd name="connsiteY74" fmla="*/ 351253 h 493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295936" h="493227">
                  <a:moveTo>
                    <a:pt x="284832" y="351253"/>
                  </a:moveTo>
                  <a:cubicBezTo>
                    <a:pt x="283460" y="350739"/>
                    <a:pt x="282088" y="350224"/>
                    <a:pt x="280672" y="349838"/>
                  </a:cubicBezTo>
                  <a:cubicBezTo>
                    <a:pt x="271365" y="347265"/>
                    <a:pt x="264074" y="340831"/>
                    <a:pt x="258970" y="332639"/>
                  </a:cubicBezTo>
                  <a:cubicBezTo>
                    <a:pt x="257941" y="333154"/>
                    <a:pt x="257126" y="333883"/>
                    <a:pt x="256740" y="334912"/>
                  </a:cubicBezTo>
                  <a:cubicBezTo>
                    <a:pt x="253308" y="344048"/>
                    <a:pt x="245889" y="342933"/>
                    <a:pt x="240442" y="332682"/>
                  </a:cubicBezTo>
                  <a:cubicBezTo>
                    <a:pt x="235038" y="322389"/>
                    <a:pt x="245374" y="312653"/>
                    <a:pt x="239970" y="311538"/>
                  </a:cubicBezTo>
                  <a:cubicBezTo>
                    <a:pt x="234523" y="310380"/>
                    <a:pt x="227618" y="296098"/>
                    <a:pt x="229119" y="290393"/>
                  </a:cubicBezTo>
                  <a:cubicBezTo>
                    <a:pt x="229248" y="289879"/>
                    <a:pt x="229248" y="288978"/>
                    <a:pt x="229205" y="287906"/>
                  </a:cubicBezTo>
                  <a:cubicBezTo>
                    <a:pt x="222729" y="282073"/>
                    <a:pt x="217368" y="275168"/>
                    <a:pt x="212521" y="267876"/>
                  </a:cubicBezTo>
                  <a:cubicBezTo>
                    <a:pt x="210419" y="264746"/>
                    <a:pt x="209090" y="261186"/>
                    <a:pt x="208361" y="257454"/>
                  </a:cubicBezTo>
                  <a:lnTo>
                    <a:pt x="205530" y="255996"/>
                  </a:lnTo>
                  <a:cubicBezTo>
                    <a:pt x="197081" y="251664"/>
                    <a:pt x="191591" y="242529"/>
                    <a:pt x="188803" y="233565"/>
                  </a:cubicBezTo>
                  <a:cubicBezTo>
                    <a:pt x="187731" y="230220"/>
                    <a:pt x="187345" y="226746"/>
                    <a:pt x="187473" y="223314"/>
                  </a:cubicBezTo>
                  <a:cubicBezTo>
                    <a:pt x="186573" y="220441"/>
                    <a:pt x="185801" y="217481"/>
                    <a:pt x="185115" y="214565"/>
                  </a:cubicBezTo>
                  <a:cubicBezTo>
                    <a:pt x="174735" y="208346"/>
                    <a:pt x="167830" y="196938"/>
                    <a:pt x="166758" y="183899"/>
                  </a:cubicBezTo>
                  <a:cubicBezTo>
                    <a:pt x="164313" y="182655"/>
                    <a:pt x="161783" y="180768"/>
                    <a:pt x="159510" y="177337"/>
                  </a:cubicBezTo>
                  <a:cubicBezTo>
                    <a:pt x="151103" y="164771"/>
                    <a:pt x="136779" y="171032"/>
                    <a:pt x="129402" y="171633"/>
                  </a:cubicBezTo>
                  <a:cubicBezTo>
                    <a:pt x="122925" y="172105"/>
                    <a:pt x="127729" y="159624"/>
                    <a:pt x="136907" y="150360"/>
                  </a:cubicBezTo>
                  <a:cubicBezTo>
                    <a:pt x="135663" y="146414"/>
                    <a:pt x="134891" y="142339"/>
                    <a:pt x="134720" y="138265"/>
                  </a:cubicBezTo>
                  <a:cubicBezTo>
                    <a:pt x="134076" y="123854"/>
                    <a:pt x="143812" y="109829"/>
                    <a:pt x="156593" y="103782"/>
                  </a:cubicBezTo>
                  <a:cubicBezTo>
                    <a:pt x="158652" y="100522"/>
                    <a:pt x="160925" y="97391"/>
                    <a:pt x="163584" y="94818"/>
                  </a:cubicBezTo>
                  <a:cubicBezTo>
                    <a:pt x="163713" y="94647"/>
                    <a:pt x="163884" y="94561"/>
                    <a:pt x="164056" y="94432"/>
                  </a:cubicBezTo>
                  <a:cubicBezTo>
                    <a:pt x="165858" y="87441"/>
                    <a:pt x="166930" y="81737"/>
                    <a:pt x="166930" y="79078"/>
                  </a:cubicBezTo>
                  <a:cubicBezTo>
                    <a:pt x="166930" y="69342"/>
                    <a:pt x="115076" y="69942"/>
                    <a:pt x="105212" y="75647"/>
                  </a:cubicBezTo>
                  <a:cubicBezTo>
                    <a:pt x="95304" y="81351"/>
                    <a:pt x="85483" y="67069"/>
                    <a:pt x="93846" y="63080"/>
                  </a:cubicBezTo>
                  <a:cubicBezTo>
                    <a:pt x="102252" y="59091"/>
                    <a:pt x="120009" y="39105"/>
                    <a:pt x="119022" y="31127"/>
                  </a:cubicBezTo>
                  <a:cubicBezTo>
                    <a:pt x="118036" y="23150"/>
                    <a:pt x="131374" y="15687"/>
                    <a:pt x="123998" y="8267"/>
                  </a:cubicBezTo>
                  <a:cubicBezTo>
                    <a:pt x="116578" y="848"/>
                    <a:pt x="115591" y="17960"/>
                    <a:pt x="109158" y="23708"/>
                  </a:cubicBezTo>
                  <a:cubicBezTo>
                    <a:pt x="102767" y="29412"/>
                    <a:pt x="88399" y="27696"/>
                    <a:pt x="73088" y="24265"/>
                  </a:cubicBezTo>
                  <a:cubicBezTo>
                    <a:pt x="71201" y="23836"/>
                    <a:pt x="69485" y="23879"/>
                    <a:pt x="67898" y="24222"/>
                  </a:cubicBezTo>
                  <a:cubicBezTo>
                    <a:pt x="66011" y="33486"/>
                    <a:pt x="61079" y="41978"/>
                    <a:pt x="53144" y="47297"/>
                  </a:cubicBezTo>
                  <a:cubicBezTo>
                    <a:pt x="52501" y="50899"/>
                    <a:pt x="52244" y="54245"/>
                    <a:pt x="52372" y="56818"/>
                  </a:cubicBezTo>
                  <a:cubicBezTo>
                    <a:pt x="52887" y="67669"/>
                    <a:pt x="34573" y="73931"/>
                    <a:pt x="37576" y="83066"/>
                  </a:cubicBezTo>
                  <a:cubicBezTo>
                    <a:pt x="40535" y="92202"/>
                    <a:pt x="34144" y="99064"/>
                    <a:pt x="29212" y="93875"/>
                  </a:cubicBezTo>
                  <a:cubicBezTo>
                    <a:pt x="24280" y="88728"/>
                    <a:pt x="18833" y="76204"/>
                    <a:pt x="8968" y="85340"/>
                  </a:cubicBezTo>
                  <a:cubicBezTo>
                    <a:pt x="-896" y="94475"/>
                    <a:pt x="20334" y="106484"/>
                    <a:pt x="33158" y="108200"/>
                  </a:cubicBezTo>
                  <a:cubicBezTo>
                    <a:pt x="46025" y="109915"/>
                    <a:pt x="23294" y="120723"/>
                    <a:pt x="20806" y="136721"/>
                  </a:cubicBezTo>
                  <a:cubicBezTo>
                    <a:pt x="18318" y="152719"/>
                    <a:pt x="37576" y="145899"/>
                    <a:pt x="38562" y="157308"/>
                  </a:cubicBezTo>
                  <a:cubicBezTo>
                    <a:pt x="39548" y="168716"/>
                    <a:pt x="10898" y="170475"/>
                    <a:pt x="10898" y="181283"/>
                  </a:cubicBezTo>
                  <a:cubicBezTo>
                    <a:pt x="10898" y="192177"/>
                    <a:pt x="27196" y="176179"/>
                    <a:pt x="34616" y="171590"/>
                  </a:cubicBezTo>
                  <a:cubicBezTo>
                    <a:pt x="42036" y="167001"/>
                    <a:pt x="30670" y="198396"/>
                    <a:pt x="48470" y="194965"/>
                  </a:cubicBezTo>
                  <a:cubicBezTo>
                    <a:pt x="66225" y="191533"/>
                    <a:pt x="61293" y="163570"/>
                    <a:pt x="67727" y="164685"/>
                  </a:cubicBezTo>
                  <a:cubicBezTo>
                    <a:pt x="74160" y="165843"/>
                    <a:pt x="64767" y="179525"/>
                    <a:pt x="70214" y="191491"/>
                  </a:cubicBezTo>
                  <a:cubicBezTo>
                    <a:pt x="75618" y="203500"/>
                    <a:pt x="57347" y="221770"/>
                    <a:pt x="58377" y="230348"/>
                  </a:cubicBezTo>
                  <a:cubicBezTo>
                    <a:pt x="59363" y="238883"/>
                    <a:pt x="94919" y="238883"/>
                    <a:pt x="106241" y="225202"/>
                  </a:cubicBezTo>
                  <a:cubicBezTo>
                    <a:pt x="117607" y="211477"/>
                    <a:pt x="123011" y="226360"/>
                    <a:pt x="115162" y="236610"/>
                  </a:cubicBezTo>
                  <a:cubicBezTo>
                    <a:pt x="107271" y="246904"/>
                    <a:pt x="110701" y="256596"/>
                    <a:pt x="120609" y="260585"/>
                  </a:cubicBezTo>
                  <a:cubicBezTo>
                    <a:pt x="130474" y="264574"/>
                    <a:pt x="133948" y="265689"/>
                    <a:pt x="129487" y="274824"/>
                  </a:cubicBezTo>
                  <a:cubicBezTo>
                    <a:pt x="125070" y="284003"/>
                    <a:pt x="128972" y="301073"/>
                    <a:pt x="126528" y="309651"/>
                  </a:cubicBezTo>
                  <a:cubicBezTo>
                    <a:pt x="124041" y="318229"/>
                    <a:pt x="93417" y="317070"/>
                    <a:pt x="92431" y="311366"/>
                  </a:cubicBezTo>
                  <a:cubicBezTo>
                    <a:pt x="91444" y="305662"/>
                    <a:pt x="78577" y="309651"/>
                    <a:pt x="82052" y="317628"/>
                  </a:cubicBezTo>
                  <a:cubicBezTo>
                    <a:pt x="85483" y="325648"/>
                    <a:pt x="71158" y="334183"/>
                    <a:pt x="72187" y="341646"/>
                  </a:cubicBezTo>
                  <a:cubicBezTo>
                    <a:pt x="73173" y="349109"/>
                    <a:pt x="91444" y="347350"/>
                    <a:pt x="91916" y="356486"/>
                  </a:cubicBezTo>
                  <a:cubicBezTo>
                    <a:pt x="92388" y="365621"/>
                    <a:pt x="78577" y="376429"/>
                    <a:pt x="59835" y="382734"/>
                  </a:cubicBezTo>
                  <a:cubicBezTo>
                    <a:pt x="41049" y="388996"/>
                    <a:pt x="63781" y="406151"/>
                    <a:pt x="72659" y="398689"/>
                  </a:cubicBezTo>
                  <a:cubicBezTo>
                    <a:pt x="81537" y="391269"/>
                    <a:pt x="79564" y="403836"/>
                    <a:pt x="92431" y="403836"/>
                  </a:cubicBezTo>
                  <a:cubicBezTo>
                    <a:pt x="105255" y="403836"/>
                    <a:pt x="113189" y="415845"/>
                    <a:pt x="127471" y="409540"/>
                  </a:cubicBezTo>
                  <a:cubicBezTo>
                    <a:pt x="141796" y="403235"/>
                    <a:pt x="141325" y="409540"/>
                    <a:pt x="130431" y="419233"/>
                  </a:cubicBezTo>
                  <a:cubicBezTo>
                    <a:pt x="119580" y="428926"/>
                    <a:pt x="103282" y="418675"/>
                    <a:pt x="93417" y="424937"/>
                  </a:cubicBezTo>
                  <a:cubicBezTo>
                    <a:pt x="83510" y="431199"/>
                    <a:pt x="43365" y="474774"/>
                    <a:pt x="50957" y="485497"/>
                  </a:cubicBezTo>
                  <a:cubicBezTo>
                    <a:pt x="55418" y="491759"/>
                    <a:pt x="61293" y="476361"/>
                    <a:pt x="75618" y="469499"/>
                  </a:cubicBezTo>
                  <a:cubicBezTo>
                    <a:pt x="83253" y="465854"/>
                    <a:pt x="87499" y="467398"/>
                    <a:pt x="91015" y="469799"/>
                  </a:cubicBezTo>
                  <a:cubicBezTo>
                    <a:pt x="94232" y="464009"/>
                    <a:pt x="99122" y="459120"/>
                    <a:pt x="104526" y="455560"/>
                  </a:cubicBezTo>
                  <a:cubicBezTo>
                    <a:pt x="112246" y="450413"/>
                    <a:pt x="123869" y="449298"/>
                    <a:pt x="132575" y="451786"/>
                  </a:cubicBezTo>
                  <a:cubicBezTo>
                    <a:pt x="134376" y="452300"/>
                    <a:pt x="136307" y="453072"/>
                    <a:pt x="138237" y="454016"/>
                  </a:cubicBezTo>
                  <a:cubicBezTo>
                    <a:pt x="138622" y="454059"/>
                    <a:pt x="138923" y="454059"/>
                    <a:pt x="139309" y="454145"/>
                  </a:cubicBezTo>
                  <a:cubicBezTo>
                    <a:pt x="151189" y="456418"/>
                    <a:pt x="159552" y="451271"/>
                    <a:pt x="165471" y="445567"/>
                  </a:cubicBezTo>
                  <a:cubicBezTo>
                    <a:pt x="171390" y="439863"/>
                    <a:pt x="187173" y="456975"/>
                    <a:pt x="192149" y="452987"/>
                  </a:cubicBezTo>
                  <a:cubicBezTo>
                    <a:pt x="197081" y="448998"/>
                    <a:pt x="218826" y="444409"/>
                    <a:pt x="229677" y="444967"/>
                  </a:cubicBezTo>
                  <a:cubicBezTo>
                    <a:pt x="240527" y="445567"/>
                    <a:pt x="268663" y="430727"/>
                    <a:pt x="276083" y="422707"/>
                  </a:cubicBezTo>
                  <a:cubicBezTo>
                    <a:pt x="283503" y="414729"/>
                    <a:pt x="271622" y="413014"/>
                    <a:pt x="261801" y="414729"/>
                  </a:cubicBezTo>
                  <a:cubicBezTo>
                    <a:pt x="251936" y="416445"/>
                    <a:pt x="253866" y="403278"/>
                    <a:pt x="264245" y="391870"/>
                  </a:cubicBezTo>
                  <a:cubicBezTo>
                    <a:pt x="274625" y="380461"/>
                    <a:pt x="290922" y="371883"/>
                    <a:pt x="291909" y="354770"/>
                  </a:cubicBezTo>
                  <a:cubicBezTo>
                    <a:pt x="291909" y="354770"/>
                    <a:pt x="291909" y="354727"/>
                    <a:pt x="291909" y="354727"/>
                  </a:cubicBezTo>
                  <a:cubicBezTo>
                    <a:pt x="289464" y="353612"/>
                    <a:pt x="287148" y="352411"/>
                    <a:pt x="284832" y="35125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22" name="Freeform: Shape 251">
              <a:extLst>
                <a:ext uri="{FF2B5EF4-FFF2-40B4-BE49-F238E27FC236}">
                  <a16:creationId xmlns:a16="http://schemas.microsoft.com/office/drawing/2014/main" id="{8A1D4A01-17D7-7F82-32DD-1A1AB8B8965E}"/>
                </a:ext>
              </a:extLst>
            </p:cNvPr>
            <p:cNvSpPr/>
            <p:nvPr/>
          </p:nvSpPr>
          <p:spPr>
            <a:xfrm>
              <a:off x="6815602" y="2468768"/>
              <a:ext cx="26242" cy="29523"/>
            </a:xfrm>
            <a:custGeom>
              <a:avLst/>
              <a:gdLst>
                <a:gd name="connsiteX0" fmla="*/ 19898 w 34311"/>
                <a:gd name="connsiteY0" fmla="*/ 6433 h 38600"/>
                <a:gd name="connsiteX1" fmla="*/ 8704 w 34311"/>
                <a:gd name="connsiteY1" fmla="*/ 34740 h 38600"/>
                <a:gd name="connsiteX2" fmla="*/ 29892 w 34311"/>
                <a:gd name="connsiteY2" fmla="*/ 15140 h 38600"/>
                <a:gd name="connsiteX3" fmla="*/ 19898 w 34311"/>
                <a:gd name="connsiteY3" fmla="*/ 6433 h 38600"/>
              </a:gdLst>
              <a:ahLst/>
              <a:cxnLst>
                <a:cxn ang="0">
                  <a:pos x="connsiteX0" y="connsiteY0"/>
                </a:cxn>
                <a:cxn ang="0">
                  <a:pos x="connsiteX1" y="connsiteY1"/>
                </a:cxn>
                <a:cxn ang="0">
                  <a:pos x="connsiteX2" y="connsiteY2"/>
                </a:cxn>
                <a:cxn ang="0">
                  <a:pos x="connsiteX3" y="connsiteY3"/>
                </a:cxn>
              </a:cxnLst>
              <a:rect l="l" t="t" r="r" b="b"/>
              <a:pathLst>
                <a:path w="34311" h="38600">
                  <a:moveTo>
                    <a:pt x="19898" y="6433"/>
                  </a:moveTo>
                  <a:cubicBezTo>
                    <a:pt x="11149" y="16727"/>
                    <a:pt x="2100" y="35041"/>
                    <a:pt x="8704" y="34740"/>
                  </a:cubicBezTo>
                  <a:cubicBezTo>
                    <a:pt x="16853" y="34397"/>
                    <a:pt x="25689" y="24490"/>
                    <a:pt x="29892" y="15140"/>
                  </a:cubicBezTo>
                  <a:cubicBezTo>
                    <a:pt x="25903" y="12910"/>
                    <a:pt x="22557" y="9907"/>
                    <a:pt x="19898" y="643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23" name="Freeform: Shape 254">
              <a:extLst>
                <a:ext uri="{FF2B5EF4-FFF2-40B4-BE49-F238E27FC236}">
                  <a16:creationId xmlns:a16="http://schemas.microsoft.com/office/drawing/2014/main" id="{AD7C8989-D60D-AADB-5506-975772D8AEEB}"/>
                </a:ext>
              </a:extLst>
            </p:cNvPr>
            <p:cNvSpPr/>
            <p:nvPr/>
          </p:nvSpPr>
          <p:spPr>
            <a:xfrm>
              <a:off x="7285850" y="2565285"/>
              <a:ext cx="45925" cy="68887"/>
            </a:xfrm>
            <a:custGeom>
              <a:avLst/>
              <a:gdLst>
                <a:gd name="connsiteX0" fmla="*/ 54066 w 60045"/>
                <a:gd name="connsiteY0" fmla="*/ 10239 h 90067"/>
                <a:gd name="connsiteX1" fmla="*/ 42701 w 60045"/>
                <a:gd name="connsiteY1" fmla="*/ 19332 h 90067"/>
                <a:gd name="connsiteX2" fmla="*/ 31335 w 60045"/>
                <a:gd name="connsiteY2" fmla="*/ 10239 h 90067"/>
                <a:gd name="connsiteX3" fmla="*/ 9590 w 60045"/>
                <a:gd name="connsiteY3" fmla="*/ 21048 h 90067"/>
                <a:gd name="connsiteX4" fmla="*/ 22414 w 60045"/>
                <a:gd name="connsiteY4" fmla="*/ 56474 h 90067"/>
                <a:gd name="connsiteX5" fmla="*/ 13021 w 60045"/>
                <a:gd name="connsiteY5" fmla="*/ 66767 h 90067"/>
                <a:gd name="connsiteX6" fmla="*/ 21899 w 60045"/>
                <a:gd name="connsiteY6" fmla="*/ 83880 h 90067"/>
                <a:gd name="connsiteX7" fmla="*/ 46089 w 60045"/>
                <a:gd name="connsiteY7" fmla="*/ 51885 h 90067"/>
                <a:gd name="connsiteX8" fmla="*/ 54066 w 60045"/>
                <a:gd name="connsiteY8" fmla="*/ 10239 h 90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045" h="90067">
                  <a:moveTo>
                    <a:pt x="54066" y="10239"/>
                  </a:moveTo>
                  <a:cubicBezTo>
                    <a:pt x="50078" y="7366"/>
                    <a:pt x="47118" y="18217"/>
                    <a:pt x="42701" y="19332"/>
                  </a:cubicBezTo>
                  <a:cubicBezTo>
                    <a:pt x="38240" y="20490"/>
                    <a:pt x="33308" y="-2370"/>
                    <a:pt x="31335" y="10239"/>
                  </a:cubicBezTo>
                  <a:cubicBezTo>
                    <a:pt x="29362" y="22763"/>
                    <a:pt x="19454" y="5093"/>
                    <a:pt x="9590" y="21048"/>
                  </a:cubicBezTo>
                  <a:cubicBezTo>
                    <a:pt x="-274" y="37045"/>
                    <a:pt x="15509" y="51327"/>
                    <a:pt x="22414" y="56474"/>
                  </a:cubicBezTo>
                  <a:cubicBezTo>
                    <a:pt x="29319" y="61621"/>
                    <a:pt x="21899" y="69041"/>
                    <a:pt x="13021" y="66767"/>
                  </a:cubicBezTo>
                  <a:cubicBezTo>
                    <a:pt x="4143" y="64494"/>
                    <a:pt x="9590" y="81564"/>
                    <a:pt x="21899" y="83880"/>
                  </a:cubicBezTo>
                  <a:cubicBezTo>
                    <a:pt x="34252" y="86153"/>
                    <a:pt x="47590" y="58790"/>
                    <a:pt x="46089" y="51885"/>
                  </a:cubicBezTo>
                  <a:cubicBezTo>
                    <a:pt x="44630" y="45023"/>
                    <a:pt x="58698" y="13585"/>
                    <a:pt x="54066" y="10239"/>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24" name="Freeform: Shape 255">
              <a:extLst>
                <a:ext uri="{FF2B5EF4-FFF2-40B4-BE49-F238E27FC236}">
                  <a16:creationId xmlns:a16="http://schemas.microsoft.com/office/drawing/2014/main" id="{C3DC7242-AFE8-7ED3-221B-115518F359A5}"/>
                </a:ext>
              </a:extLst>
            </p:cNvPr>
            <p:cNvSpPr/>
            <p:nvPr/>
          </p:nvSpPr>
          <p:spPr>
            <a:xfrm>
              <a:off x="7210356" y="2494010"/>
              <a:ext cx="75447" cy="131213"/>
            </a:xfrm>
            <a:custGeom>
              <a:avLst/>
              <a:gdLst>
                <a:gd name="connsiteX0" fmla="*/ 78187 w 98645"/>
                <a:gd name="connsiteY0" fmla="*/ 68559 h 171557"/>
                <a:gd name="connsiteX1" fmla="*/ 77201 w 98645"/>
                <a:gd name="connsiteY1" fmla="*/ 41753 h 171557"/>
                <a:gd name="connsiteX2" fmla="*/ 80675 w 98645"/>
                <a:gd name="connsiteY2" fmla="*/ 8599 h 171557"/>
                <a:gd name="connsiteX3" fmla="*/ 56485 w 98645"/>
                <a:gd name="connsiteY3" fmla="*/ 24040 h 171557"/>
                <a:gd name="connsiteX4" fmla="*/ 36713 w 98645"/>
                <a:gd name="connsiteY4" fmla="*/ 36049 h 171557"/>
                <a:gd name="connsiteX5" fmla="*/ 38214 w 98645"/>
                <a:gd name="connsiteY5" fmla="*/ 53161 h 171557"/>
                <a:gd name="connsiteX6" fmla="*/ 18957 w 98645"/>
                <a:gd name="connsiteY6" fmla="*/ 41753 h 171557"/>
                <a:gd name="connsiteX7" fmla="*/ 6433 w 98645"/>
                <a:gd name="connsiteY7" fmla="*/ 58480 h 171557"/>
                <a:gd name="connsiteX8" fmla="*/ 10936 w 98645"/>
                <a:gd name="connsiteY8" fmla="*/ 75378 h 171557"/>
                <a:gd name="connsiteX9" fmla="*/ 14239 w 98645"/>
                <a:gd name="connsiteY9" fmla="*/ 128346 h 171557"/>
                <a:gd name="connsiteX10" fmla="*/ 15268 w 98645"/>
                <a:gd name="connsiteY10" fmla="*/ 141342 h 171557"/>
                <a:gd name="connsiteX11" fmla="*/ 14968 w 98645"/>
                <a:gd name="connsiteY11" fmla="*/ 147303 h 171557"/>
                <a:gd name="connsiteX12" fmla="*/ 20072 w 98645"/>
                <a:gd name="connsiteY12" fmla="*/ 164373 h 171557"/>
                <a:gd name="connsiteX13" fmla="*/ 50566 w 98645"/>
                <a:gd name="connsiteY13" fmla="*/ 167805 h 171557"/>
                <a:gd name="connsiteX14" fmla="*/ 62918 w 98645"/>
                <a:gd name="connsiteY14" fmla="*/ 167504 h 171557"/>
                <a:gd name="connsiteX15" fmla="*/ 49537 w 98645"/>
                <a:gd name="connsiteY15" fmla="*/ 146703 h 171557"/>
                <a:gd name="connsiteX16" fmla="*/ 66821 w 98645"/>
                <a:gd name="connsiteY16" fmla="*/ 150692 h 171557"/>
                <a:gd name="connsiteX17" fmla="*/ 90539 w 98645"/>
                <a:gd name="connsiteY17" fmla="*/ 150134 h 171557"/>
                <a:gd name="connsiteX18" fmla="*/ 78702 w 98645"/>
                <a:gd name="connsiteY18" fmla="*/ 126159 h 171557"/>
                <a:gd name="connsiteX19" fmla="*/ 63391 w 98645"/>
                <a:gd name="connsiteY19" fmla="*/ 123886 h 171557"/>
                <a:gd name="connsiteX20" fmla="*/ 72783 w 98645"/>
                <a:gd name="connsiteY20" fmla="*/ 99911 h 171557"/>
                <a:gd name="connsiteX21" fmla="*/ 94013 w 98645"/>
                <a:gd name="connsiteY21" fmla="*/ 86744 h 171557"/>
                <a:gd name="connsiteX22" fmla="*/ 78187 w 98645"/>
                <a:gd name="connsiteY22" fmla="*/ 68559 h 171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8645" h="171557">
                  <a:moveTo>
                    <a:pt x="78187" y="68559"/>
                  </a:moveTo>
                  <a:cubicBezTo>
                    <a:pt x="73255" y="65728"/>
                    <a:pt x="71239" y="47457"/>
                    <a:pt x="77201" y="41753"/>
                  </a:cubicBezTo>
                  <a:cubicBezTo>
                    <a:pt x="83119" y="36049"/>
                    <a:pt x="85607" y="14304"/>
                    <a:pt x="80675" y="8599"/>
                  </a:cubicBezTo>
                  <a:cubicBezTo>
                    <a:pt x="75742" y="2895"/>
                    <a:pt x="57943" y="8599"/>
                    <a:pt x="56485" y="24040"/>
                  </a:cubicBezTo>
                  <a:cubicBezTo>
                    <a:pt x="54984" y="39480"/>
                    <a:pt x="40702" y="32617"/>
                    <a:pt x="36713" y="36049"/>
                  </a:cubicBezTo>
                  <a:cubicBezTo>
                    <a:pt x="32767" y="39480"/>
                    <a:pt x="44605" y="46342"/>
                    <a:pt x="38214" y="53161"/>
                  </a:cubicBezTo>
                  <a:cubicBezTo>
                    <a:pt x="31824" y="60024"/>
                    <a:pt x="29336" y="42868"/>
                    <a:pt x="18957" y="41753"/>
                  </a:cubicBezTo>
                  <a:cubicBezTo>
                    <a:pt x="11880" y="40938"/>
                    <a:pt x="9178" y="49730"/>
                    <a:pt x="6433" y="58480"/>
                  </a:cubicBezTo>
                  <a:cubicBezTo>
                    <a:pt x="8320" y="64012"/>
                    <a:pt x="9950" y="69588"/>
                    <a:pt x="10936" y="75378"/>
                  </a:cubicBezTo>
                  <a:cubicBezTo>
                    <a:pt x="13939" y="92834"/>
                    <a:pt x="10251" y="111405"/>
                    <a:pt x="14239" y="128346"/>
                  </a:cubicBezTo>
                  <a:cubicBezTo>
                    <a:pt x="15354" y="132978"/>
                    <a:pt x="15612" y="137310"/>
                    <a:pt x="15268" y="141342"/>
                  </a:cubicBezTo>
                  <a:cubicBezTo>
                    <a:pt x="15612" y="143272"/>
                    <a:pt x="15612" y="145245"/>
                    <a:pt x="14968" y="147303"/>
                  </a:cubicBezTo>
                  <a:cubicBezTo>
                    <a:pt x="13381" y="152622"/>
                    <a:pt x="16598" y="158583"/>
                    <a:pt x="20072" y="164373"/>
                  </a:cubicBezTo>
                  <a:cubicBezTo>
                    <a:pt x="33196" y="164674"/>
                    <a:pt x="45248" y="165789"/>
                    <a:pt x="50566" y="167805"/>
                  </a:cubicBezTo>
                  <a:cubicBezTo>
                    <a:pt x="52711" y="168619"/>
                    <a:pt x="57128" y="168405"/>
                    <a:pt x="62918" y="167504"/>
                  </a:cubicBezTo>
                  <a:cubicBezTo>
                    <a:pt x="58544" y="159312"/>
                    <a:pt x="48808" y="152665"/>
                    <a:pt x="49537" y="146703"/>
                  </a:cubicBezTo>
                  <a:cubicBezTo>
                    <a:pt x="50524" y="138726"/>
                    <a:pt x="59916" y="143829"/>
                    <a:pt x="66821" y="150692"/>
                  </a:cubicBezTo>
                  <a:cubicBezTo>
                    <a:pt x="73726" y="157554"/>
                    <a:pt x="89038" y="158712"/>
                    <a:pt x="90539" y="150134"/>
                  </a:cubicBezTo>
                  <a:cubicBezTo>
                    <a:pt x="91440" y="144859"/>
                    <a:pt x="88052" y="120455"/>
                    <a:pt x="78702" y="126159"/>
                  </a:cubicBezTo>
                  <a:cubicBezTo>
                    <a:pt x="69309" y="131863"/>
                    <a:pt x="66864" y="129590"/>
                    <a:pt x="63391" y="123886"/>
                  </a:cubicBezTo>
                  <a:cubicBezTo>
                    <a:pt x="59959" y="118182"/>
                    <a:pt x="70296" y="109046"/>
                    <a:pt x="72783" y="99911"/>
                  </a:cubicBezTo>
                  <a:cubicBezTo>
                    <a:pt x="75227" y="90732"/>
                    <a:pt x="91526" y="94164"/>
                    <a:pt x="94013" y="86744"/>
                  </a:cubicBezTo>
                  <a:cubicBezTo>
                    <a:pt x="96458" y="79410"/>
                    <a:pt x="83077" y="71432"/>
                    <a:pt x="78187" y="68559"/>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25" name="Freeform: Shape 256">
              <a:extLst>
                <a:ext uri="{FF2B5EF4-FFF2-40B4-BE49-F238E27FC236}">
                  <a16:creationId xmlns:a16="http://schemas.microsoft.com/office/drawing/2014/main" id="{ABA3D364-6988-D039-2770-2200577D281D}"/>
                </a:ext>
              </a:extLst>
            </p:cNvPr>
            <p:cNvSpPr/>
            <p:nvPr/>
          </p:nvSpPr>
          <p:spPr>
            <a:xfrm>
              <a:off x="7455687" y="2487791"/>
              <a:ext cx="29523" cy="45925"/>
            </a:xfrm>
            <a:custGeom>
              <a:avLst/>
              <a:gdLst>
                <a:gd name="connsiteX0" fmla="*/ 30459 w 38600"/>
                <a:gd name="connsiteY0" fmla="*/ 6437 h 60045"/>
                <a:gd name="connsiteX1" fmla="*/ 7727 w 38600"/>
                <a:gd name="connsiteY1" fmla="*/ 56704 h 60045"/>
                <a:gd name="connsiteX2" fmla="*/ 30459 w 38600"/>
                <a:gd name="connsiteY2" fmla="*/ 6437 h 60045"/>
              </a:gdLst>
              <a:ahLst/>
              <a:cxnLst>
                <a:cxn ang="0">
                  <a:pos x="connsiteX0" y="connsiteY0"/>
                </a:cxn>
                <a:cxn ang="0">
                  <a:pos x="connsiteX1" y="connsiteY1"/>
                </a:cxn>
                <a:cxn ang="0">
                  <a:pos x="connsiteX2" y="connsiteY2"/>
                </a:cxn>
              </a:cxnLst>
              <a:rect l="l" t="t" r="r" b="b"/>
              <a:pathLst>
                <a:path w="38600" h="60045">
                  <a:moveTo>
                    <a:pt x="30459" y="6437"/>
                  </a:moveTo>
                  <a:cubicBezTo>
                    <a:pt x="11716" y="7038"/>
                    <a:pt x="2924" y="49713"/>
                    <a:pt x="7727" y="56704"/>
                  </a:cubicBezTo>
                  <a:cubicBezTo>
                    <a:pt x="11716" y="62408"/>
                    <a:pt x="49201" y="5880"/>
                    <a:pt x="30459" y="643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26" name="Freeform: Shape 257">
              <a:extLst>
                <a:ext uri="{FF2B5EF4-FFF2-40B4-BE49-F238E27FC236}">
                  <a16:creationId xmlns:a16="http://schemas.microsoft.com/office/drawing/2014/main" id="{CC57D69B-0C4A-6CFE-FCB7-0CDABDB4E976}"/>
                </a:ext>
              </a:extLst>
            </p:cNvPr>
            <p:cNvSpPr/>
            <p:nvPr/>
          </p:nvSpPr>
          <p:spPr>
            <a:xfrm>
              <a:off x="7286696" y="1956093"/>
              <a:ext cx="328034" cy="646226"/>
            </a:xfrm>
            <a:custGeom>
              <a:avLst/>
              <a:gdLst>
                <a:gd name="connsiteX0" fmla="*/ 418333 w 428893"/>
                <a:gd name="connsiteY0" fmla="*/ 199295 h 844919"/>
                <a:gd name="connsiteX1" fmla="*/ 411943 w 428893"/>
                <a:gd name="connsiteY1" fmla="*/ 179137 h 844919"/>
                <a:gd name="connsiteX2" fmla="*/ 413529 w 428893"/>
                <a:gd name="connsiteY2" fmla="*/ 146113 h 844919"/>
                <a:gd name="connsiteX3" fmla="*/ 405595 w 428893"/>
                <a:gd name="connsiteY3" fmla="*/ 111244 h 844919"/>
                <a:gd name="connsiteX4" fmla="*/ 404051 w 428893"/>
                <a:gd name="connsiteY4" fmla="*/ 74530 h 844919"/>
                <a:gd name="connsiteX5" fmla="*/ 356444 w 428893"/>
                <a:gd name="connsiteY5" fmla="*/ 41506 h 844919"/>
                <a:gd name="connsiteX6" fmla="*/ 316771 w 428893"/>
                <a:gd name="connsiteY6" fmla="*/ 8481 h 844919"/>
                <a:gd name="connsiteX7" fmla="*/ 297728 w 428893"/>
                <a:gd name="connsiteY7" fmla="*/ 37817 h 844919"/>
                <a:gd name="connsiteX8" fmla="*/ 275512 w 428893"/>
                <a:gd name="connsiteY8" fmla="*/ 45151 h 844919"/>
                <a:gd name="connsiteX9" fmla="*/ 240600 w 428893"/>
                <a:gd name="connsiteY9" fmla="*/ 37817 h 844919"/>
                <a:gd name="connsiteX10" fmla="*/ 232666 w 428893"/>
                <a:gd name="connsiteY10" fmla="*/ 65309 h 844919"/>
                <a:gd name="connsiteX11" fmla="*/ 207275 w 428893"/>
                <a:gd name="connsiteY11" fmla="*/ 76289 h 844919"/>
                <a:gd name="connsiteX12" fmla="*/ 181884 w 428893"/>
                <a:gd name="connsiteY12" fmla="*/ 98334 h 844919"/>
                <a:gd name="connsiteX13" fmla="*/ 172363 w 428893"/>
                <a:gd name="connsiteY13" fmla="*/ 125869 h 844919"/>
                <a:gd name="connsiteX14" fmla="*/ 164429 w 428893"/>
                <a:gd name="connsiteY14" fmla="*/ 146070 h 844919"/>
                <a:gd name="connsiteX15" fmla="*/ 146972 w 428893"/>
                <a:gd name="connsiteY15" fmla="*/ 175406 h 844919"/>
                <a:gd name="connsiteX16" fmla="*/ 140625 w 428893"/>
                <a:gd name="connsiteY16" fmla="*/ 197451 h 844919"/>
                <a:gd name="connsiteX17" fmla="*/ 115235 w 428893"/>
                <a:gd name="connsiteY17" fmla="*/ 204785 h 844919"/>
                <a:gd name="connsiteX18" fmla="*/ 113648 w 428893"/>
                <a:gd name="connsiteY18" fmla="*/ 239654 h 844919"/>
                <a:gd name="connsiteX19" fmla="*/ 91431 w 428893"/>
                <a:gd name="connsiteY19" fmla="*/ 289148 h 844919"/>
                <a:gd name="connsiteX20" fmla="*/ 99365 w 428893"/>
                <a:gd name="connsiteY20" fmla="*/ 309307 h 844919"/>
                <a:gd name="connsiteX21" fmla="*/ 99365 w 428893"/>
                <a:gd name="connsiteY21" fmla="*/ 331309 h 844919"/>
                <a:gd name="connsiteX22" fmla="*/ 77149 w 428893"/>
                <a:gd name="connsiteY22" fmla="*/ 333196 h 844919"/>
                <a:gd name="connsiteX23" fmla="*/ 43824 w 428893"/>
                <a:gd name="connsiteY23" fmla="*/ 358844 h 844919"/>
                <a:gd name="connsiteX24" fmla="*/ 40650 w 428893"/>
                <a:gd name="connsiteY24" fmla="*/ 397358 h 844919"/>
                <a:gd name="connsiteX25" fmla="*/ 40650 w 428893"/>
                <a:gd name="connsiteY25" fmla="*/ 435916 h 844919"/>
                <a:gd name="connsiteX26" fmla="*/ 39063 w 428893"/>
                <a:gd name="connsiteY26" fmla="*/ 472629 h 844919"/>
                <a:gd name="connsiteX27" fmla="*/ 61280 w 428893"/>
                <a:gd name="connsiteY27" fmla="*/ 500121 h 844919"/>
                <a:gd name="connsiteX28" fmla="*/ 48584 w 428893"/>
                <a:gd name="connsiteY28" fmla="*/ 520322 h 844919"/>
                <a:gd name="connsiteX29" fmla="*/ 50214 w 428893"/>
                <a:gd name="connsiteY29" fmla="*/ 538678 h 844919"/>
                <a:gd name="connsiteX30" fmla="*/ 51801 w 428893"/>
                <a:gd name="connsiteY30" fmla="*/ 575392 h 844919"/>
                <a:gd name="connsiteX31" fmla="*/ 29584 w 428893"/>
                <a:gd name="connsiteY31" fmla="*/ 584527 h 844919"/>
                <a:gd name="connsiteX32" fmla="*/ 24824 w 428893"/>
                <a:gd name="connsiteY32" fmla="*/ 615751 h 844919"/>
                <a:gd name="connsiteX33" fmla="*/ 16889 w 428893"/>
                <a:gd name="connsiteY33" fmla="*/ 641398 h 844919"/>
                <a:gd name="connsiteX34" fmla="*/ 6467 w 428893"/>
                <a:gd name="connsiteY34" fmla="*/ 639683 h 844919"/>
                <a:gd name="connsiteX35" fmla="*/ 6467 w 428893"/>
                <a:gd name="connsiteY35" fmla="*/ 643286 h 844919"/>
                <a:gd name="connsiteX36" fmla="*/ 21264 w 428893"/>
                <a:gd name="connsiteY36" fmla="*/ 682100 h 844919"/>
                <a:gd name="connsiteX37" fmla="*/ 33102 w 428893"/>
                <a:gd name="connsiteY37" fmla="*/ 722073 h 844919"/>
                <a:gd name="connsiteX38" fmla="*/ 49871 w 428893"/>
                <a:gd name="connsiteY38" fmla="*/ 756942 h 844919"/>
                <a:gd name="connsiteX39" fmla="*/ 56777 w 428893"/>
                <a:gd name="connsiteY39" fmla="*/ 786064 h 844919"/>
                <a:gd name="connsiteX40" fmla="*/ 66169 w 428893"/>
                <a:gd name="connsiteY40" fmla="*/ 803734 h 844919"/>
                <a:gd name="connsiteX41" fmla="*/ 66684 w 428893"/>
                <a:gd name="connsiteY41" fmla="*/ 836287 h 844919"/>
                <a:gd name="connsiteX42" fmla="*/ 92846 w 428893"/>
                <a:gd name="connsiteY42" fmla="*/ 835730 h 844919"/>
                <a:gd name="connsiteX43" fmla="*/ 105155 w 428893"/>
                <a:gd name="connsiteY43" fmla="*/ 812870 h 844919"/>
                <a:gd name="connsiteX44" fmla="*/ 115535 w 428893"/>
                <a:gd name="connsiteY44" fmla="*/ 800303 h 844919"/>
                <a:gd name="connsiteX45" fmla="*/ 143198 w 428893"/>
                <a:gd name="connsiteY45" fmla="*/ 797430 h 844919"/>
                <a:gd name="connsiteX46" fmla="*/ 162456 w 428893"/>
                <a:gd name="connsiteY46" fmla="*/ 779759 h 844919"/>
                <a:gd name="connsiteX47" fmla="*/ 174293 w 428893"/>
                <a:gd name="connsiteY47" fmla="*/ 785464 h 844919"/>
                <a:gd name="connsiteX48" fmla="*/ 193036 w 428893"/>
                <a:gd name="connsiteY48" fmla="*/ 748922 h 844919"/>
                <a:gd name="connsiteX49" fmla="*/ 181198 w 428893"/>
                <a:gd name="connsiteY49" fmla="*/ 751195 h 844919"/>
                <a:gd name="connsiteX50" fmla="*/ 180726 w 428893"/>
                <a:gd name="connsiteY50" fmla="*/ 724346 h 844919"/>
                <a:gd name="connsiteX51" fmla="*/ 186173 w 428893"/>
                <a:gd name="connsiteY51" fmla="*/ 669534 h 844919"/>
                <a:gd name="connsiteX52" fmla="*/ 204916 w 428893"/>
                <a:gd name="connsiteY52" fmla="*/ 646116 h 844919"/>
                <a:gd name="connsiteX53" fmla="*/ 235067 w 428893"/>
                <a:gd name="connsiteY53" fmla="*/ 613563 h 844919"/>
                <a:gd name="connsiteX54" fmla="*/ 254796 w 428893"/>
                <a:gd name="connsiteY54" fmla="*/ 582168 h 844919"/>
                <a:gd name="connsiteX55" fmla="*/ 223187 w 428893"/>
                <a:gd name="connsiteY55" fmla="*/ 541638 h 844919"/>
                <a:gd name="connsiteX56" fmla="*/ 199469 w 428893"/>
                <a:gd name="connsiteY56" fmla="*/ 534218 h 844919"/>
                <a:gd name="connsiteX57" fmla="*/ 195523 w 428893"/>
                <a:gd name="connsiteY57" fmla="*/ 490814 h 844919"/>
                <a:gd name="connsiteX58" fmla="*/ 206932 w 428893"/>
                <a:gd name="connsiteY58" fmla="*/ 458561 h 844919"/>
                <a:gd name="connsiteX59" fmla="*/ 208304 w 428893"/>
                <a:gd name="connsiteY59" fmla="*/ 423649 h 844919"/>
                <a:gd name="connsiteX60" fmla="*/ 237083 w 428893"/>
                <a:gd name="connsiteY60" fmla="*/ 388523 h 844919"/>
                <a:gd name="connsiteX61" fmla="*/ 250550 w 428893"/>
                <a:gd name="connsiteY61" fmla="*/ 379516 h 844919"/>
                <a:gd name="connsiteX62" fmla="*/ 255740 w 428893"/>
                <a:gd name="connsiteY62" fmla="*/ 375442 h 844919"/>
                <a:gd name="connsiteX63" fmla="*/ 265261 w 428893"/>
                <a:gd name="connsiteY63" fmla="*/ 369866 h 844919"/>
                <a:gd name="connsiteX64" fmla="*/ 275898 w 428893"/>
                <a:gd name="connsiteY64" fmla="*/ 343532 h 844919"/>
                <a:gd name="connsiteX65" fmla="*/ 280744 w 428893"/>
                <a:gd name="connsiteY65" fmla="*/ 338514 h 844919"/>
                <a:gd name="connsiteX66" fmla="*/ 301417 w 428893"/>
                <a:gd name="connsiteY66" fmla="*/ 328178 h 844919"/>
                <a:gd name="connsiteX67" fmla="*/ 307464 w 428893"/>
                <a:gd name="connsiteY67" fmla="*/ 319771 h 844919"/>
                <a:gd name="connsiteX68" fmla="*/ 321103 w 428893"/>
                <a:gd name="connsiteY68" fmla="*/ 311151 h 844919"/>
                <a:gd name="connsiteX69" fmla="*/ 330710 w 428893"/>
                <a:gd name="connsiteY69" fmla="*/ 284602 h 844919"/>
                <a:gd name="connsiteX70" fmla="*/ 335214 w 428893"/>
                <a:gd name="connsiteY70" fmla="*/ 272679 h 844919"/>
                <a:gd name="connsiteX71" fmla="*/ 348037 w 428893"/>
                <a:gd name="connsiteY71" fmla="*/ 241284 h 844919"/>
                <a:gd name="connsiteX72" fmla="*/ 369783 w 428893"/>
                <a:gd name="connsiteY72" fmla="*/ 221298 h 844919"/>
                <a:gd name="connsiteX73" fmla="*/ 404823 w 428893"/>
                <a:gd name="connsiteY73" fmla="*/ 217309 h 844919"/>
                <a:gd name="connsiteX74" fmla="*/ 422880 w 428893"/>
                <a:gd name="connsiteY74" fmla="*/ 218210 h 844919"/>
                <a:gd name="connsiteX75" fmla="*/ 418333 w 428893"/>
                <a:gd name="connsiteY75" fmla="*/ 199295 h 844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28893" h="844919">
                  <a:moveTo>
                    <a:pt x="418333" y="199295"/>
                  </a:moveTo>
                  <a:cubicBezTo>
                    <a:pt x="413572" y="193805"/>
                    <a:pt x="404051" y="179137"/>
                    <a:pt x="411943" y="179137"/>
                  </a:cubicBezTo>
                  <a:cubicBezTo>
                    <a:pt x="419877" y="179137"/>
                    <a:pt x="423051" y="151645"/>
                    <a:pt x="413529" y="146113"/>
                  </a:cubicBezTo>
                  <a:cubicBezTo>
                    <a:pt x="404008" y="140580"/>
                    <a:pt x="413529" y="116733"/>
                    <a:pt x="405595" y="111244"/>
                  </a:cubicBezTo>
                  <a:cubicBezTo>
                    <a:pt x="397661" y="105711"/>
                    <a:pt x="402421" y="87354"/>
                    <a:pt x="404051" y="74530"/>
                  </a:cubicBezTo>
                  <a:cubicBezTo>
                    <a:pt x="405595" y="61664"/>
                    <a:pt x="373900" y="50684"/>
                    <a:pt x="356444" y="41506"/>
                  </a:cubicBezTo>
                  <a:cubicBezTo>
                    <a:pt x="338988" y="32327"/>
                    <a:pt x="331053" y="17659"/>
                    <a:pt x="316771" y="8481"/>
                  </a:cubicBezTo>
                  <a:cubicBezTo>
                    <a:pt x="302489" y="-697"/>
                    <a:pt x="297728" y="23106"/>
                    <a:pt x="297728" y="37817"/>
                  </a:cubicBezTo>
                  <a:cubicBezTo>
                    <a:pt x="297728" y="52485"/>
                    <a:pt x="285033" y="54330"/>
                    <a:pt x="275512" y="45151"/>
                  </a:cubicBezTo>
                  <a:cubicBezTo>
                    <a:pt x="265990" y="35973"/>
                    <a:pt x="254882" y="45151"/>
                    <a:pt x="240600" y="37817"/>
                  </a:cubicBezTo>
                  <a:cubicBezTo>
                    <a:pt x="226318" y="30440"/>
                    <a:pt x="232666" y="54330"/>
                    <a:pt x="232666" y="65309"/>
                  </a:cubicBezTo>
                  <a:cubicBezTo>
                    <a:pt x="232666" y="76289"/>
                    <a:pt x="216796" y="76289"/>
                    <a:pt x="207275" y="76289"/>
                  </a:cubicBezTo>
                  <a:cubicBezTo>
                    <a:pt x="197754" y="76289"/>
                    <a:pt x="181884" y="85467"/>
                    <a:pt x="181884" y="98334"/>
                  </a:cubicBezTo>
                  <a:cubicBezTo>
                    <a:pt x="181884" y="111158"/>
                    <a:pt x="167602" y="118535"/>
                    <a:pt x="172363" y="125869"/>
                  </a:cubicBezTo>
                  <a:cubicBezTo>
                    <a:pt x="177124" y="133160"/>
                    <a:pt x="170776" y="140537"/>
                    <a:pt x="164429" y="146070"/>
                  </a:cubicBezTo>
                  <a:cubicBezTo>
                    <a:pt x="158081" y="151560"/>
                    <a:pt x="151733" y="169873"/>
                    <a:pt x="146972" y="175406"/>
                  </a:cubicBezTo>
                  <a:cubicBezTo>
                    <a:pt x="142212" y="180896"/>
                    <a:pt x="150147" y="190074"/>
                    <a:pt x="140625" y="197451"/>
                  </a:cubicBezTo>
                  <a:cubicBezTo>
                    <a:pt x="131146" y="204785"/>
                    <a:pt x="119995" y="199253"/>
                    <a:pt x="115235" y="204785"/>
                  </a:cubicBezTo>
                  <a:cubicBezTo>
                    <a:pt x="110474" y="210275"/>
                    <a:pt x="115235" y="223142"/>
                    <a:pt x="113648" y="239654"/>
                  </a:cubicBezTo>
                  <a:cubicBezTo>
                    <a:pt x="112061" y="256124"/>
                    <a:pt x="100952" y="274480"/>
                    <a:pt x="91431" y="289148"/>
                  </a:cubicBezTo>
                  <a:cubicBezTo>
                    <a:pt x="81910" y="303859"/>
                    <a:pt x="94605" y="307505"/>
                    <a:pt x="99365" y="309307"/>
                  </a:cubicBezTo>
                  <a:cubicBezTo>
                    <a:pt x="104083" y="311151"/>
                    <a:pt x="104083" y="320329"/>
                    <a:pt x="99365" y="331309"/>
                  </a:cubicBezTo>
                  <a:cubicBezTo>
                    <a:pt x="94605" y="342374"/>
                    <a:pt x="83496" y="334997"/>
                    <a:pt x="77149" y="333196"/>
                  </a:cubicBezTo>
                  <a:cubicBezTo>
                    <a:pt x="70801" y="331309"/>
                    <a:pt x="53345" y="340530"/>
                    <a:pt x="43824" y="358844"/>
                  </a:cubicBezTo>
                  <a:cubicBezTo>
                    <a:pt x="34303" y="377200"/>
                    <a:pt x="37476" y="388180"/>
                    <a:pt x="40650" y="397358"/>
                  </a:cubicBezTo>
                  <a:cubicBezTo>
                    <a:pt x="43824" y="406536"/>
                    <a:pt x="32716" y="417559"/>
                    <a:pt x="40650" y="435916"/>
                  </a:cubicBezTo>
                  <a:cubicBezTo>
                    <a:pt x="48584" y="454272"/>
                    <a:pt x="37476" y="457918"/>
                    <a:pt x="39063" y="472629"/>
                  </a:cubicBezTo>
                  <a:cubicBezTo>
                    <a:pt x="40650" y="487297"/>
                    <a:pt x="59693" y="485453"/>
                    <a:pt x="61280" y="500121"/>
                  </a:cubicBezTo>
                  <a:cubicBezTo>
                    <a:pt x="62866" y="514789"/>
                    <a:pt x="54932" y="520322"/>
                    <a:pt x="48584" y="520322"/>
                  </a:cubicBezTo>
                  <a:cubicBezTo>
                    <a:pt x="42237" y="520322"/>
                    <a:pt x="43824" y="534990"/>
                    <a:pt x="50214" y="538678"/>
                  </a:cubicBezTo>
                  <a:cubicBezTo>
                    <a:pt x="56519" y="542367"/>
                    <a:pt x="54932" y="568015"/>
                    <a:pt x="51801" y="575392"/>
                  </a:cubicBezTo>
                  <a:cubicBezTo>
                    <a:pt x="48627" y="582726"/>
                    <a:pt x="27997" y="575392"/>
                    <a:pt x="29584" y="584527"/>
                  </a:cubicBezTo>
                  <a:cubicBezTo>
                    <a:pt x="31171" y="593705"/>
                    <a:pt x="24824" y="608374"/>
                    <a:pt x="24824" y="615751"/>
                  </a:cubicBezTo>
                  <a:cubicBezTo>
                    <a:pt x="24824" y="623085"/>
                    <a:pt x="23237" y="646931"/>
                    <a:pt x="16889" y="641398"/>
                  </a:cubicBezTo>
                  <a:cubicBezTo>
                    <a:pt x="14402" y="639254"/>
                    <a:pt x="10370" y="639082"/>
                    <a:pt x="6467" y="639683"/>
                  </a:cubicBezTo>
                  <a:cubicBezTo>
                    <a:pt x="6510" y="640841"/>
                    <a:pt x="6510" y="641956"/>
                    <a:pt x="6467" y="643286"/>
                  </a:cubicBezTo>
                  <a:cubicBezTo>
                    <a:pt x="5995" y="657568"/>
                    <a:pt x="10413" y="671850"/>
                    <a:pt x="21264" y="682100"/>
                  </a:cubicBezTo>
                  <a:cubicBezTo>
                    <a:pt x="32115" y="692394"/>
                    <a:pt x="23751" y="707791"/>
                    <a:pt x="33102" y="722073"/>
                  </a:cubicBezTo>
                  <a:cubicBezTo>
                    <a:pt x="42494" y="736355"/>
                    <a:pt x="39492" y="746649"/>
                    <a:pt x="49871" y="756942"/>
                  </a:cubicBezTo>
                  <a:cubicBezTo>
                    <a:pt x="60250" y="767193"/>
                    <a:pt x="61237" y="772897"/>
                    <a:pt x="56777" y="786064"/>
                  </a:cubicBezTo>
                  <a:cubicBezTo>
                    <a:pt x="52359" y="799231"/>
                    <a:pt x="65654" y="795757"/>
                    <a:pt x="66169" y="803734"/>
                  </a:cubicBezTo>
                  <a:cubicBezTo>
                    <a:pt x="66684" y="811755"/>
                    <a:pt x="63210" y="828267"/>
                    <a:pt x="66684" y="836287"/>
                  </a:cubicBezTo>
                  <a:cubicBezTo>
                    <a:pt x="70115" y="844265"/>
                    <a:pt x="77063" y="836287"/>
                    <a:pt x="92846" y="835730"/>
                  </a:cubicBezTo>
                  <a:cubicBezTo>
                    <a:pt x="108630" y="835172"/>
                    <a:pt x="104684" y="823721"/>
                    <a:pt x="105155" y="812870"/>
                  </a:cubicBezTo>
                  <a:cubicBezTo>
                    <a:pt x="105627" y="802019"/>
                    <a:pt x="113562" y="807166"/>
                    <a:pt x="115535" y="800303"/>
                  </a:cubicBezTo>
                  <a:cubicBezTo>
                    <a:pt x="117507" y="793441"/>
                    <a:pt x="131833" y="791725"/>
                    <a:pt x="143198" y="797430"/>
                  </a:cubicBezTo>
                  <a:cubicBezTo>
                    <a:pt x="154521" y="803177"/>
                    <a:pt x="160440" y="793441"/>
                    <a:pt x="162456" y="779759"/>
                  </a:cubicBezTo>
                  <a:cubicBezTo>
                    <a:pt x="164429" y="766078"/>
                    <a:pt x="170819" y="782633"/>
                    <a:pt x="174293" y="785464"/>
                  </a:cubicBezTo>
                  <a:cubicBezTo>
                    <a:pt x="177767" y="788337"/>
                    <a:pt x="188146" y="764362"/>
                    <a:pt x="193036" y="748922"/>
                  </a:cubicBezTo>
                  <a:cubicBezTo>
                    <a:pt x="197968" y="733482"/>
                    <a:pt x="192564" y="736355"/>
                    <a:pt x="181198" y="751195"/>
                  </a:cubicBezTo>
                  <a:cubicBezTo>
                    <a:pt x="169833" y="766035"/>
                    <a:pt x="176266" y="736355"/>
                    <a:pt x="180726" y="724346"/>
                  </a:cubicBezTo>
                  <a:cubicBezTo>
                    <a:pt x="185144" y="712380"/>
                    <a:pt x="184672" y="677511"/>
                    <a:pt x="186173" y="669534"/>
                  </a:cubicBezTo>
                  <a:cubicBezTo>
                    <a:pt x="187675" y="661556"/>
                    <a:pt x="190634" y="649547"/>
                    <a:pt x="204916" y="646116"/>
                  </a:cubicBezTo>
                  <a:cubicBezTo>
                    <a:pt x="219241" y="642685"/>
                    <a:pt x="238027" y="622141"/>
                    <a:pt x="235067" y="613563"/>
                  </a:cubicBezTo>
                  <a:cubicBezTo>
                    <a:pt x="232108" y="604985"/>
                    <a:pt x="254796" y="590746"/>
                    <a:pt x="254796" y="582168"/>
                  </a:cubicBezTo>
                  <a:cubicBezTo>
                    <a:pt x="254796" y="573590"/>
                    <a:pt x="231079" y="547299"/>
                    <a:pt x="223187" y="541638"/>
                  </a:cubicBezTo>
                  <a:cubicBezTo>
                    <a:pt x="215295" y="535934"/>
                    <a:pt x="198011" y="540480"/>
                    <a:pt x="199469" y="534218"/>
                  </a:cubicBezTo>
                  <a:cubicBezTo>
                    <a:pt x="200970" y="527913"/>
                    <a:pt x="197496" y="503381"/>
                    <a:pt x="195523" y="490814"/>
                  </a:cubicBezTo>
                  <a:cubicBezTo>
                    <a:pt x="193851" y="480135"/>
                    <a:pt x="203887" y="469026"/>
                    <a:pt x="206932" y="458561"/>
                  </a:cubicBezTo>
                  <a:cubicBezTo>
                    <a:pt x="202000" y="447453"/>
                    <a:pt x="201957" y="433857"/>
                    <a:pt x="208304" y="423649"/>
                  </a:cubicBezTo>
                  <a:cubicBezTo>
                    <a:pt x="216496" y="410611"/>
                    <a:pt x="227176" y="400060"/>
                    <a:pt x="237083" y="388523"/>
                  </a:cubicBezTo>
                  <a:cubicBezTo>
                    <a:pt x="240857" y="384105"/>
                    <a:pt x="245532" y="381189"/>
                    <a:pt x="250550" y="379516"/>
                  </a:cubicBezTo>
                  <a:cubicBezTo>
                    <a:pt x="252009" y="377929"/>
                    <a:pt x="253638" y="376471"/>
                    <a:pt x="255740" y="375442"/>
                  </a:cubicBezTo>
                  <a:cubicBezTo>
                    <a:pt x="259814" y="373512"/>
                    <a:pt x="262688" y="371710"/>
                    <a:pt x="265261" y="369866"/>
                  </a:cubicBezTo>
                  <a:cubicBezTo>
                    <a:pt x="265304" y="360302"/>
                    <a:pt x="269336" y="350266"/>
                    <a:pt x="275898" y="343532"/>
                  </a:cubicBezTo>
                  <a:lnTo>
                    <a:pt x="280744" y="338514"/>
                  </a:lnTo>
                  <a:cubicBezTo>
                    <a:pt x="286491" y="332595"/>
                    <a:pt x="293697" y="329421"/>
                    <a:pt x="301417" y="328178"/>
                  </a:cubicBezTo>
                  <a:cubicBezTo>
                    <a:pt x="303132" y="325004"/>
                    <a:pt x="305191" y="322130"/>
                    <a:pt x="307464" y="319771"/>
                  </a:cubicBezTo>
                  <a:cubicBezTo>
                    <a:pt x="311196" y="315911"/>
                    <a:pt x="315999" y="313038"/>
                    <a:pt x="321103" y="311151"/>
                  </a:cubicBezTo>
                  <a:cubicBezTo>
                    <a:pt x="321146" y="301415"/>
                    <a:pt x="324363" y="291679"/>
                    <a:pt x="330710" y="284602"/>
                  </a:cubicBezTo>
                  <a:cubicBezTo>
                    <a:pt x="329852" y="280614"/>
                    <a:pt x="330668" y="276668"/>
                    <a:pt x="335214" y="272679"/>
                  </a:cubicBezTo>
                  <a:cubicBezTo>
                    <a:pt x="349539" y="260112"/>
                    <a:pt x="337659" y="245830"/>
                    <a:pt x="348037" y="241284"/>
                  </a:cubicBezTo>
                  <a:cubicBezTo>
                    <a:pt x="358417" y="236695"/>
                    <a:pt x="362363" y="230433"/>
                    <a:pt x="369783" y="221298"/>
                  </a:cubicBezTo>
                  <a:cubicBezTo>
                    <a:pt x="377159" y="212162"/>
                    <a:pt x="387024" y="220740"/>
                    <a:pt x="404823" y="217309"/>
                  </a:cubicBezTo>
                  <a:cubicBezTo>
                    <a:pt x="411342" y="216065"/>
                    <a:pt x="417304" y="216666"/>
                    <a:pt x="422880" y="218210"/>
                  </a:cubicBezTo>
                  <a:cubicBezTo>
                    <a:pt x="422236" y="209246"/>
                    <a:pt x="420478" y="201826"/>
                    <a:pt x="418333" y="19929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27" name="Freeform: Shape 258">
              <a:extLst>
                <a:ext uri="{FF2B5EF4-FFF2-40B4-BE49-F238E27FC236}">
                  <a16:creationId xmlns:a16="http://schemas.microsoft.com/office/drawing/2014/main" id="{4CD2EC2C-7642-E91C-B34A-65D062886D1B}"/>
                </a:ext>
              </a:extLst>
            </p:cNvPr>
            <p:cNvSpPr/>
            <p:nvPr/>
          </p:nvSpPr>
          <p:spPr>
            <a:xfrm>
              <a:off x="7551349" y="2409557"/>
              <a:ext cx="160737" cy="95130"/>
            </a:xfrm>
            <a:custGeom>
              <a:avLst/>
              <a:gdLst>
                <a:gd name="connsiteX0" fmla="*/ 198190 w 210157"/>
                <a:gd name="connsiteY0" fmla="*/ 35900 h 124378"/>
                <a:gd name="connsiteX1" fmla="*/ 205009 w 210157"/>
                <a:gd name="connsiteY1" fmla="*/ 10553 h 124378"/>
                <a:gd name="connsiteX2" fmla="*/ 197718 w 210157"/>
                <a:gd name="connsiteY2" fmla="*/ 14498 h 124378"/>
                <a:gd name="connsiteX3" fmla="*/ 134499 w 210157"/>
                <a:gd name="connsiteY3" fmla="*/ 7078 h 124378"/>
                <a:gd name="connsiteX4" fmla="*/ 72267 w 210157"/>
                <a:gd name="connsiteY4" fmla="*/ 21318 h 124378"/>
                <a:gd name="connsiteX5" fmla="*/ 52023 w 210157"/>
                <a:gd name="connsiteY5" fmla="*/ 43577 h 124378"/>
                <a:gd name="connsiteX6" fmla="*/ 58928 w 210157"/>
                <a:gd name="connsiteY6" fmla="*/ 68153 h 124378"/>
                <a:gd name="connsiteX7" fmla="*/ 78700 w 210157"/>
                <a:gd name="connsiteY7" fmla="*/ 81277 h 124378"/>
                <a:gd name="connsiteX8" fmla="*/ 85605 w 210157"/>
                <a:gd name="connsiteY8" fmla="*/ 96674 h 124378"/>
                <a:gd name="connsiteX9" fmla="*/ 85176 w 210157"/>
                <a:gd name="connsiteY9" fmla="*/ 97318 h 124378"/>
                <a:gd name="connsiteX10" fmla="*/ 121161 w 210157"/>
                <a:gd name="connsiteY10" fmla="*/ 96674 h 124378"/>
                <a:gd name="connsiteX11" fmla="*/ 154743 w 210157"/>
                <a:gd name="connsiteY11" fmla="*/ 119534 h 124378"/>
                <a:gd name="connsiteX12" fmla="*/ 186610 w 210157"/>
                <a:gd name="connsiteY12" fmla="*/ 121936 h 124378"/>
                <a:gd name="connsiteX13" fmla="*/ 187811 w 210157"/>
                <a:gd name="connsiteY13" fmla="*/ 111257 h 124378"/>
                <a:gd name="connsiteX14" fmla="*/ 196689 w 210157"/>
                <a:gd name="connsiteY14" fmla="*/ 98390 h 124378"/>
                <a:gd name="connsiteX15" fmla="*/ 189312 w 210157"/>
                <a:gd name="connsiteY15" fmla="*/ 77803 h 124378"/>
                <a:gd name="connsiteX16" fmla="*/ 187081 w 210157"/>
                <a:gd name="connsiteY16" fmla="*/ 55543 h 124378"/>
                <a:gd name="connsiteX17" fmla="*/ 198190 w 210157"/>
                <a:gd name="connsiteY17" fmla="*/ 35900 h 124378"/>
                <a:gd name="connsiteX18" fmla="*/ 23373 w 210157"/>
                <a:gd name="connsiteY18" fmla="*/ 63607 h 124378"/>
                <a:gd name="connsiteX19" fmla="*/ 10077 w 210157"/>
                <a:gd name="connsiteY19" fmla="*/ 97318 h 124378"/>
                <a:gd name="connsiteX20" fmla="*/ 44646 w 210157"/>
                <a:gd name="connsiteY20" fmla="*/ 71026 h 124378"/>
                <a:gd name="connsiteX21" fmla="*/ 23373 w 210157"/>
                <a:gd name="connsiteY21" fmla="*/ 63607 h 124378"/>
                <a:gd name="connsiteX22" fmla="*/ 38170 w 210157"/>
                <a:gd name="connsiteY22" fmla="*/ 47051 h 124378"/>
                <a:gd name="connsiteX23" fmla="*/ 16940 w 210157"/>
                <a:gd name="connsiteY23" fmla="*/ 49925 h 124378"/>
                <a:gd name="connsiteX24" fmla="*/ 38170 w 210157"/>
                <a:gd name="connsiteY24" fmla="*/ 47051 h 124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0157" h="124378">
                  <a:moveTo>
                    <a:pt x="198190" y="35900"/>
                  </a:moveTo>
                  <a:cubicBezTo>
                    <a:pt x="202264" y="25692"/>
                    <a:pt x="212987" y="23977"/>
                    <a:pt x="205009" y="10553"/>
                  </a:cubicBezTo>
                  <a:cubicBezTo>
                    <a:pt x="203508" y="12011"/>
                    <a:pt x="201321" y="13340"/>
                    <a:pt x="197718" y="14498"/>
                  </a:cubicBezTo>
                  <a:cubicBezTo>
                    <a:pt x="183393" y="19087"/>
                    <a:pt x="152298" y="3090"/>
                    <a:pt x="134499" y="7078"/>
                  </a:cubicBezTo>
                  <a:cubicBezTo>
                    <a:pt x="116743" y="11067"/>
                    <a:pt x="80673" y="11067"/>
                    <a:pt x="72267" y="21318"/>
                  </a:cubicBezTo>
                  <a:cubicBezTo>
                    <a:pt x="63860" y="31611"/>
                    <a:pt x="42630" y="34442"/>
                    <a:pt x="52023" y="43577"/>
                  </a:cubicBezTo>
                  <a:cubicBezTo>
                    <a:pt x="61416" y="52756"/>
                    <a:pt x="52023" y="57302"/>
                    <a:pt x="58928" y="68153"/>
                  </a:cubicBezTo>
                  <a:cubicBezTo>
                    <a:pt x="65876" y="79004"/>
                    <a:pt x="69308" y="83593"/>
                    <a:pt x="78700" y="81277"/>
                  </a:cubicBezTo>
                  <a:cubicBezTo>
                    <a:pt x="88093" y="79004"/>
                    <a:pt x="95470" y="84665"/>
                    <a:pt x="85605" y="96674"/>
                  </a:cubicBezTo>
                  <a:cubicBezTo>
                    <a:pt x="85477" y="96932"/>
                    <a:pt x="85348" y="97103"/>
                    <a:pt x="85176" y="97318"/>
                  </a:cubicBezTo>
                  <a:cubicBezTo>
                    <a:pt x="101003" y="95602"/>
                    <a:pt x="118587" y="94444"/>
                    <a:pt x="121161" y="96674"/>
                  </a:cubicBezTo>
                  <a:cubicBezTo>
                    <a:pt x="125107" y="100105"/>
                    <a:pt x="148782" y="121807"/>
                    <a:pt x="154743" y="119534"/>
                  </a:cubicBezTo>
                  <a:cubicBezTo>
                    <a:pt x="158389" y="118119"/>
                    <a:pt x="174600" y="120135"/>
                    <a:pt x="186610" y="121936"/>
                  </a:cubicBezTo>
                  <a:cubicBezTo>
                    <a:pt x="185194" y="117690"/>
                    <a:pt x="185323" y="113658"/>
                    <a:pt x="187811" y="111257"/>
                  </a:cubicBezTo>
                  <a:cubicBezTo>
                    <a:pt x="192271" y="106968"/>
                    <a:pt x="201879" y="106968"/>
                    <a:pt x="196689" y="98390"/>
                  </a:cubicBezTo>
                  <a:cubicBezTo>
                    <a:pt x="191499" y="89812"/>
                    <a:pt x="190041" y="88139"/>
                    <a:pt x="189312" y="77803"/>
                  </a:cubicBezTo>
                  <a:cubicBezTo>
                    <a:pt x="188582" y="67552"/>
                    <a:pt x="186353" y="62406"/>
                    <a:pt x="187081" y="55543"/>
                  </a:cubicBezTo>
                  <a:cubicBezTo>
                    <a:pt x="187811" y="48767"/>
                    <a:pt x="193729" y="47051"/>
                    <a:pt x="198190" y="35900"/>
                  </a:cubicBezTo>
                  <a:close/>
                  <a:moveTo>
                    <a:pt x="23373" y="63607"/>
                  </a:moveTo>
                  <a:cubicBezTo>
                    <a:pt x="5617" y="69311"/>
                    <a:pt x="3001" y="97746"/>
                    <a:pt x="10077" y="97318"/>
                  </a:cubicBezTo>
                  <a:cubicBezTo>
                    <a:pt x="18956" y="96717"/>
                    <a:pt x="39199" y="77288"/>
                    <a:pt x="44646" y="71026"/>
                  </a:cubicBezTo>
                  <a:cubicBezTo>
                    <a:pt x="50050" y="64765"/>
                    <a:pt x="41129" y="57902"/>
                    <a:pt x="23373" y="63607"/>
                  </a:cubicBezTo>
                  <a:close/>
                  <a:moveTo>
                    <a:pt x="38170" y="47051"/>
                  </a:moveTo>
                  <a:cubicBezTo>
                    <a:pt x="42159" y="38473"/>
                    <a:pt x="9648" y="42248"/>
                    <a:pt x="16940" y="49925"/>
                  </a:cubicBezTo>
                  <a:cubicBezTo>
                    <a:pt x="22386" y="55629"/>
                    <a:pt x="34267" y="55629"/>
                    <a:pt x="38170" y="4705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28" name="Freeform: Shape 262">
              <a:extLst>
                <a:ext uri="{FF2B5EF4-FFF2-40B4-BE49-F238E27FC236}">
                  <a16:creationId xmlns:a16="http://schemas.microsoft.com/office/drawing/2014/main" id="{BB28046F-578C-7B61-0473-468B2B7352C2}"/>
                </a:ext>
              </a:extLst>
            </p:cNvPr>
            <p:cNvSpPr/>
            <p:nvPr/>
          </p:nvSpPr>
          <p:spPr>
            <a:xfrm>
              <a:off x="7275519" y="1301119"/>
              <a:ext cx="354276" cy="236184"/>
            </a:xfrm>
            <a:custGeom>
              <a:avLst/>
              <a:gdLst>
                <a:gd name="connsiteX0" fmla="*/ 436593 w 463204"/>
                <a:gd name="connsiteY0" fmla="*/ 193491 h 308803"/>
                <a:gd name="connsiteX1" fmla="*/ 409187 w 463204"/>
                <a:gd name="connsiteY1" fmla="*/ 185771 h 308803"/>
                <a:gd name="connsiteX2" fmla="*/ 403268 w 463204"/>
                <a:gd name="connsiteY2" fmla="*/ 170331 h 308803"/>
                <a:gd name="connsiteX3" fmla="*/ 377363 w 463204"/>
                <a:gd name="connsiteY3" fmla="*/ 159179 h 308803"/>
                <a:gd name="connsiteX4" fmla="*/ 358835 w 463204"/>
                <a:gd name="connsiteY4" fmla="*/ 137778 h 308803"/>
                <a:gd name="connsiteX5" fmla="*/ 352187 w 463204"/>
                <a:gd name="connsiteY5" fmla="*/ 115518 h 308803"/>
                <a:gd name="connsiteX6" fmla="*/ 328469 w 463204"/>
                <a:gd name="connsiteY6" fmla="*/ 98405 h 308803"/>
                <a:gd name="connsiteX7" fmla="*/ 311442 w 463204"/>
                <a:gd name="connsiteY7" fmla="*/ 94116 h 308803"/>
                <a:gd name="connsiteX8" fmla="*/ 298104 w 463204"/>
                <a:gd name="connsiteY8" fmla="*/ 88970 h 308803"/>
                <a:gd name="connsiteX9" fmla="*/ 267009 w 463204"/>
                <a:gd name="connsiteY9" fmla="*/ 82107 h 308803"/>
                <a:gd name="connsiteX10" fmla="*/ 253671 w 463204"/>
                <a:gd name="connsiteY10" fmla="*/ 52128 h 308803"/>
                <a:gd name="connsiteX11" fmla="*/ 226264 w 463204"/>
                <a:gd name="connsiteY11" fmla="*/ 65809 h 308803"/>
                <a:gd name="connsiteX12" fmla="*/ 235142 w 463204"/>
                <a:gd name="connsiteY12" fmla="*/ 38403 h 308803"/>
                <a:gd name="connsiteX13" fmla="*/ 200359 w 463204"/>
                <a:gd name="connsiteY13" fmla="*/ 24678 h 308803"/>
                <a:gd name="connsiteX14" fmla="*/ 182603 w 463204"/>
                <a:gd name="connsiteY14" fmla="*/ 6665 h 308803"/>
                <a:gd name="connsiteX15" fmla="*/ 174454 w 463204"/>
                <a:gd name="connsiteY15" fmla="*/ 25493 h 308803"/>
                <a:gd name="connsiteX16" fmla="*/ 170036 w 463204"/>
                <a:gd name="connsiteY16" fmla="*/ 43507 h 308803"/>
                <a:gd name="connsiteX17" fmla="*/ 190752 w 463204"/>
                <a:gd name="connsiteY17" fmla="*/ 101751 h 308803"/>
                <a:gd name="connsiteX18" fmla="*/ 153738 w 463204"/>
                <a:gd name="connsiteY18" fmla="*/ 52943 h 308803"/>
                <a:gd name="connsiteX19" fmla="*/ 130793 w 463204"/>
                <a:gd name="connsiteY19" fmla="*/ 33256 h 308803"/>
                <a:gd name="connsiteX20" fmla="*/ 117454 w 463204"/>
                <a:gd name="connsiteY20" fmla="*/ 64094 h 308803"/>
                <a:gd name="connsiteX21" fmla="*/ 108576 w 463204"/>
                <a:gd name="connsiteY21" fmla="*/ 70956 h 308803"/>
                <a:gd name="connsiteX22" fmla="*/ 83357 w 463204"/>
                <a:gd name="connsiteY22" fmla="*/ 47796 h 308803"/>
                <a:gd name="connsiteX23" fmla="*/ 111535 w 463204"/>
                <a:gd name="connsiteY23" fmla="*/ 35787 h 308803"/>
                <a:gd name="connsiteX24" fmla="*/ 92278 w 463204"/>
                <a:gd name="connsiteY24" fmla="*/ 28110 h 308803"/>
                <a:gd name="connsiteX25" fmla="*/ 64142 w 463204"/>
                <a:gd name="connsiteY25" fmla="*/ 33256 h 308803"/>
                <a:gd name="connsiteX26" fmla="*/ 40425 w 463204"/>
                <a:gd name="connsiteY26" fmla="*/ 30683 h 308803"/>
                <a:gd name="connsiteX27" fmla="*/ 13748 w 463204"/>
                <a:gd name="connsiteY27" fmla="*/ 44365 h 308803"/>
                <a:gd name="connsiteX28" fmla="*/ 13748 w 463204"/>
                <a:gd name="connsiteY28" fmla="*/ 82922 h 308803"/>
                <a:gd name="connsiteX29" fmla="*/ 48574 w 463204"/>
                <a:gd name="connsiteY29" fmla="*/ 79491 h 308803"/>
                <a:gd name="connsiteX30" fmla="*/ 29316 w 463204"/>
                <a:gd name="connsiteY30" fmla="*/ 117191 h 308803"/>
                <a:gd name="connsiteX31" fmla="*/ 28973 w 463204"/>
                <a:gd name="connsiteY31" fmla="*/ 122895 h 308803"/>
                <a:gd name="connsiteX32" fmla="*/ 52091 w 463204"/>
                <a:gd name="connsiteY32" fmla="*/ 150559 h 308803"/>
                <a:gd name="connsiteX33" fmla="*/ 56294 w 463204"/>
                <a:gd name="connsiteY33" fmla="*/ 154076 h 308803"/>
                <a:gd name="connsiteX34" fmla="*/ 74994 w 463204"/>
                <a:gd name="connsiteY34" fmla="*/ 166942 h 308803"/>
                <a:gd name="connsiteX35" fmla="*/ 110034 w 463204"/>
                <a:gd name="connsiteY35" fmla="*/ 163425 h 308803"/>
                <a:gd name="connsiteX36" fmla="*/ 129292 w 463204"/>
                <a:gd name="connsiteY36" fmla="*/ 133446 h 308803"/>
                <a:gd name="connsiteX37" fmla="*/ 145589 w 463204"/>
                <a:gd name="connsiteY37" fmla="*/ 116290 h 308803"/>
                <a:gd name="connsiteX38" fmla="*/ 148549 w 463204"/>
                <a:gd name="connsiteY38" fmla="*/ 139407 h 308803"/>
                <a:gd name="connsiteX39" fmla="*/ 177413 w 463204"/>
                <a:gd name="connsiteY39" fmla="*/ 135976 h 308803"/>
                <a:gd name="connsiteX40" fmla="*/ 190752 w 463204"/>
                <a:gd name="connsiteY40" fmla="*/ 148843 h 308803"/>
                <a:gd name="connsiteX41" fmla="*/ 150736 w 463204"/>
                <a:gd name="connsiteY41" fmla="*/ 170245 h 308803"/>
                <a:gd name="connsiteX42" fmla="*/ 98197 w 463204"/>
                <a:gd name="connsiteY42" fmla="*/ 190789 h 308803"/>
                <a:gd name="connsiteX43" fmla="*/ 128562 w 463204"/>
                <a:gd name="connsiteY43" fmla="*/ 204513 h 308803"/>
                <a:gd name="connsiteX44" fmla="*/ 195212 w 463204"/>
                <a:gd name="connsiteY44" fmla="*/ 201082 h 308803"/>
                <a:gd name="connsiteX45" fmla="*/ 164846 w 463204"/>
                <a:gd name="connsiteY45" fmla="*/ 209660 h 308803"/>
                <a:gd name="connsiteX46" fmla="*/ 135982 w 463204"/>
                <a:gd name="connsiteY46" fmla="*/ 224242 h 308803"/>
                <a:gd name="connsiteX47" fmla="*/ 104416 w 463204"/>
                <a:gd name="connsiteY47" fmla="*/ 228746 h 308803"/>
                <a:gd name="connsiteX48" fmla="*/ 140657 w 463204"/>
                <a:gd name="connsiteY48" fmla="*/ 255637 h 308803"/>
                <a:gd name="connsiteX49" fmla="*/ 147948 w 463204"/>
                <a:gd name="connsiteY49" fmla="*/ 267303 h 308803"/>
                <a:gd name="connsiteX50" fmla="*/ 169264 w 463204"/>
                <a:gd name="connsiteY50" fmla="*/ 267046 h 308803"/>
                <a:gd name="connsiteX51" fmla="*/ 152967 w 463204"/>
                <a:gd name="connsiteY51" fmla="*/ 281585 h 308803"/>
                <a:gd name="connsiteX52" fmla="*/ 180372 w 463204"/>
                <a:gd name="connsiteY52" fmla="*/ 300457 h 308803"/>
                <a:gd name="connsiteX53" fmla="*/ 202589 w 463204"/>
                <a:gd name="connsiteY53" fmla="*/ 292737 h 308803"/>
                <a:gd name="connsiteX54" fmla="*/ 241104 w 463204"/>
                <a:gd name="connsiteY54" fmla="*/ 223385 h 308803"/>
                <a:gd name="connsiteX55" fmla="*/ 253714 w 463204"/>
                <a:gd name="connsiteY55" fmla="*/ 190832 h 308803"/>
                <a:gd name="connsiteX56" fmla="*/ 269282 w 463204"/>
                <a:gd name="connsiteY56" fmla="*/ 176292 h 308803"/>
                <a:gd name="connsiteX57" fmla="*/ 281119 w 463204"/>
                <a:gd name="connsiteY57" fmla="*/ 143739 h 308803"/>
                <a:gd name="connsiteX58" fmla="*/ 321135 w 463204"/>
                <a:gd name="connsiteY58" fmla="*/ 130015 h 308803"/>
                <a:gd name="connsiteX59" fmla="*/ 327783 w 463204"/>
                <a:gd name="connsiteY59" fmla="*/ 138592 h 308803"/>
                <a:gd name="connsiteX60" fmla="*/ 332973 w 463204"/>
                <a:gd name="connsiteY60" fmla="*/ 167714 h 308803"/>
                <a:gd name="connsiteX61" fmla="*/ 344810 w 463204"/>
                <a:gd name="connsiteY61" fmla="*/ 181396 h 308803"/>
                <a:gd name="connsiteX62" fmla="*/ 338892 w 463204"/>
                <a:gd name="connsiteY62" fmla="*/ 218238 h 308803"/>
                <a:gd name="connsiteX63" fmla="*/ 370758 w 463204"/>
                <a:gd name="connsiteY63" fmla="*/ 225958 h 308803"/>
                <a:gd name="connsiteX64" fmla="*/ 386927 w 463204"/>
                <a:gd name="connsiteY64" fmla="*/ 224757 h 308803"/>
                <a:gd name="connsiteX65" fmla="*/ 412618 w 463204"/>
                <a:gd name="connsiteY65" fmla="*/ 235651 h 308803"/>
                <a:gd name="connsiteX66" fmla="*/ 415706 w 463204"/>
                <a:gd name="connsiteY66" fmla="*/ 238996 h 308803"/>
                <a:gd name="connsiteX67" fmla="*/ 431489 w 463204"/>
                <a:gd name="connsiteY67" fmla="*/ 222570 h 308803"/>
                <a:gd name="connsiteX68" fmla="*/ 460354 w 463204"/>
                <a:gd name="connsiteY68" fmla="*/ 200310 h 308803"/>
                <a:gd name="connsiteX69" fmla="*/ 436593 w 463204"/>
                <a:gd name="connsiteY69" fmla="*/ 193491 h 30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204" h="308803">
                  <a:moveTo>
                    <a:pt x="436593" y="193491"/>
                  </a:moveTo>
                  <a:cubicBezTo>
                    <a:pt x="426214" y="198637"/>
                    <a:pt x="400309" y="195206"/>
                    <a:pt x="409187" y="185771"/>
                  </a:cubicBezTo>
                  <a:cubicBezTo>
                    <a:pt x="418108" y="176335"/>
                    <a:pt x="416607" y="168615"/>
                    <a:pt x="403268" y="170331"/>
                  </a:cubicBezTo>
                  <a:cubicBezTo>
                    <a:pt x="389930" y="172046"/>
                    <a:pt x="366255" y="164326"/>
                    <a:pt x="377363" y="159179"/>
                  </a:cubicBezTo>
                  <a:cubicBezTo>
                    <a:pt x="388471" y="154033"/>
                    <a:pt x="369214" y="136920"/>
                    <a:pt x="358835" y="137778"/>
                  </a:cubicBezTo>
                  <a:cubicBezTo>
                    <a:pt x="348456" y="138635"/>
                    <a:pt x="351458" y="124911"/>
                    <a:pt x="352187" y="115518"/>
                  </a:cubicBezTo>
                  <a:cubicBezTo>
                    <a:pt x="352916" y="106082"/>
                    <a:pt x="322551" y="101793"/>
                    <a:pt x="328469" y="98405"/>
                  </a:cubicBezTo>
                  <a:cubicBezTo>
                    <a:pt x="334388" y="94974"/>
                    <a:pt x="315860" y="87254"/>
                    <a:pt x="311442" y="94116"/>
                  </a:cubicBezTo>
                  <a:cubicBezTo>
                    <a:pt x="306982" y="100979"/>
                    <a:pt x="298104" y="99263"/>
                    <a:pt x="298104" y="88970"/>
                  </a:cubicBezTo>
                  <a:cubicBezTo>
                    <a:pt x="298104" y="78719"/>
                    <a:pt x="275887" y="81249"/>
                    <a:pt x="267009" y="82107"/>
                  </a:cubicBezTo>
                  <a:cubicBezTo>
                    <a:pt x="258131" y="82965"/>
                    <a:pt x="262548" y="59848"/>
                    <a:pt x="253671" y="52128"/>
                  </a:cubicBezTo>
                  <a:cubicBezTo>
                    <a:pt x="244792" y="44408"/>
                    <a:pt x="232912" y="67525"/>
                    <a:pt x="226264" y="65809"/>
                  </a:cubicBezTo>
                  <a:cubicBezTo>
                    <a:pt x="219573" y="64094"/>
                    <a:pt x="231454" y="48696"/>
                    <a:pt x="235142" y="38403"/>
                  </a:cubicBezTo>
                  <a:cubicBezTo>
                    <a:pt x="238873" y="28110"/>
                    <a:pt x="204047" y="14385"/>
                    <a:pt x="200359" y="24678"/>
                  </a:cubicBezTo>
                  <a:cubicBezTo>
                    <a:pt x="196671" y="34972"/>
                    <a:pt x="189980" y="9238"/>
                    <a:pt x="182603" y="6665"/>
                  </a:cubicBezTo>
                  <a:cubicBezTo>
                    <a:pt x="175183" y="4092"/>
                    <a:pt x="181145" y="23778"/>
                    <a:pt x="174454" y="25493"/>
                  </a:cubicBezTo>
                  <a:cubicBezTo>
                    <a:pt x="167806" y="27209"/>
                    <a:pt x="158885" y="34929"/>
                    <a:pt x="170036" y="43507"/>
                  </a:cubicBezTo>
                  <a:cubicBezTo>
                    <a:pt x="181145" y="52085"/>
                    <a:pt x="192253" y="94888"/>
                    <a:pt x="190752" y="101751"/>
                  </a:cubicBezTo>
                  <a:cubicBezTo>
                    <a:pt x="189294" y="108613"/>
                    <a:pt x="155196" y="70913"/>
                    <a:pt x="153738" y="52943"/>
                  </a:cubicBezTo>
                  <a:cubicBezTo>
                    <a:pt x="152237" y="34972"/>
                    <a:pt x="135253" y="20390"/>
                    <a:pt x="130793" y="33256"/>
                  </a:cubicBezTo>
                  <a:cubicBezTo>
                    <a:pt x="126332" y="46123"/>
                    <a:pt x="113766" y="51227"/>
                    <a:pt x="117454" y="64094"/>
                  </a:cubicBezTo>
                  <a:cubicBezTo>
                    <a:pt x="121143" y="76961"/>
                    <a:pt x="108576" y="81207"/>
                    <a:pt x="108576" y="70956"/>
                  </a:cubicBezTo>
                  <a:cubicBezTo>
                    <a:pt x="108576" y="60663"/>
                    <a:pt x="90048" y="48654"/>
                    <a:pt x="83357" y="47796"/>
                  </a:cubicBezTo>
                  <a:cubicBezTo>
                    <a:pt x="76709" y="46938"/>
                    <a:pt x="100427" y="41791"/>
                    <a:pt x="111535" y="35787"/>
                  </a:cubicBezTo>
                  <a:cubicBezTo>
                    <a:pt x="122644" y="29782"/>
                    <a:pt x="101885" y="21247"/>
                    <a:pt x="92278" y="28110"/>
                  </a:cubicBezTo>
                  <a:cubicBezTo>
                    <a:pt x="82628" y="34972"/>
                    <a:pt x="70061" y="23821"/>
                    <a:pt x="64142" y="33256"/>
                  </a:cubicBezTo>
                  <a:cubicBezTo>
                    <a:pt x="58224" y="42692"/>
                    <a:pt x="50804" y="33256"/>
                    <a:pt x="40425" y="30683"/>
                  </a:cubicBezTo>
                  <a:cubicBezTo>
                    <a:pt x="30046" y="28110"/>
                    <a:pt x="21167" y="47796"/>
                    <a:pt x="13748" y="44365"/>
                  </a:cubicBezTo>
                  <a:cubicBezTo>
                    <a:pt x="6328" y="40976"/>
                    <a:pt x="1910" y="61520"/>
                    <a:pt x="13748" y="82922"/>
                  </a:cubicBezTo>
                  <a:cubicBezTo>
                    <a:pt x="25585" y="104324"/>
                    <a:pt x="34506" y="76060"/>
                    <a:pt x="48574" y="79491"/>
                  </a:cubicBezTo>
                  <a:cubicBezTo>
                    <a:pt x="62641" y="82922"/>
                    <a:pt x="33734" y="100893"/>
                    <a:pt x="29316" y="117191"/>
                  </a:cubicBezTo>
                  <a:cubicBezTo>
                    <a:pt x="28802" y="119121"/>
                    <a:pt x="28716" y="121008"/>
                    <a:pt x="28973" y="122895"/>
                  </a:cubicBezTo>
                  <a:cubicBezTo>
                    <a:pt x="37722" y="131216"/>
                    <a:pt x="45443" y="140523"/>
                    <a:pt x="52091" y="150559"/>
                  </a:cubicBezTo>
                  <a:cubicBezTo>
                    <a:pt x="53549" y="151759"/>
                    <a:pt x="54921" y="152918"/>
                    <a:pt x="56294" y="154076"/>
                  </a:cubicBezTo>
                  <a:cubicBezTo>
                    <a:pt x="64958" y="156563"/>
                    <a:pt x="71090" y="161152"/>
                    <a:pt x="74994" y="166942"/>
                  </a:cubicBezTo>
                  <a:cubicBezTo>
                    <a:pt x="87432" y="170502"/>
                    <a:pt x="103129" y="168358"/>
                    <a:pt x="110034" y="163425"/>
                  </a:cubicBezTo>
                  <a:cubicBezTo>
                    <a:pt x="119684" y="156563"/>
                    <a:pt x="116725" y="132588"/>
                    <a:pt x="129292" y="133446"/>
                  </a:cubicBezTo>
                  <a:cubicBezTo>
                    <a:pt x="141901" y="134304"/>
                    <a:pt x="135210" y="120579"/>
                    <a:pt x="145589" y="116290"/>
                  </a:cubicBezTo>
                  <a:cubicBezTo>
                    <a:pt x="155926" y="112001"/>
                    <a:pt x="157427" y="127441"/>
                    <a:pt x="148549" y="139407"/>
                  </a:cubicBezTo>
                  <a:cubicBezTo>
                    <a:pt x="139670" y="151416"/>
                    <a:pt x="164118" y="150559"/>
                    <a:pt x="177413" y="135976"/>
                  </a:cubicBezTo>
                  <a:cubicBezTo>
                    <a:pt x="190752" y="121437"/>
                    <a:pt x="193711" y="135118"/>
                    <a:pt x="190752" y="148843"/>
                  </a:cubicBezTo>
                  <a:cubicBezTo>
                    <a:pt x="187793" y="162568"/>
                    <a:pt x="160386" y="154848"/>
                    <a:pt x="150736" y="170245"/>
                  </a:cubicBezTo>
                  <a:cubicBezTo>
                    <a:pt x="141129" y="185685"/>
                    <a:pt x="111492" y="173676"/>
                    <a:pt x="98197" y="190789"/>
                  </a:cubicBezTo>
                  <a:cubicBezTo>
                    <a:pt x="84858" y="207944"/>
                    <a:pt x="110034" y="208802"/>
                    <a:pt x="128562" y="204513"/>
                  </a:cubicBezTo>
                  <a:cubicBezTo>
                    <a:pt x="147090" y="200224"/>
                    <a:pt x="181874" y="197651"/>
                    <a:pt x="195212" y="201082"/>
                  </a:cubicBezTo>
                  <a:cubicBezTo>
                    <a:pt x="208551" y="204513"/>
                    <a:pt x="187063" y="209660"/>
                    <a:pt x="164846" y="209660"/>
                  </a:cubicBezTo>
                  <a:cubicBezTo>
                    <a:pt x="142630" y="209660"/>
                    <a:pt x="135253" y="217380"/>
                    <a:pt x="135982" y="224242"/>
                  </a:cubicBezTo>
                  <a:cubicBezTo>
                    <a:pt x="136668" y="230504"/>
                    <a:pt x="110077" y="218881"/>
                    <a:pt x="104416" y="228746"/>
                  </a:cubicBezTo>
                  <a:cubicBezTo>
                    <a:pt x="117154" y="237109"/>
                    <a:pt x="131221" y="244701"/>
                    <a:pt x="140657" y="255637"/>
                  </a:cubicBezTo>
                  <a:cubicBezTo>
                    <a:pt x="143916" y="259369"/>
                    <a:pt x="146276" y="263315"/>
                    <a:pt x="147948" y="267303"/>
                  </a:cubicBezTo>
                  <a:cubicBezTo>
                    <a:pt x="155411" y="267132"/>
                    <a:pt x="164461" y="265073"/>
                    <a:pt x="169264" y="267046"/>
                  </a:cubicBezTo>
                  <a:cubicBezTo>
                    <a:pt x="177413" y="270477"/>
                    <a:pt x="155926" y="277339"/>
                    <a:pt x="152967" y="281585"/>
                  </a:cubicBezTo>
                  <a:cubicBezTo>
                    <a:pt x="150007" y="285874"/>
                    <a:pt x="175955" y="291879"/>
                    <a:pt x="180372" y="300457"/>
                  </a:cubicBezTo>
                  <a:cubicBezTo>
                    <a:pt x="184833" y="309035"/>
                    <a:pt x="203319" y="304746"/>
                    <a:pt x="202589" y="292737"/>
                  </a:cubicBezTo>
                  <a:cubicBezTo>
                    <a:pt x="201689" y="277854"/>
                    <a:pt x="218887" y="232777"/>
                    <a:pt x="241104" y="223385"/>
                  </a:cubicBezTo>
                  <a:cubicBezTo>
                    <a:pt x="263321" y="213949"/>
                    <a:pt x="250754" y="205371"/>
                    <a:pt x="253714" y="190832"/>
                  </a:cubicBezTo>
                  <a:cubicBezTo>
                    <a:pt x="256673" y="176292"/>
                    <a:pt x="274429" y="188258"/>
                    <a:pt x="269282" y="176292"/>
                  </a:cubicBezTo>
                  <a:cubicBezTo>
                    <a:pt x="264092" y="164326"/>
                    <a:pt x="267052" y="159179"/>
                    <a:pt x="281119" y="143739"/>
                  </a:cubicBezTo>
                  <a:cubicBezTo>
                    <a:pt x="295230" y="128299"/>
                    <a:pt x="304108" y="139450"/>
                    <a:pt x="321135" y="130015"/>
                  </a:cubicBezTo>
                  <a:cubicBezTo>
                    <a:pt x="338162" y="120579"/>
                    <a:pt x="346311" y="136877"/>
                    <a:pt x="327783" y="138592"/>
                  </a:cubicBezTo>
                  <a:cubicBezTo>
                    <a:pt x="311528" y="140136"/>
                    <a:pt x="319634" y="161710"/>
                    <a:pt x="332973" y="167714"/>
                  </a:cubicBezTo>
                  <a:cubicBezTo>
                    <a:pt x="346311" y="173719"/>
                    <a:pt x="334431" y="178866"/>
                    <a:pt x="344810" y="181396"/>
                  </a:cubicBezTo>
                  <a:cubicBezTo>
                    <a:pt x="355189" y="183969"/>
                    <a:pt x="352230" y="201940"/>
                    <a:pt x="338892" y="218238"/>
                  </a:cubicBezTo>
                  <a:cubicBezTo>
                    <a:pt x="325553" y="234536"/>
                    <a:pt x="342623" y="237924"/>
                    <a:pt x="370758" y="225958"/>
                  </a:cubicBezTo>
                  <a:cubicBezTo>
                    <a:pt x="381652" y="221283"/>
                    <a:pt x="385641" y="221841"/>
                    <a:pt x="386927" y="224757"/>
                  </a:cubicBezTo>
                  <a:cubicBezTo>
                    <a:pt x="396620" y="224714"/>
                    <a:pt x="406313" y="228274"/>
                    <a:pt x="412618" y="235651"/>
                  </a:cubicBezTo>
                  <a:cubicBezTo>
                    <a:pt x="413604" y="236809"/>
                    <a:pt x="414677" y="237838"/>
                    <a:pt x="415706" y="238996"/>
                  </a:cubicBezTo>
                  <a:cubicBezTo>
                    <a:pt x="421539" y="234321"/>
                    <a:pt x="427201" y="228446"/>
                    <a:pt x="431489" y="222570"/>
                  </a:cubicBezTo>
                  <a:cubicBezTo>
                    <a:pt x="443327" y="206272"/>
                    <a:pt x="461083" y="209017"/>
                    <a:pt x="460354" y="200310"/>
                  </a:cubicBezTo>
                  <a:cubicBezTo>
                    <a:pt x="459582" y="190917"/>
                    <a:pt x="446972" y="188387"/>
                    <a:pt x="436593" y="19349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29" name="Freeform: Shape 263">
              <a:extLst>
                <a:ext uri="{FF2B5EF4-FFF2-40B4-BE49-F238E27FC236}">
                  <a16:creationId xmlns:a16="http://schemas.microsoft.com/office/drawing/2014/main" id="{9D1E3540-5849-02BF-A51F-9F8978C55A83}"/>
                </a:ext>
              </a:extLst>
            </p:cNvPr>
            <p:cNvSpPr/>
            <p:nvPr/>
          </p:nvSpPr>
          <p:spPr>
            <a:xfrm>
              <a:off x="7450201" y="1278235"/>
              <a:ext cx="232904" cy="91849"/>
            </a:xfrm>
            <a:custGeom>
              <a:avLst/>
              <a:gdLst>
                <a:gd name="connsiteX0" fmla="*/ 276354 w 304514"/>
                <a:gd name="connsiteY0" fmla="*/ 39372 h 120090"/>
                <a:gd name="connsiteX1" fmla="*/ 253151 w 304514"/>
                <a:gd name="connsiteY1" fmla="*/ 40745 h 120090"/>
                <a:gd name="connsiteX2" fmla="*/ 198681 w 304514"/>
                <a:gd name="connsiteY2" fmla="*/ 25090 h 120090"/>
                <a:gd name="connsiteX3" fmla="*/ 184528 w 304514"/>
                <a:gd name="connsiteY3" fmla="*/ 28135 h 120090"/>
                <a:gd name="connsiteX4" fmla="*/ 183027 w 304514"/>
                <a:gd name="connsiteY4" fmla="*/ 23761 h 120090"/>
                <a:gd name="connsiteX5" fmla="*/ 159695 w 304514"/>
                <a:gd name="connsiteY5" fmla="*/ 6433 h 120090"/>
                <a:gd name="connsiteX6" fmla="*/ 159309 w 304514"/>
                <a:gd name="connsiteY6" fmla="*/ 40959 h 120090"/>
                <a:gd name="connsiteX7" fmla="*/ 132632 w 304514"/>
                <a:gd name="connsiteY7" fmla="*/ 23846 h 120090"/>
                <a:gd name="connsiteX8" fmla="*/ 105226 w 304514"/>
                <a:gd name="connsiteY8" fmla="*/ 22131 h 120090"/>
                <a:gd name="connsiteX9" fmla="*/ 96090 w 304514"/>
                <a:gd name="connsiteY9" fmla="*/ 9479 h 120090"/>
                <a:gd name="connsiteX10" fmla="*/ 71257 w 304514"/>
                <a:gd name="connsiteY10" fmla="*/ 15054 h 120090"/>
                <a:gd name="connsiteX11" fmla="*/ 71172 w 304514"/>
                <a:gd name="connsiteY11" fmla="*/ 15269 h 120090"/>
                <a:gd name="connsiteX12" fmla="*/ 60835 w 304514"/>
                <a:gd name="connsiteY12" fmla="*/ 14840 h 120090"/>
                <a:gd name="connsiteX13" fmla="*/ 56718 w 304514"/>
                <a:gd name="connsiteY13" fmla="*/ 14539 h 120090"/>
                <a:gd name="connsiteX14" fmla="*/ 45395 w 304514"/>
                <a:gd name="connsiteY14" fmla="*/ 13081 h 120090"/>
                <a:gd name="connsiteX15" fmla="*/ 47454 w 304514"/>
                <a:gd name="connsiteY15" fmla="*/ 28950 h 120090"/>
                <a:gd name="connsiteX16" fmla="*/ 29569 w 304514"/>
                <a:gd name="connsiteY16" fmla="*/ 12052 h 120090"/>
                <a:gd name="connsiteX17" fmla="*/ 14129 w 304514"/>
                <a:gd name="connsiteY17" fmla="*/ 15354 h 120090"/>
                <a:gd name="connsiteX18" fmla="*/ 8210 w 304514"/>
                <a:gd name="connsiteY18" fmla="*/ 22946 h 120090"/>
                <a:gd name="connsiteX19" fmla="*/ 25237 w 304514"/>
                <a:gd name="connsiteY19" fmla="*/ 40059 h 120090"/>
                <a:gd name="connsiteX20" fmla="*/ 21506 w 304514"/>
                <a:gd name="connsiteY20" fmla="*/ 54641 h 120090"/>
                <a:gd name="connsiteX21" fmla="*/ 142968 w 304514"/>
                <a:gd name="connsiteY21" fmla="*/ 58930 h 120090"/>
                <a:gd name="connsiteX22" fmla="*/ 73359 w 304514"/>
                <a:gd name="connsiteY22" fmla="*/ 86336 h 120090"/>
                <a:gd name="connsiteX23" fmla="*/ 151890 w 304514"/>
                <a:gd name="connsiteY23" fmla="*/ 98345 h 120090"/>
                <a:gd name="connsiteX24" fmla="*/ 191905 w 304514"/>
                <a:gd name="connsiteY24" fmla="*/ 113742 h 120090"/>
                <a:gd name="connsiteX25" fmla="*/ 229647 w 304514"/>
                <a:gd name="connsiteY25" fmla="*/ 102591 h 120090"/>
                <a:gd name="connsiteX26" fmla="*/ 272580 w 304514"/>
                <a:gd name="connsiteY26" fmla="*/ 81189 h 120090"/>
                <a:gd name="connsiteX27" fmla="*/ 299643 w 304514"/>
                <a:gd name="connsiteY27" fmla="*/ 60903 h 120090"/>
                <a:gd name="connsiteX28" fmla="*/ 276354 w 304514"/>
                <a:gd name="connsiteY28" fmla="*/ 39372 h 120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4514" h="120090">
                  <a:moveTo>
                    <a:pt x="276354" y="39372"/>
                  </a:moveTo>
                  <a:cubicBezTo>
                    <a:pt x="269020" y="42846"/>
                    <a:pt x="260785" y="43833"/>
                    <a:pt x="253151" y="40745"/>
                  </a:cubicBezTo>
                  <a:cubicBezTo>
                    <a:pt x="235309" y="33454"/>
                    <a:pt x="217596" y="26977"/>
                    <a:pt x="198681" y="25090"/>
                  </a:cubicBezTo>
                  <a:cubicBezTo>
                    <a:pt x="193749" y="31009"/>
                    <a:pt x="187873" y="32038"/>
                    <a:pt x="184528" y="28135"/>
                  </a:cubicBezTo>
                  <a:cubicBezTo>
                    <a:pt x="183756" y="27278"/>
                    <a:pt x="183327" y="25691"/>
                    <a:pt x="183027" y="23761"/>
                  </a:cubicBezTo>
                  <a:cubicBezTo>
                    <a:pt x="172047" y="21616"/>
                    <a:pt x="164284" y="14968"/>
                    <a:pt x="159695" y="6433"/>
                  </a:cubicBezTo>
                  <a:cubicBezTo>
                    <a:pt x="147901" y="16512"/>
                    <a:pt x="163298" y="37914"/>
                    <a:pt x="159309" y="40959"/>
                  </a:cubicBezTo>
                  <a:cubicBezTo>
                    <a:pt x="154849" y="44390"/>
                    <a:pt x="134133" y="35813"/>
                    <a:pt x="132632" y="23846"/>
                  </a:cubicBezTo>
                  <a:cubicBezTo>
                    <a:pt x="131131" y="11880"/>
                    <a:pt x="108185" y="36713"/>
                    <a:pt x="105226" y="22131"/>
                  </a:cubicBezTo>
                  <a:cubicBezTo>
                    <a:pt x="104282" y="17370"/>
                    <a:pt x="100679" y="13081"/>
                    <a:pt x="96090" y="9479"/>
                  </a:cubicBezTo>
                  <a:cubicBezTo>
                    <a:pt x="88756" y="12781"/>
                    <a:pt x="80393" y="14625"/>
                    <a:pt x="71257" y="15054"/>
                  </a:cubicBezTo>
                  <a:cubicBezTo>
                    <a:pt x="71214" y="15140"/>
                    <a:pt x="71214" y="15226"/>
                    <a:pt x="71172" y="15269"/>
                  </a:cubicBezTo>
                  <a:cubicBezTo>
                    <a:pt x="69456" y="18442"/>
                    <a:pt x="65339" y="17199"/>
                    <a:pt x="60835" y="14840"/>
                  </a:cubicBezTo>
                  <a:cubicBezTo>
                    <a:pt x="59463" y="14754"/>
                    <a:pt x="58090" y="14668"/>
                    <a:pt x="56718" y="14539"/>
                  </a:cubicBezTo>
                  <a:cubicBezTo>
                    <a:pt x="52729" y="14111"/>
                    <a:pt x="48998" y="13596"/>
                    <a:pt x="45395" y="13081"/>
                  </a:cubicBezTo>
                  <a:cubicBezTo>
                    <a:pt x="46639" y="17971"/>
                    <a:pt x="49212" y="24919"/>
                    <a:pt x="47454" y="28950"/>
                  </a:cubicBezTo>
                  <a:cubicBezTo>
                    <a:pt x="45181" y="34226"/>
                    <a:pt x="37632" y="19257"/>
                    <a:pt x="29569" y="12052"/>
                  </a:cubicBezTo>
                  <a:cubicBezTo>
                    <a:pt x="24594" y="12266"/>
                    <a:pt x="19533" y="13210"/>
                    <a:pt x="14129" y="15354"/>
                  </a:cubicBezTo>
                  <a:cubicBezTo>
                    <a:pt x="12842" y="18871"/>
                    <a:pt x="11899" y="22517"/>
                    <a:pt x="8210" y="22946"/>
                  </a:cubicBezTo>
                  <a:cubicBezTo>
                    <a:pt x="790" y="23804"/>
                    <a:pt x="18589" y="34097"/>
                    <a:pt x="25237" y="40059"/>
                  </a:cubicBezTo>
                  <a:cubicBezTo>
                    <a:pt x="31885" y="46063"/>
                    <a:pt x="14257" y="46235"/>
                    <a:pt x="21506" y="54641"/>
                  </a:cubicBezTo>
                  <a:cubicBezTo>
                    <a:pt x="43722" y="80332"/>
                    <a:pt x="131131" y="51210"/>
                    <a:pt x="142968" y="58930"/>
                  </a:cubicBezTo>
                  <a:cubicBezTo>
                    <a:pt x="154849" y="66607"/>
                    <a:pt x="69671" y="76043"/>
                    <a:pt x="73359" y="86336"/>
                  </a:cubicBezTo>
                  <a:cubicBezTo>
                    <a:pt x="77090" y="96630"/>
                    <a:pt x="146700" y="105165"/>
                    <a:pt x="151890" y="98345"/>
                  </a:cubicBezTo>
                  <a:cubicBezTo>
                    <a:pt x="157079" y="91483"/>
                    <a:pt x="168959" y="112027"/>
                    <a:pt x="191905" y="113742"/>
                  </a:cubicBezTo>
                  <a:cubicBezTo>
                    <a:pt x="214851" y="115458"/>
                    <a:pt x="212620" y="103449"/>
                    <a:pt x="229647" y="102591"/>
                  </a:cubicBezTo>
                  <a:cubicBezTo>
                    <a:pt x="246675" y="101733"/>
                    <a:pt x="271894" y="92341"/>
                    <a:pt x="272580" y="81189"/>
                  </a:cubicBezTo>
                  <a:cubicBezTo>
                    <a:pt x="272966" y="75271"/>
                    <a:pt x="287119" y="68623"/>
                    <a:pt x="299643" y="60903"/>
                  </a:cubicBezTo>
                  <a:cubicBezTo>
                    <a:pt x="287848" y="58072"/>
                    <a:pt x="280085" y="49580"/>
                    <a:pt x="276354" y="39372"/>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30" name="Freeform: Shape 264">
              <a:extLst>
                <a:ext uri="{FF2B5EF4-FFF2-40B4-BE49-F238E27FC236}">
                  <a16:creationId xmlns:a16="http://schemas.microsoft.com/office/drawing/2014/main" id="{1E2CDFED-E643-4A18-9126-60BEEB96D296}"/>
                </a:ext>
              </a:extLst>
            </p:cNvPr>
            <p:cNvSpPr/>
            <p:nvPr/>
          </p:nvSpPr>
          <p:spPr>
            <a:xfrm>
              <a:off x="7127610" y="1843268"/>
              <a:ext cx="665909" cy="642946"/>
            </a:xfrm>
            <a:custGeom>
              <a:avLst/>
              <a:gdLst>
                <a:gd name="connsiteX0" fmla="*/ 839107 w 870652"/>
                <a:gd name="connsiteY0" fmla="*/ 102812 h 840630"/>
                <a:gd name="connsiteX1" fmla="*/ 824310 w 870652"/>
                <a:gd name="connsiteY1" fmla="*/ 101097 h 840630"/>
                <a:gd name="connsiteX2" fmla="*/ 802566 w 870652"/>
                <a:gd name="connsiteY2" fmla="*/ 81668 h 840630"/>
                <a:gd name="connsiteX3" fmla="*/ 819378 w 870652"/>
                <a:gd name="connsiteY3" fmla="*/ 83383 h 840630"/>
                <a:gd name="connsiteX4" fmla="*/ 841595 w 870652"/>
                <a:gd name="connsiteY4" fmla="*/ 75406 h 840630"/>
                <a:gd name="connsiteX5" fmla="*/ 864326 w 870652"/>
                <a:gd name="connsiteY5" fmla="*/ 65112 h 840630"/>
                <a:gd name="connsiteX6" fmla="*/ 847042 w 870652"/>
                <a:gd name="connsiteY6" fmla="*/ 45684 h 840630"/>
                <a:gd name="connsiteX7" fmla="*/ 821866 w 870652"/>
                <a:gd name="connsiteY7" fmla="*/ 35991 h 840630"/>
                <a:gd name="connsiteX8" fmla="*/ 804067 w 870652"/>
                <a:gd name="connsiteY8" fmla="*/ 26298 h 840630"/>
                <a:gd name="connsiteX9" fmla="*/ 797333 w 870652"/>
                <a:gd name="connsiteY9" fmla="*/ 24368 h 840630"/>
                <a:gd name="connsiteX10" fmla="*/ 786439 w 870652"/>
                <a:gd name="connsiteY10" fmla="*/ 29729 h 840630"/>
                <a:gd name="connsiteX11" fmla="*/ 777947 w 870652"/>
                <a:gd name="connsiteY11" fmla="*/ 46885 h 840630"/>
                <a:gd name="connsiteX12" fmla="*/ 770012 w 870652"/>
                <a:gd name="connsiteY12" fmla="*/ 50316 h 840630"/>
                <a:gd name="connsiteX13" fmla="*/ 770913 w 870652"/>
                <a:gd name="connsiteY13" fmla="*/ 30286 h 840630"/>
                <a:gd name="connsiteX14" fmla="*/ 767825 w 870652"/>
                <a:gd name="connsiteY14" fmla="*/ 29257 h 840630"/>
                <a:gd name="connsiteX15" fmla="*/ 755816 w 870652"/>
                <a:gd name="connsiteY15" fmla="*/ 25183 h 840630"/>
                <a:gd name="connsiteX16" fmla="*/ 754058 w 870652"/>
                <a:gd name="connsiteY16" fmla="*/ 24754 h 840630"/>
                <a:gd name="connsiteX17" fmla="*/ 750884 w 870652"/>
                <a:gd name="connsiteY17" fmla="*/ 24496 h 840630"/>
                <a:gd name="connsiteX18" fmla="*/ 738146 w 870652"/>
                <a:gd name="connsiteY18" fmla="*/ 24668 h 840630"/>
                <a:gd name="connsiteX19" fmla="*/ 739432 w 870652"/>
                <a:gd name="connsiteY19" fmla="*/ 28614 h 840630"/>
                <a:gd name="connsiteX20" fmla="*/ 719660 w 870652"/>
                <a:gd name="connsiteY20" fmla="*/ 58894 h 840630"/>
                <a:gd name="connsiteX21" fmla="*/ 720175 w 870652"/>
                <a:gd name="connsiteY21" fmla="*/ 26341 h 840630"/>
                <a:gd name="connsiteX22" fmla="*/ 720132 w 870652"/>
                <a:gd name="connsiteY22" fmla="*/ 26040 h 840630"/>
                <a:gd name="connsiteX23" fmla="*/ 711468 w 870652"/>
                <a:gd name="connsiteY23" fmla="*/ 24411 h 840630"/>
                <a:gd name="connsiteX24" fmla="*/ 698902 w 870652"/>
                <a:gd name="connsiteY24" fmla="*/ 39465 h 840630"/>
                <a:gd name="connsiteX25" fmla="*/ 666821 w 870652"/>
                <a:gd name="connsiteY25" fmla="*/ 76006 h 840630"/>
                <a:gd name="connsiteX26" fmla="*/ 672740 w 870652"/>
                <a:gd name="connsiteY26" fmla="*/ 51474 h 840630"/>
                <a:gd name="connsiteX27" fmla="*/ 694442 w 870652"/>
                <a:gd name="connsiteY27" fmla="*/ 21751 h 840630"/>
                <a:gd name="connsiteX28" fmla="*/ 700060 w 870652"/>
                <a:gd name="connsiteY28" fmla="*/ 18106 h 840630"/>
                <a:gd name="connsiteX29" fmla="*/ 691139 w 870652"/>
                <a:gd name="connsiteY29" fmla="*/ 7169 h 840630"/>
                <a:gd name="connsiteX30" fmla="*/ 690496 w 870652"/>
                <a:gd name="connsiteY30" fmla="*/ 6912 h 840630"/>
                <a:gd name="connsiteX31" fmla="*/ 672225 w 870652"/>
                <a:gd name="connsiteY31" fmla="*/ 24025 h 840630"/>
                <a:gd name="connsiteX32" fmla="*/ 657257 w 870652"/>
                <a:gd name="connsiteY32" fmla="*/ 21751 h 840630"/>
                <a:gd name="connsiteX33" fmla="*/ 643832 w 870652"/>
                <a:gd name="connsiteY33" fmla="*/ 26555 h 840630"/>
                <a:gd name="connsiteX34" fmla="*/ 642588 w 870652"/>
                <a:gd name="connsiteY34" fmla="*/ 35390 h 840630"/>
                <a:gd name="connsiteX35" fmla="*/ 635212 w 870652"/>
                <a:gd name="connsiteY35" fmla="*/ 41137 h 840630"/>
                <a:gd name="connsiteX36" fmla="*/ 612008 w 870652"/>
                <a:gd name="connsiteY36" fmla="*/ 50273 h 840630"/>
                <a:gd name="connsiteX37" fmla="*/ 604074 w 870652"/>
                <a:gd name="connsiteY37" fmla="*/ 65112 h 840630"/>
                <a:gd name="connsiteX38" fmla="*/ 600643 w 870652"/>
                <a:gd name="connsiteY38" fmla="*/ 87372 h 840630"/>
                <a:gd name="connsiteX39" fmla="*/ 588290 w 870652"/>
                <a:gd name="connsiteY39" fmla="*/ 62239 h 840630"/>
                <a:gd name="connsiteX40" fmla="*/ 595196 w 870652"/>
                <a:gd name="connsiteY40" fmla="*/ 47356 h 840630"/>
                <a:gd name="connsiteX41" fmla="*/ 611837 w 870652"/>
                <a:gd name="connsiteY41" fmla="*/ 32345 h 840630"/>
                <a:gd name="connsiteX42" fmla="*/ 588677 w 870652"/>
                <a:gd name="connsiteY42" fmla="*/ 40408 h 840630"/>
                <a:gd name="connsiteX43" fmla="*/ 567232 w 870652"/>
                <a:gd name="connsiteY43" fmla="*/ 39508 h 840630"/>
                <a:gd name="connsiteX44" fmla="*/ 575938 w 870652"/>
                <a:gd name="connsiteY44" fmla="*/ 62796 h 840630"/>
                <a:gd name="connsiteX45" fmla="*/ 566546 w 870652"/>
                <a:gd name="connsiteY45" fmla="*/ 70817 h 840630"/>
                <a:gd name="connsiteX46" fmla="*/ 541370 w 870652"/>
                <a:gd name="connsiteY46" fmla="*/ 71374 h 840630"/>
                <a:gd name="connsiteX47" fmla="*/ 560155 w 870652"/>
                <a:gd name="connsiteY47" fmla="*/ 90803 h 840630"/>
                <a:gd name="connsiteX48" fmla="*/ 544329 w 870652"/>
                <a:gd name="connsiteY48" fmla="*/ 88487 h 840630"/>
                <a:gd name="connsiteX49" fmla="*/ 526573 w 870652"/>
                <a:gd name="connsiteY49" fmla="*/ 75921 h 840630"/>
                <a:gd name="connsiteX50" fmla="*/ 515722 w 870652"/>
                <a:gd name="connsiteY50" fmla="*/ 83340 h 840630"/>
                <a:gd name="connsiteX51" fmla="*/ 523614 w 870652"/>
                <a:gd name="connsiteY51" fmla="*/ 108474 h 840630"/>
                <a:gd name="connsiteX52" fmla="*/ 512248 w 870652"/>
                <a:gd name="connsiteY52" fmla="*/ 100496 h 840630"/>
                <a:gd name="connsiteX53" fmla="*/ 493505 w 870652"/>
                <a:gd name="connsiteY53" fmla="*/ 98781 h 840630"/>
                <a:gd name="connsiteX54" fmla="*/ 491061 w 870652"/>
                <a:gd name="connsiteY54" fmla="*/ 76521 h 840630"/>
                <a:gd name="connsiteX55" fmla="*/ 467815 w 870652"/>
                <a:gd name="connsiteY55" fmla="*/ 78837 h 840630"/>
                <a:gd name="connsiteX56" fmla="*/ 458464 w 870652"/>
                <a:gd name="connsiteY56" fmla="*/ 89688 h 840630"/>
                <a:gd name="connsiteX57" fmla="*/ 455462 w 870652"/>
                <a:gd name="connsiteY57" fmla="*/ 107401 h 840630"/>
                <a:gd name="connsiteX58" fmla="*/ 444611 w 870652"/>
                <a:gd name="connsiteY58" fmla="*/ 116537 h 840630"/>
                <a:gd name="connsiteX59" fmla="*/ 432774 w 870652"/>
                <a:gd name="connsiteY59" fmla="*/ 118252 h 840630"/>
                <a:gd name="connsiteX60" fmla="*/ 410043 w 870652"/>
                <a:gd name="connsiteY60" fmla="*/ 121683 h 840630"/>
                <a:gd name="connsiteX61" fmla="*/ 392758 w 870652"/>
                <a:gd name="connsiteY61" fmla="*/ 147932 h 840630"/>
                <a:gd name="connsiteX62" fmla="*/ 413988 w 870652"/>
                <a:gd name="connsiteY62" fmla="*/ 146216 h 840630"/>
                <a:gd name="connsiteX63" fmla="*/ 418449 w 870652"/>
                <a:gd name="connsiteY63" fmla="*/ 159898 h 840630"/>
                <a:gd name="connsiteX64" fmla="*/ 415447 w 870652"/>
                <a:gd name="connsiteY64" fmla="*/ 170191 h 840630"/>
                <a:gd name="connsiteX65" fmla="*/ 398162 w 870652"/>
                <a:gd name="connsiteY65" fmla="*/ 172464 h 840630"/>
                <a:gd name="connsiteX66" fmla="*/ 383323 w 870652"/>
                <a:gd name="connsiteY66" fmla="*/ 162171 h 840630"/>
                <a:gd name="connsiteX67" fmla="*/ 365052 w 870652"/>
                <a:gd name="connsiteY67" fmla="*/ 172464 h 840630"/>
                <a:gd name="connsiteX68" fmla="*/ 372943 w 870652"/>
                <a:gd name="connsiteY68" fmla="*/ 140512 h 840630"/>
                <a:gd name="connsiteX69" fmla="*/ 353214 w 870652"/>
                <a:gd name="connsiteY69" fmla="*/ 158783 h 840630"/>
                <a:gd name="connsiteX70" fmla="*/ 332027 w 870652"/>
                <a:gd name="connsiteY70" fmla="*/ 177611 h 840630"/>
                <a:gd name="connsiteX71" fmla="*/ 317702 w 870652"/>
                <a:gd name="connsiteY71" fmla="*/ 198155 h 840630"/>
                <a:gd name="connsiteX72" fmla="*/ 276700 w 870652"/>
                <a:gd name="connsiteY72" fmla="*/ 224446 h 840630"/>
                <a:gd name="connsiteX73" fmla="*/ 288065 w 870652"/>
                <a:gd name="connsiteY73" fmla="*/ 225561 h 840630"/>
                <a:gd name="connsiteX74" fmla="*/ 312770 w 870652"/>
                <a:gd name="connsiteY74" fmla="*/ 211279 h 840630"/>
                <a:gd name="connsiteX75" fmla="*/ 345365 w 870652"/>
                <a:gd name="connsiteY75" fmla="*/ 197555 h 840630"/>
                <a:gd name="connsiteX76" fmla="*/ 365095 w 870652"/>
                <a:gd name="connsiteY76" fmla="*/ 194124 h 840630"/>
                <a:gd name="connsiteX77" fmla="*/ 385853 w 870652"/>
                <a:gd name="connsiteY77" fmla="*/ 192408 h 840630"/>
                <a:gd name="connsiteX78" fmla="*/ 382894 w 870652"/>
                <a:gd name="connsiteY78" fmla="*/ 212995 h 840630"/>
                <a:gd name="connsiteX79" fmla="*/ 373544 w 870652"/>
                <a:gd name="connsiteY79" fmla="*/ 219257 h 840630"/>
                <a:gd name="connsiteX80" fmla="*/ 360205 w 870652"/>
                <a:gd name="connsiteY80" fmla="*/ 211837 h 840630"/>
                <a:gd name="connsiteX81" fmla="*/ 344422 w 870652"/>
                <a:gd name="connsiteY81" fmla="*/ 227835 h 840630"/>
                <a:gd name="connsiteX82" fmla="*/ 331083 w 870652"/>
                <a:gd name="connsiteY82" fmla="*/ 255841 h 840630"/>
                <a:gd name="connsiteX83" fmla="*/ 318774 w 870652"/>
                <a:gd name="connsiteY83" fmla="*/ 267807 h 840630"/>
                <a:gd name="connsiteX84" fmla="*/ 288151 w 870652"/>
                <a:gd name="connsiteY84" fmla="*/ 316315 h 840630"/>
                <a:gd name="connsiteX85" fmla="*/ 282704 w 870652"/>
                <a:gd name="connsiteY85" fmla="*/ 344879 h 840630"/>
                <a:gd name="connsiteX86" fmla="*/ 256542 w 870652"/>
                <a:gd name="connsiteY86" fmla="*/ 350026 h 840630"/>
                <a:gd name="connsiteX87" fmla="*/ 252081 w 870652"/>
                <a:gd name="connsiteY87" fmla="*/ 385453 h 840630"/>
                <a:gd name="connsiteX88" fmla="*/ 252081 w 870652"/>
                <a:gd name="connsiteY88" fmla="*/ 411701 h 840630"/>
                <a:gd name="connsiteX89" fmla="*/ 231366 w 870652"/>
                <a:gd name="connsiteY89" fmla="*/ 415132 h 840630"/>
                <a:gd name="connsiteX90" fmla="*/ 208163 w 870652"/>
                <a:gd name="connsiteY90" fmla="*/ 423710 h 840630"/>
                <a:gd name="connsiteX91" fmla="*/ 226948 w 870652"/>
                <a:gd name="connsiteY91" fmla="*/ 447685 h 840630"/>
                <a:gd name="connsiteX92" fmla="*/ 216569 w 870652"/>
                <a:gd name="connsiteY92" fmla="*/ 452832 h 840630"/>
                <a:gd name="connsiteX93" fmla="*/ 204131 w 870652"/>
                <a:gd name="connsiteY93" fmla="*/ 455105 h 840630"/>
                <a:gd name="connsiteX94" fmla="*/ 202587 w 870652"/>
                <a:gd name="connsiteY94" fmla="*/ 466342 h 840630"/>
                <a:gd name="connsiteX95" fmla="*/ 127574 w 870652"/>
                <a:gd name="connsiteY95" fmla="*/ 541270 h 840630"/>
                <a:gd name="connsiteX96" fmla="*/ 102312 w 870652"/>
                <a:gd name="connsiteY96" fmla="*/ 543671 h 840630"/>
                <a:gd name="connsiteX97" fmla="*/ 91461 w 870652"/>
                <a:gd name="connsiteY97" fmla="*/ 546159 h 840630"/>
                <a:gd name="connsiteX98" fmla="*/ 82325 w 870652"/>
                <a:gd name="connsiteY98" fmla="*/ 557525 h 840630"/>
                <a:gd name="connsiteX99" fmla="*/ 82840 w 870652"/>
                <a:gd name="connsiteY99" fmla="*/ 560441 h 840630"/>
                <a:gd name="connsiteX100" fmla="*/ 95021 w 870652"/>
                <a:gd name="connsiteY100" fmla="*/ 567561 h 840630"/>
                <a:gd name="connsiteX101" fmla="*/ 83098 w 870652"/>
                <a:gd name="connsiteY101" fmla="*/ 571249 h 840630"/>
                <a:gd name="connsiteX102" fmla="*/ 72975 w 870652"/>
                <a:gd name="connsiteY102" fmla="*/ 591664 h 840630"/>
                <a:gd name="connsiteX103" fmla="*/ 30215 w 870652"/>
                <a:gd name="connsiteY103" fmla="*/ 615983 h 840630"/>
                <a:gd name="connsiteX104" fmla="*/ 35018 w 870652"/>
                <a:gd name="connsiteY104" fmla="*/ 646391 h 840630"/>
                <a:gd name="connsiteX105" fmla="*/ 20436 w 870652"/>
                <a:gd name="connsiteY105" fmla="*/ 685378 h 840630"/>
                <a:gd name="connsiteX106" fmla="*/ 9371 w 870652"/>
                <a:gd name="connsiteY106" fmla="*/ 696615 h 840630"/>
                <a:gd name="connsiteX107" fmla="*/ 8641 w 870652"/>
                <a:gd name="connsiteY107" fmla="*/ 710339 h 840630"/>
                <a:gd name="connsiteX108" fmla="*/ 25926 w 870652"/>
                <a:gd name="connsiteY108" fmla="*/ 716601 h 840630"/>
                <a:gd name="connsiteX109" fmla="*/ 49644 w 870652"/>
                <a:gd name="connsiteY109" fmla="*/ 706308 h 840630"/>
                <a:gd name="connsiteX110" fmla="*/ 55563 w 870652"/>
                <a:gd name="connsiteY110" fmla="*/ 718317 h 840630"/>
                <a:gd name="connsiteX111" fmla="*/ 38278 w 870652"/>
                <a:gd name="connsiteY111" fmla="*/ 734314 h 840630"/>
                <a:gd name="connsiteX112" fmla="*/ 24940 w 870652"/>
                <a:gd name="connsiteY112" fmla="*/ 730326 h 840630"/>
                <a:gd name="connsiteX113" fmla="*/ 13574 w 870652"/>
                <a:gd name="connsiteY113" fmla="*/ 741734 h 840630"/>
                <a:gd name="connsiteX114" fmla="*/ 11129 w 870652"/>
                <a:gd name="connsiteY114" fmla="*/ 764551 h 840630"/>
                <a:gd name="connsiteX115" fmla="*/ 29872 w 870652"/>
                <a:gd name="connsiteY115" fmla="*/ 761678 h 840630"/>
                <a:gd name="connsiteX116" fmla="*/ 47628 w 870652"/>
                <a:gd name="connsiteY116" fmla="*/ 763994 h 840630"/>
                <a:gd name="connsiteX117" fmla="*/ 39264 w 870652"/>
                <a:gd name="connsiteY117" fmla="*/ 779391 h 840630"/>
                <a:gd name="connsiteX118" fmla="*/ 27856 w 870652"/>
                <a:gd name="connsiteY118" fmla="*/ 788484 h 840630"/>
                <a:gd name="connsiteX119" fmla="*/ 36262 w 870652"/>
                <a:gd name="connsiteY119" fmla="*/ 797533 h 840630"/>
                <a:gd name="connsiteX120" fmla="*/ 36477 w 870652"/>
                <a:gd name="connsiteY120" fmla="*/ 797619 h 840630"/>
                <a:gd name="connsiteX121" fmla="*/ 37378 w 870652"/>
                <a:gd name="connsiteY121" fmla="*/ 798134 h 840630"/>
                <a:gd name="connsiteX122" fmla="*/ 45655 w 870652"/>
                <a:gd name="connsiteY122" fmla="*/ 803109 h 840630"/>
                <a:gd name="connsiteX123" fmla="*/ 69416 w 870652"/>
                <a:gd name="connsiteY123" fmla="*/ 820951 h 840630"/>
                <a:gd name="connsiteX124" fmla="*/ 76493 w 870652"/>
                <a:gd name="connsiteY124" fmla="*/ 831802 h 840630"/>
                <a:gd name="connsiteX125" fmla="*/ 99524 w 870652"/>
                <a:gd name="connsiteY125" fmla="*/ 835362 h 840630"/>
                <a:gd name="connsiteX126" fmla="*/ 161757 w 870652"/>
                <a:gd name="connsiteY126" fmla="*/ 782265 h 840630"/>
                <a:gd name="connsiteX127" fmla="*/ 184960 w 870652"/>
                <a:gd name="connsiteY127" fmla="*/ 776560 h 840630"/>
                <a:gd name="connsiteX128" fmla="*/ 193366 w 870652"/>
                <a:gd name="connsiteY128" fmla="*/ 748597 h 840630"/>
                <a:gd name="connsiteX129" fmla="*/ 206704 w 870652"/>
                <a:gd name="connsiteY129" fmla="*/ 769698 h 840630"/>
                <a:gd name="connsiteX130" fmla="*/ 214596 w 870652"/>
                <a:gd name="connsiteY130" fmla="*/ 787197 h 840630"/>
                <a:gd name="connsiteX131" fmla="*/ 225018 w 870652"/>
                <a:gd name="connsiteY131" fmla="*/ 788912 h 840630"/>
                <a:gd name="connsiteX132" fmla="*/ 232953 w 870652"/>
                <a:gd name="connsiteY132" fmla="*/ 763265 h 840630"/>
                <a:gd name="connsiteX133" fmla="*/ 237713 w 870652"/>
                <a:gd name="connsiteY133" fmla="*/ 732041 h 840630"/>
                <a:gd name="connsiteX134" fmla="*/ 259930 w 870652"/>
                <a:gd name="connsiteY134" fmla="*/ 722906 h 840630"/>
                <a:gd name="connsiteX135" fmla="*/ 258343 w 870652"/>
                <a:gd name="connsiteY135" fmla="*/ 686193 h 840630"/>
                <a:gd name="connsiteX136" fmla="*/ 256714 w 870652"/>
                <a:gd name="connsiteY136" fmla="*/ 667836 h 840630"/>
                <a:gd name="connsiteX137" fmla="*/ 269409 w 870652"/>
                <a:gd name="connsiteY137" fmla="*/ 647635 h 840630"/>
                <a:gd name="connsiteX138" fmla="*/ 247192 w 870652"/>
                <a:gd name="connsiteY138" fmla="*/ 620143 h 840630"/>
                <a:gd name="connsiteX139" fmla="*/ 248779 w 870652"/>
                <a:gd name="connsiteY139" fmla="*/ 583430 h 840630"/>
                <a:gd name="connsiteX140" fmla="*/ 248779 w 870652"/>
                <a:gd name="connsiteY140" fmla="*/ 544872 h 840630"/>
                <a:gd name="connsiteX141" fmla="*/ 251953 w 870652"/>
                <a:gd name="connsiteY141" fmla="*/ 506358 h 840630"/>
                <a:gd name="connsiteX142" fmla="*/ 285277 w 870652"/>
                <a:gd name="connsiteY142" fmla="*/ 480710 h 840630"/>
                <a:gd name="connsiteX143" fmla="*/ 307494 w 870652"/>
                <a:gd name="connsiteY143" fmla="*/ 478823 h 840630"/>
                <a:gd name="connsiteX144" fmla="*/ 307494 w 870652"/>
                <a:gd name="connsiteY144" fmla="*/ 456821 h 840630"/>
                <a:gd name="connsiteX145" fmla="*/ 299560 w 870652"/>
                <a:gd name="connsiteY145" fmla="*/ 436663 h 840630"/>
                <a:gd name="connsiteX146" fmla="*/ 321776 w 870652"/>
                <a:gd name="connsiteY146" fmla="*/ 387168 h 840630"/>
                <a:gd name="connsiteX147" fmla="*/ 323363 w 870652"/>
                <a:gd name="connsiteY147" fmla="*/ 352299 h 840630"/>
                <a:gd name="connsiteX148" fmla="*/ 348754 w 870652"/>
                <a:gd name="connsiteY148" fmla="*/ 344965 h 840630"/>
                <a:gd name="connsiteX149" fmla="*/ 355101 w 870652"/>
                <a:gd name="connsiteY149" fmla="*/ 322920 h 840630"/>
                <a:gd name="connsiteX150" fmla="*/ 372558 w 870652"/>
                <a:gd name="connsiteY150" fmla="*/ 293584 h 840630"/>
                <a:gd name="connsiteX151" fmla="*/ 380492 w 870652"/>
                <a:gd name="connsiteY151" fmla="*/ 273383 h 840630"/>
                <a:gd name="connsiteX152" fmla="*/ 390013 w 870652"/>
                <a:gd name="connsiteY152" fmla="*/ 245848 h 840630"/>
                <a:gd name="connsiteX153" fmla="*/ 415404 w 870652"/>
                <a:gd name="connsiteY153" fmla="*/ 223803 h 840630"/>
                <a:gd name="connsiteX154" fmla="*/ 440794 w 870652"/>
                <a:gd name="connsiteY154" fmla="*/ 212823 h 840630"/>
                <a:gd name="connsiteX155" fmla="*/ 448729 w 870652"/>
                <a:gd name="connsiteY155" fmla="*/ 185331 h 840630"/>
                <a:gd name="connsiteX156" fmla="*/ 483640 w 870652"/>
                <a:gd name="connsiteY156" fmla="*/ 192665 h 840630"/>
                <a:gd name="connsiteX157" fmla="*/ 505857 w 870652"/>
                <a:gd name="connsiteY157" fmla="*/ 185331 h 840630"/>
                <a:gd name="connsiteX158" fmla="*/ 524900 w 870652"/>
                <a:gd name="connsiteY158" fmla="*/ 155995 h 840630"/>
                <a:gd name="connsiteX159" fmla="*/ 528117 w 870652"/>
                <a:gd name="connsiteY159" fmla="*/ 158311 h 840630"/>
                <a:gd name="connsiteX160" fmla="*/ 550248 w 870652"/>
                <a:gd name="connsiteY160" fmla="*/ 139483 h 840630"/>
                <a:gd name="connsiteX161" fmla="*/ 586747 w 870652"/>
                <a:gd name="connsiteY161" fmla="*/ 170663 h 840630"/>
                <a:gd name="connsiteX162" fmla="*/ 623202 w 870652"/>
                <a:gd name="connsiteY162" fmla="*/ 172507 h 840630"/>
                <a:gd name="connsiteX163" fmla="*/ 648593 w 870652"/>
                <a:gd name="connsiteY163" fmla="*/ 174352 h 840630"/>
                <a:gd name="connsiteX164" fmla="*/ 667636 w 870652"/>
                <a:gd name="connsiteY164" fmla="*/ 179884 h 840630"/>
                <a:gd name="connsiteX165" fmla="*/ 681918 w 870652"/>
                <a:gd name="connsiteY165" fmla="*/ 157882 h 840630"/>
                <a:gd name="connsiteX166" fmla="*/ 688266 w 870652"/>
                <a:gd name="connsiteY166" fmla="*/ 124857 h 840630"/>
                <a:gd name="connsiteX167" fmla="*/ 708852 w 870652"/>
                <a:gd name="connsiteY167" fmla="*/ 99167 h 840630"/>
                <a:gd name="connsiteX168" fmla="*/ 742177 w 870652"/>
                <a:gd name="connsiteY168" fmla="*/ 89988 h 840630"/>
                <a:gd name="connsiteX169" fmla="*/ 769155 w 870652"/>
                <a:gd name="connsiteY169" fmla="*/ 89988 h 840630"/>
                <a:gd name="connsiteX170" fmla="*/ 804067 w 870652"/>
                <a:gd name="connsiteY170" fmla="*/ 117523 h 840630"/>
                <a:gd name="connsiteX171" fmla="*/ 804067 w 870652"/>
                <a:gd name="connsiteY171" fmla="*/ 139054 h 840630"/>
                <a:gd name="connsiteX172" fmla="*/ 819421 w 870652"/>
                <a:gd name="connsiteY172" fmla="*/ 130261 h 840630"/>
                <a:gd name="connsiteX173" fmla="*/ 847042 w 870652"/>
                <a:gd name="connsiteY173" fmla="*/ 115422 h 840630"/>
                <a:gd name="connsiteX174" fmla="*/ 864026 w 870652"/>
                <a:gd name="connsiteY174" fmla="*/ 101568 h 840630"/>
                <a:gd name="connsiteX175" fmla="*/ 839107 w 870652"/>
                <a:gd name="connsiteY175" fmla="*/ 102812 h 84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870652" h="840630">
                  <a:moveTo>
                    <a:pt x="839107" y="102812"/>
                  </a:moveTo>
                  <a:cubicBezTo>
                    <a:pt x="837134" y="111390"/>
                    <a:pt x="823796" y="109675"/>
                    <a:pt x="824310" y="101097"/>
                  </a:cubicBezTo>
                  <a:cubicBezTo>
                    <a:pt x="824782" y="92562"/>
                    <a:pt x="803595" y="85657"/>
                    <a:pt x="802566" y="81668"/>
                  </a:cubicBezTo>
                  <a:cubicBezTo>
                    <a:pt x="801579" y="77679"/>
                    <a:pt x="811444" y="78237"/>
                    <a:pt x="819378" y="83383"/>
                  </a:cubicBezTo>
                  <a:cubicBezTo>
                    <a:pt x="827270" y="88530"/>
                    <a:pt x="832717" y="85099"/>
                    <a:pt x="841595" y="75406"/>
                  </a:cubicBezTo>
                  <a:cubicBezTo>
                    <a:pt x="850516" y="65713"/>
                    <a:pt x="862825" y="73690"/>
                    <a:pt x="864326" y="65112"/>
                  </a:cubicBezTo>
                  <a:cubicBezTo>
                    <a:pt x="865828" y="56578"/>
                    <a:pt x="850001" y="50830"/>
                    <a:pt x="847042" y="45684"/>
                  </a:cubicBezTo>
                  <a:cubicBezTo>
                    <a:pt x="844082" y="40537"/>
                    <a:pt x="832717" y="33675"/>
                    <a:pt x="821866" y="35991"/>
                  </a:cubicBezTo>
                  <a:cubicBezTo>
                    <a:pt x="811015" y="38264"/>
                    <a:pt x="810500" y="33117"/>
                    <a:pt x="804067" y="26298"/>
                  </a:cubicBezTo>
                  <a:cubicBezTo>
                    <a:pt x="802480" y="24582"/>
                    <a:pt x="800078" y="24025"/>
                    <a:pt x="797333" y="24368"/>
                  </a:cubicBezTo>
                  <a:cubicBezTo>
                    <a:pt x="793945" y="26727"/>
                    <a:pt x="790257" y="28571"/>
                    <a:pt x="786439" y="29729"/>
                  </a:cubicBezTo>
                  <a:cubicBezTo>
                    <a:pt x="781679" y="33846"/>
                    <a:pt x="777947" y="39894"/>
                    <a:pt x="777947" y="46885"/>
                  </a:cubicBezTo>
                  <a:cubicBezTo>
                    <a:pt x="777947" y="62882"/>
                    <a:pt x="765552" y="58851"/>
                    <a:pt x="770012" y="50316"/>
                  </a:cubicBezTo>
                  <a:cubicBezTo>
                    <a:pt x="773830" y="42982"/>
                    <a:pt x="766796" y="34404"/>
                    <a:pt x="770913" y="30286"/>
                  </a:cubicBezTo>
                  <a:cubicBezTo>
                    <a:pt x="769884" y="29986"/>
                    <a:pt x="768854" y="29686"/>
                    <a:pt x="767825" y="29257"/>
                  </a:cubicBezTo>
                  <a:cubicBezTo>
                    <a:pt x="763880" y="27584"/>
                    <a:pt x="759934" y="26298"/>
                    <a:pt x="755816" y="25183"/>
                  </a:cubicBezTo>
                  <a:cubicBezTo>
                    <a:pt x="754572" y="24925"/>
                    <a:pt x="754015" y="24797"/>
                    <a:pt x="754058" y="24754"/>
                  </a:cubicBezTo>
                  <a:cubicBezTo>
                    <a:pt x="752986" y="24668"/>
                    <a:pt x="751913" y="24539"/>
                    <a:pt x="750884" y="24496"/>
                  </a:cubicBezTo>
                  <a:cubicBezTo>
                    <a:pt x="746595" y="24282"/>
                    <a:pt x="742392" y="24496"/>
                    <a:pt x="738146" y="24668"/>
                  </a:cubicBezTo>
                  <a:cubicBezTo>
                    <a:pt x="738232" y="26212"/>
                    <a:pt x="738661" y="27584"/>
                    <a:pt x="739432" y="28614"/>
                  </a:cubicBezTo>
                  <a:cubicBezTo>
                    <a:pt x="743893" y="34318"/>
                    <a:pt x="727080" y="58894"/>
                    <a:pt x="719660" y="58894"/>
                  </a:cubicBezTo>
                  <a:cubicBezTo>
                    <a:pt x="712284" y="58894"/>
                    <a:pt x="720647" y="37792"/>
                    <a:pt x="720175" y="26341"/>
                  </a:cubicBezTo>
                  <a:cubicBezTo>
                    <a:pt x="720175" y="26212"/>
                    <a:pt x="720132" y="26169"/>
                    <a:pt x="720132" y="26040"/>
                  </a:cubicBezTo>
                  <a:cubicBezTo>
                    <a:pt x="717130" y="25783"/>
                    <a:pt x="714213" y="25311"/>
                    <a:pt x="711468" y="24411"/>
                  </a:cubicBezTo>
                  <a:cubicBezTo>
                    <a:pt x="708209" y="27584"/>
                    <a:pt x="704049" y="32688"/>
                    <a:pt x="698902" y="39465"/>
                  </a:cubicBezTo>
                  <a:cubicBezTo>
                    <a:pt x="685092" y="57736"/>
                    <a:pt x="674713" y="74291"/>
                    <a:pt x="666821" y="76006"/>
                  </a:cubicBezTo>
                  <a:cubicBezTo>
                    <a:pt x="658887" y="77722"/>
                    <a:pt x="659873" y="59451"/>
                    <a:pt x="672740" y="51474"/>
                  </a:cubicBezTo>
                  <a:cubicBezTo>
                    <a:pt x="685564" y="43453"/>
                    <a:pt x="686078" y="21751"/>
                    <a:pt x="694442" y="21751"/>
                  </a:cubicBezTo>
                  <a:cubicBezTo>
                    <a:pt x="697529" y="21751"/>
                    <a:pt x="699460" y="20207"/>
                    <a:pt x="700060" y="18106"/>
                  </a:cubicBezTo>
                  <a:cubicBezTo>
                    <a:pt x="696543" y="15189"/>
                    <a:pt x="693498" y="11544"/>
                    <a:pt x="691139" y="7169"/>
                  </a:cubicBezTo>
                  <a:cubicBezTo>
                    <a:pt x="690882" y="7083"/>
                    <a:pt x="690753" y="6997"/>
                    <a:pt x="690496" y="6912"/>
                  </a:cubicBezTo>
                  <a:cubicBezTo>
                    <a:pt x="678144" y="3481"/>
                    <a:pt x="676171" y="19478"/>
                    <a:pt x="672225" y="24025"/>
                  </a:cubicBezTo>
                  <a:cubicBezTo>
                    <a:pt x="670081" y="26512"/>
                    <a:pt x="663090" y="23896"/>
                    <a:pt x="657257" y="21751"/>
                  </a:cubicBezTo>
                  <a:cubicBezTo>
                    <a:pt x="653139" y="24325"/>
                    <a:pt x="648550" y="25997"/>
                    <a:pt x="643832" y="26555"/>
                  </a:cubicBezTo>
                  <a:cubicBezTo>
                    <a:pt x="641688" y="28614"/>
                    <a:pt x="640144" y="31144"/>
                    <a:pt x="642588" y="35390"/>
                  </a:cubicBezTo>
                  <a:cubicBezTo>
                    <a:pt x="647521" y="43968"/>
                    <a:pt x="640144" y="51388"/>
                    <a:pt x="635212" y="41137"/>
                  </a:cubicBezTo>
                  <a:cubicBezTo>
                    <a:pt x="630279" y="30844"/>
                    <a:pt x="617927" y="38821"/>
                    <a:pt x="612008" y="50273"/>
                  </a:cubicBezTo>
                  <a:cubicBezTo>
                    <a:pt x="606090" y="61724"/>
                    <a:pt x="598155" y="61124"/>
                    <a:pt x="604074" y="65112"/>
                  </a:cubicBezTo>
                  <a:cubicBezTo>
                    <a:pt x="609993" y="69101"/>
                    <a:pt x="609521" y="84541"/>
                    <a:pt x="600643" y="87372"/>
                  </a:cubicBezTo>
                  <a:cubicBezTo>
                    <a:pt x="591722" y="90246"/>
                    <a:pt x="595196" y="59365"/>
                    <a:pt x="588290" y="62239"/>
                  </a:cubicBezTo>
                  <a:cubicBezTo>
                    <a:pt x="581385" y="65070"/>
                    <a:pt x="585803" y="47356"/>
                    <a:pt x="595196" y="47356"/>
                  </a:cubicBezTo>
                  <a:cubicBezTo>
                    <a:pt x="602187" y="47356"/>
                    <a:pt x="609135" y="38521"/>
                    <a:pt x="611837" y="32345"/>
                  </a:cubicBezTo>
                  <a:cubicBezTo>
                    <a:pt x="604160" y="35219"/>
                    <a:pt x="596611" y="38221"/>
                    <a:pt x="588677" y="40408"/>
                  </a:cubicBezTo>
                  <a:cubicBezTo>
                    <a:pt x="581428" y="42424"/>
                    <a:pt x="574009" y="41952"/>
                    <a:pt x="567232" y="39508"/>
                  </a:cubicBezTo>
                  <a:cubicBezTo>
                    <a:pt x="562686" y="44483"/>
                    <a:pt x="565517" y="55891"/>
                    <a:pt x="575938" y="62796"/>
                  </a:cubicBezTo>
                  <a:cubicBezTo>
                    <a:pt x="589749" y="71975"/>
                    <a:pt x="573451" y="77679"/>
                    <a:pt x="566546" y="70817"/>
                  </a:cubicBezTo>
                  <a:cubicBezTo>
                    <a:pt x="559641" y="63955"/>
                    <a:pt x="548790" y="67386"/>
                    <a:pt x="541370" y="71374"/>
                  </a:cubicBezTo>
                  <a:cubicBezTo>
                    <a:pt x="533950" y="75406"/>
                    <a:pt x="559169" y="85657"/>
                    <a:pt x="560155" y="90803"/>
                  </a:cubicBezTo>
                  <a:cubicBezTo>
                    <a:pt x="561142" y="95950"/>
                    <a:pt x="547289" y="84498"/>
                    <a:pt x="544329" y="88487"/>
                  </a:cubicBezTo>
                  <a:cubicBezTo>
                    <a:pt x="541370" y="92519"/>
                    <a:pt x="527560" y="85614"/>
                    <a:pt x="526573" y="75921"/>
                  </a:cubicBezTo>
                  <a:cubicBezTo>
                    <a:pt x="525543" y="66228"/>
                    <a:pt x="503327" y="79909"/>
                    <a:pt x="515722" y="83340"/>
                  </a:cubicBezTo>
                  <a:cubicBezTo>
                    <a:pt x="528074" y="86772"/>
                    <a:pt x="523614" y="95950"/>
                    <a:pt x="523614" y="108474"/>
                  </a:cubicBezTo>
                  <a:cubicBezTo>
                    <a:pt x="523614" y="121040"/>
                    <a:pt x="509289" y="111347"/>
                    <a:pt x="512248" y="100496"/>
                  </a:cubicBezTo>
                  <a:cubicBezTo>
                    <a:pt x="515207" y="89645"/>
                    <a:pt x="503327" y="91918"/>
                    <a:pt x="493505" y="98781"/>
                  </a:cubicBezTo>
                  <a:cubicBezTo>
                    <a:pt x="483640" y="105643"/>
                    <a:pt x="495006" y="86214"/>
                    <a:pt x="491061" y="76521"/>
                  </a:cubicBezTo>
                  <a:cubicBezTo>
                    <a:pt x="487115" y="66828"/>
                    <a:pt x="478194" y="76521"/>
                    <a:pt x="467815" y="78837"/>
                  </a:cubicBezTo>
                  <a:cubicBezTo>
                    <a:pt x="457435" y="81110"/>
                    <a:pt x="452031" y="81668"/>
                    <a:pt x="458464" y="89688"/>
                  </a:cubicBezTo>
                  <a:cubicBezTo>
                    <a:pt x="464855" y="97665"/>
                    <a:pt x="463911" y="109074"/>
                    <a:pt x="455462" y="107401"/>
                  </a:cubicBezTo>
                  <a:cubicBezTo>
                    <a:pt x="447099" y="105686"/>
                    <a:pt x="443625" y="107401"/>
                    <a:pt x="444611" y="116537"/>
                  </a:cubicBezTo>
                  <a:cubicBezTo>
                    <a:pt x="445598" y="125672"/>
                    <a:pt x="433760" y="126230"/>
                    <a:pt x="432774" y="118252"/>
                  </a:cubicBezTo>
                  <a:cubicBezTo>
                    <a:pt x="431787" y="110275"/>
                    <a:pt x="415018" y="112548"/>
                    <a:pt x="410043" y="121683"/>
                  </a:cubicBezTo>
                  <a:cubicBezTo>
                    <a:pt x="405110" y="130819"/>
                    <a:pt x="391300" y="137681"/>
                    <a:pt x="392758" y="147932"/>
                  </a:cubicBezTo>
                  <a:cubicBezTo>
                    <a:pt x="394216" y="158182"/>
                    <a:pt x="405110" y="142785"/>
                    <a:pt x="413988" y="146216"/>
                  </a:cubicBezTo>
                  <a:cubicBezTo>
                    <a:pt x="422867" y="149647"/>
                    <a:pt x="413474" y="154794"/>
                    <a:pt x="418449" y="159898"/>
                  </a:cubicBezTo>
                  <a:cubicBezTo>
                    <a:pt x="423381" y="165045"/>
                    <a:pt x="422352" y="177611"/>
                    <a:pt x="415447" y="170191"/>
                  </a:cubicBezTo>
                  <a:cubicBezTo>
                    <a:pt x="408542" y="162771"/>
                    <a:pt x="399663" y="160455"/>
                    <a:pt x="398162" y="172464"/>
                  </a:cubicBezTo>
                  <a:cubicBezTo>
                    <a:pt x="396704" y="184474"/>
                    <a:pt x="389284" y="170749"/>
                    <a:pt x="383323" y="162171"/>
                  </a:cubicBezTo>
                  <a:cubicBezTo>
                    <a:pt x="377404" y="153593"/>
                    <a:pt x="371485" y="178169"/>
                    <a:pt x="365052" y="172464"/>
                  </a:cubicBezTo>
                  <a:cubicBezTo>
                    <a:pt x="358661" y="166760"/>
                    <a:pt x="377876" y="149047"/>
                    <a:pt x="372943" y="140512"/>
                  </a:cubicBezTo>
                  <a:cubicBezTo>
                    <a:pt x="368011" y="131934"/>
                    <a:pt x="364537" y="145659"/>
                    <a:pt x="353214" y="158783"/>
                  </a:cubicBezTo>
                  <a:cubicBezTo>
                    <a:pt x="341849" y="171907"/>
                    <a:pt x="326580" y="171349"/>
                    <a:pt x="332027" y="177611"/>
                  </a:cubicBezTo>
                  <a:cubicBezTo>
                    <a:pt x="337431" y="183873"/>
                    <a:pt x="320661" y="187304"/>
                    <a:pt x="317702" y="198155"/>
                  </a:cubicBezTo>
                  <a:cubicBezTo>
                    <a:pt x="314742" y="209049"/>
                    <a:pt x="291540" y="213038"/>
                    <a:pt x="276700" y="224446"/>
                  </a:cubicBezTo>
                  <a:cubicBezTo>
                    <a:pt x="261903" y="235812"/>
                    <a:pt x="279659" y="236412"/>
                    <a:pt x="288065" y="225561"/>
                  </a:cubicBezTo>
                  <a:cubicBezTo>
                    <a:pt x="296472" y="214710"/>
                    <a:pt x="299431" y="221015"/>
                    <a:pt x="312770" y="211279"/>
                  </a:cubicBezTo>
                  <a:cubicBezTo>
                    <a:pt x="326108" y="201586"/>
                    <a:pt x="340391" y="193609"/>
                    <a:pt x="345365" y="197555"/>
                  </a:cubicBezTo>
                  <a:cubicBezTo>
                    <a:pt x="350298" y="201586"/>
                    <a:pt x="358704" y="204417"/>
                    <a:pt x="365095" y="194124"/>
                  </a:cubicBezTo>
                  <a:cubicBezTo>
                    <a:pt x="371528" y="183830"/>
                    <a:pt x="379420" y="186103"/>
                    <a:pt x="385853" y="192408"/>
                  </a:cubicBezTo>
                  <a:cubicBezTo>
                    <a:pt x="392287" y="198713"/>
                    <a:pt x="375002" y="203859"/>
                    <a:pt x="382894" y="212995"/>
                  </a:cubicBezTo>
                  <a:cubicBezTo>
                    <a:pt x="390786" y="222130"/>
                    <a:pt x="373544" y="227234"/>
                    <a:pt x="373544" y="219257"/>
                  </a:cubicBezTo>
                  <a:cubicBezTo>
                    <a:pt x="373544" y="211279"/>
                    <a:pt x="363679" y="204417"/>
                    <a:pt x="360205" y="211837"/>
                  </a:cubicBezTo>
                  <a:cubicBezTo>
                    <a:pt x="356731" y="219257"/>
                    <a:pt x="350812" y="227234"/>
                    <a:pt x="344422" y="227835"/>
                  </a:cubicBezTo>
                  <a:cubicBezTo>
                    <a:pt x="338031" y="228392"/>
                    <a:pt x="331083" y="242117"/>
                    <a:pt x="331083" y="255841"/>
                  </a:cubicBezTo>
                  <a:cubicBezTo>
                    <a:pt x="331083" y="269523"/>
                    <a:pt x="319718" y="255841"/>
                    <a:pt x="318774" y="267807"/>
                  </a:cubicBezTo>
                  <a:cubicBezTo>
                    <a:pt x="317788" y="279816"/>
                    <a:pt x="301961" y="300918"/>
                    <a:pt x="288151" y="316315"/>
                  </a:cubicBezTo>
                  <a:cubicBezTo>
                    <a:pt x="274341" y="331712"/>
                    <a:pt x="287165" y="335186"/>
                    <a:pt x="282704" y="344879"/>
                  </a:cubicBezTo>
                  <a:cubicBezTo>
                    <a:pt x="278244" y="354572"/>
                    <a:pt x="261946" y="345995"/>
                    <a:pt x="256542" y="350026"/>
                  </a:cubicBezTo>
                  <a:cubicBezTo>
                    <a:pt x="251095" y="354058"/>
                    <a:pt x="259501" y="377990"/>
                    <a:pt x="252081" y="385453"/>
                  </a:cubicBezTo>
                  <a:cubicBezTo>
                    <a:pt x="244661" y="392873"/>
                    <a:pt x="252081" y="403166"/>
                    <a:pt x="252081" y="411701"/>
                  </a:cubicBezTo>
                  <a:cubicBezTo>
                    <a:pt x="252081" y="420236"/>
                    <a:pt x="232824" y="406554"/>
                    <a:pt x="231366" y="415132"/>
                  </a:cubicBezTo>
                  <a:cubicBezTo>
                    <a:pt x="229865" y="423710"/>
                    <a:pt x="213052" y="421437"/>
                    <a:pt x="208163" y="423710"/>
                  </a:cubicBezTo>
                  <a:cubicBezTo>
                    <a:pt x="203230" y="425983"/>
                    <a:pt x="218027" y="439665"/>
                    <a:pt x="226948" y="447685"/>
                  </a:cubicBezTo>
                  <a:cubicBezTo>
                    <a:pt x="235826" y="455705"/>
                    <a:pt x="218542" y="461967"/>
                    <a:pt x="216569" y="452832"/>
                  </a:cubicBezTo>
                  <a:cubicBezTo>
                    <a:pt x="215411" y="447556"/>
                    <a:pt x="210779" y="450301"/>
                    <a:pt x="204131" y="455105"/>
                  </a:cubicBezTo>
                  <a:cubicBezTo>
                    <a:pt x="204345" y="459051"/>
                    <a:pt x="203917" y="462911"/>
                    <a:pt x="202587" y="466342"/>
                  </a:cubicBezTo>
                  <a:cubicBezTo>
                    <a:pt x="188305" y="503956"/>
                    <a:pt x="162872" y="524929"/>
                    <a:pt x="127574" y="541270"/>
                  </a:cubicBezTo>
                  <a:cubicBezTo>
                    <a:pt x="118695" y="545387"/>
                    <a:pt x="110075" y="545773"/>
                    <a:pt x="102312" y="543671"/>
                  </a:cubicBezTo>
                  <a:cubicBezTo>
                    <a:pt x="99009" y="544958"/>
                    <a:pt x="95149" y="545558"/>
                    <a:pt x="91461" y="546159"/>
                  </a:cubicBezTo>
                  <a:cubicBezTo>
                    <a:pt x="89273" y="550405"/>
                    <a:pt x="86271" y="554265"/>
                    <a:pt x="82325" y="557525"/>
                  </a:cubicBezTo>
                  <a:cubicBezTo>
                    <a:pt x="82540" y="558468"/>
                    <a:pt x="82668" y="559455"/>
                    <a:pt x="82840" y="560441"/>
                  </a:cubicBezTo>
                  <a:cubicBezTo>
                    <a:pt x="87644" y="562414"/>
                    <a:pt x="93519" y="564087"/>
                    <a:pt x="95021" y="567561"/>
                  </a:cubicBezTo>
                  <a:cubicBezTo>
                    <a:pt x="96736" y="571507"/>
                    <a:pt x="90646" y="572021"/>
                    <a:pt x="83098" y="571249"/>
                  </a:cubicBezTo>
                  <a:cubicBezTo>
                    <a:pt x="82197" y="578841"/>
                    <a:pt x="79023" y="586046"/>
                    <a:pt x="72975" y="591664"/>
                  </a:cubicBezTo>
                  <a:cubicBezTo>
                    <a:pt x="59766" y="603974"/>
                    <a:pt x="45698" y="612166"/>
                    <a:pt x="30215" y="615983"/>
                  </a:cubicBezTo>
                  <a:cubicBezTo>
                    <a:pt x="35791" y="623831"/>
                    <a:pt x="38235" y="634168"/>
                    <a:pt x="35018" y="646391"/>
                  </a:cubicBezTo>
                  <a:cubicBezTo>
                    <a:pt x="31373" y="660245"/>
                    <a:pt x="28542" y="673412"/>
                    <a:pt x="20436" y="685378"/>
                  </a:cubicBezTo>
                  <a:cubicBezTo>
                    <a:pt x="17219" y="690095"/>
                    <a:pt x="13445" y="693827"/>
                    <a:pt x="9371" y="696615"/>
                  </a:cubicBezTo>
                  <a:cubicBezTo>
                    <a:pt x="6926" y="699831"/>
                    <a:pt x="4567" y="703563"/>
                    <a:pt x="8641" y="710339"/>
                  </a:cubicBezTo>
                  <a:cubicBezTo>
                    <a:pt x="16533" y="723463"/>
                    <a:pt x="22452" y="706908"/>
                    <a:pt x="25926" y="716601"/>
                  </a:cubicBezTo>
                  <a:cubicBezTo>
                    <a:pt x="29357" y="726337"/>
                    <a:pt x="38750" y="717759"/>
                    <a:pt x="49644" y="706308"/>
                  </a:cubicBezTo>
                  <a:cubicBezTo>
                    <a:pt x="60495" y="694899"/>
                    <a:pt x="64440" y="718874"/>
                    <a:pt x="55563" y="718317"/>
                  </a:cubicBezTo>
                  <a:cubicBezTo>
                    <a:pt x="46684" y="717759"/>
                    <a:pt x="36305" y="724021"/>
                    <a:pt x="38278" y="734314"/>
                  </a:cubicBezTo>
                  <a:cubicBezTo>
                    <a:pt x="40251" y="744565"/>
                    <a:pt x="24468" y="742892"/>
                    <a:pt x="24940" y="730326"/>
                  </a:cubicBezTo>
                  <a:cubicBezTo>
                    <a:pt x="25411" y="717759"/>
                    <a:pt x="6669" y="732599"/>
                    <a:pt x="13574" y="741734"/>
                  </a:cubicBezTo>
                  <a:cubicBezTo>
                    <a:pt x="20479" y="750870"/>
                    <a:pt x="11129" y="755974"/>
                    <a:pt x="11129" y="764551"/>
                  </a:cubicBezTo>
                  <a:cubicBezTo>
                    <a:pt x="11129" y="773129"/>
                    <a:pt x="24468" y="771414"/>
                    <a:pt x="29872" y="761678"/>
                  </a:cubicBezTo>
                  <a:cubicBezTo>
                    <a:pt x="35319" y="751985"/>
                    <a:pt x="44197" y="754258"/>
                    <a:pt x="47628" y="763994"/>
                  </a:cubicBezTo>
                  <a:cubicBezTo>
                    <a:pt x="51102" y="773687"/>
                    <a:pt x="39264" y="766267"/>
                    <a:pt x="39264" y="779391"/>
                  </a:cubicBezTo>
                  <a:cubicBezTo>
                    <a:pt x="39264" y="790885"/>
                    <a:pt x="33560" y="783551"/>
                    <a:pt x="27856" y="788484"/>
                  </a:cubicBezTo>
                  <a:cubicBezTo>
                    <a:pt x="30944" y="791057"/>
                    <a:pt x="33689" y="794102"/>
                    <a:pt x="36262" y="797533"/>
                  </a:cubicBezTo>
                  <a:cubicBezTo>
                    <a:pt x="36348" y="797576"/>
                    <a:pt x="36391" y="797576"/>
                    <a:pt x="36477" y="797619"/>
                  </a:cubicBezTo>
                  <a:cubicBezTo>
                    <a:pt x="33046" y="792730"/>
                    <a:pt x="35705" y="796161"/>
                    <a:pt x="37378" y="798134"/>
                  </a:cubicBezTo>
                  <a:cubicBezTo>
                    <a:pt x="40165" y="799721"/>
                    <a:pt x="42867" y="801479"/>
                    <a:pt x="45655" y="803109"/>
                  </a:cubicBezTo>
                  <a:cubicBezTo>
                    <a:pt x="54190" y="807998"/>
                    <a:pt x="62554" y="813702"/>
                    <a:pt x="69416" y="820951"/>
                  </a:cubicBezTo>
                  <a:cubicBezTo>
                    <a:pt x="72547" y="824253"/>
                    <a:pt x="74820" y="827942"/>
                    <a:pt x="76493" y="831802"/>
                  </a:cubicBezTo>
                  <a:cubicBezTo>
                    <a:pt x="82497" y="834804"/>
                    <a:pt x="89745" y="837077"/>
                    <a:pt x="99524" y="835362"/>
                  </a:cubicBezTo>
                  <a:cubicBezTo>
                    <a:pt x="119296" y="831930"/>
                    <a:pt x="156824" y="789684"/>
                    <a:pt x="161757" y="782265"/>
                  </a:cubicBezTo>
                  <a:cubicBezTo>
                    <a:pt x="166732" y="774845"/>
                    <a:pt x="177582" y="783423"/>
                    <a:pt x="184960" y="776560"/>
                  </a:cubicBezTo>
                  <a:cubicBezTo>
                    <a:pt x="192380" y="769698"/>
                    <a:pt x="187919" y="752028"/>
                    <a:pt x="193366" y="748597"/>
                  </a:cubicBezTo>
                  <a:cubicBezTo>
                    <a:pt x="198813" y="745165"/>
                    <a:pt x="201729" y="767425"/>
                    <a:pt x="206704" y="769698"/>
                  </a:cubicBezTo>
                  <a:cubicBezTo>
                    <a:pt x="211165" y="771757"/>
                    <a:pt x="214425" y="775788"/>
                    <a:pt x="214596" y="787197"/>
                  </a:cubicBezTo>
                  <a:cubicBezTo>
                    <a:pt x="218542" y="786596"/>
                    <a:pt x="222530" y="786725"/>
                    <a:pt x="225018" y="788912"/>
                  </a:cubicBezTo>
                  <a:cubicBezTo>
                    <a:pt x="231366" y="794445"/>
                    <a:pt x="232953" y="770599"/>
                    <a:pt x="232953" y="763265"/>
                  </a:cubicBezTo>
                  <a:cubicBezTo>
                    <a:pt x="232953" y="755931"/>
                    <a:pt x="239300" y="741220"/>
                    <a:pt x="237713" y="732041"/>
                  </a:cubicBezTo>
                  <a:cubicBezTo>
                    <a:pt x="236126" y="722906"/>
                    <a:pt x="256756" y="730240"/>
                    <a:pt x="259930" y="722906"/>
                  </a:cubicBezTo>
                  <a:cubicBezTo>
                    <a:pt x="263104" y="715529"/>
                    <a:pt x="264691" y="689881"/>
                    <a:pt x="258343" y="686193"/>
                  </a:cubicBezTo>
                  <a:cubicBezTo>
                    <a:pt x="251996" y="682504"/>
                    <a:pt x="250408" y="667836"/>
                    <a:pt x="256714" y="667836"/>
                  </a:cubicBezTo>
                  <a:cubicBezTo>
                    <a:pt x="263061" y="667836"/>
                    <a:pt x="270995" y="662346"/>
                    <a:pt x="269409" y="647635"/>
                  </a:cubicBezTo>
                  <a:cubicBezTo>
                    <a:pt x="267822" y="632967"/>
                    <a:pt x="248779" y="634811"/>
                    <a:pt x="247192" y="620143"/>
                  </a:cubicBezTo>
                  <a:cubicBezTo>
                    <a:pt x="245562" y="605475"/>
                    <a:pt x="256714" y="601786"/>
                    <a:pt x="248779" y="583430"/>
                  </a:cubicBezTo>
                  <a:cubicBezTo>
                    <a:pt x="240844" y="565073"/>
                    <a:pt x="251953" y="554051"/>
                    <a:pt x="248779" y="544872"/>
                  </a:cubicBezTo>
                  <a:cubicBezTo>
                    <a:pt x="245605" y="535694"/>
                    <a:pt x="242431" y="524671"/>
                    <a:pt x="251953" y="506358"/>
                  </a:cubicBezTo>
                  <a:cubicBezTo>
                    <a:pt x="261474" y="488001"/>
                    <a:pt x="278930" y="478823"/>
                    <a:pt x="285277" y="480710"/>
                  </a:cubicBezTo>
                  <a:cubicBezTo>
                    <a:pt x="291625" y="482511"/>
                    <a:pt x="302734" y="489888"/>
                    <a:pt x="307494" y="478823"/>
                  </a:cubicBezTo>
                  <a:cubicBezTo>
                    <a:pt x="312212" y="467843"/>
                    <a:pt x="312212" y="458665"/>
                    <a:pt x="307494" y="456821"/>
                  </a:cubicBezTo>
                  <a:cubicBezTo>
                    <a:pt x="302734" y="455019"/>
                    <a:pt x="290039" y="451331"/>
                    <a:pt x="299560" y="436663"/>
                  </a:cubicBezTo>
                  <a:cubicBezTo>
                    <a:pt x="309081" y="421994"/>
                    <a:pt x="320189" y="403638"/>
                    <a:pt x="321776" y="387168"/>
                  </a:cubicBezTo>
                  <a:cubicBezTo>
                    <a:pt x="323363" y="370656"/>
                    <a:pt x="318602" y="357789"/>
                    <a:pt x="323363" y="352299"/>
                  </a:cubicBezTo>
                  <a:cubicBezTo>
                    <a:pt x="328124" y="346767"/>
                    <a:pt x="339233" y="352299"/>
                    <a:pt x="348754" y="344965"/>
                  </a:cubicBezTo>
                  <a:cubicBezTo>
                    <a:pt x="358275" y="337588"/>
                    <a:pt x="350341" y="328453"/>
                    <a:pt x="355101" y="322920"/>
                  </a:cubicBezTo>
                  <a:cubicBezTo>
                    <a:pt x="359862" y="317387"/>
                    <a:pt x="366210" y="299074"/>
                    <a:pt x="372558" y="293584"/>
                  </a:cubicBezTo>
                  <a:cubicBezTo>
                    <a:pt x="378905" y="288051"/>
                    <a:pt x="385253" y="280717"/>
                    <a:pt x="380492" y="273383"/>
                  </a:cubicBezTo>
                  <a:cubicBezTo>
                    <a:pt x="375731" y="266006"/>
                    <a:pt x="390013" y="258672"/>
                    <a:pt x="390013" y="245848"/>
                  </a:cubicBezTo>
                  <a:cubicBezTo>
                    <a:pt x="390013" y="233024"/>
                    <a:pt x="405882" y="223803"/>
                    <a:pt x="415404" y="223803"/>
                  </a:cubicBezTo>
                  <a:cubicBezTo>
                    <a:pt x="424925" y="223803"/>
                    <a:pt x="440794" y="223803"/>
                    <a:pt x="440794" y="212823"/>
                  </a:cubicBezTo>
                  <a:cubicBezTo>
                    <a:pt x="440794" y="201844"/>
                    <a:pt x="434447" y="177954"/>
                    <a:pt x="448729" y="185331"/>
                  </a:cubicBezTo>
                  <a:cubicBezTo>
                    <a:pt x="463011" y="192665"/>
                    <a:pt x="474119" y="183487"/>
                    <a:pt x="483640" y="192665"/>
                  </a:cubicBezTo>
                  <a:cubicBezTo>
                    <a:pt x="493162" y="201844"/>
                    <a:pt x="505857" y="199999"/>
                    <a:pt x="505857" y="185331"/>
                  </a:cubicBezTo>
                  <a:cubicBezTo>
                    <a:pt x="505857" y="170620"/>
                    <a:pt x="510618" y="146817"/>
                    <a:pt x="524900" y="155995"/>
                  </a:cubicBezTo>
                  <a:cubicBezTo>
                    <a:pt x="526015" y="156724"/>
                    <a:pt x="527044" y="157496"/>
                    <a:pt x="528117" y="158311"/>
                  </a:cubicBezTo>
                  <a:cubicBezTo>
                    <a:pt x="532835" y="146045"/>
                    <a:pt x="541842" y="138282"/>
                    <a:pt x="550248" y="139483"/>
                  </a:cubicBezTo>
                  <a:cubicBezTo>
                    <a:pt x="562986" y="141327"/>
                    <a:pt x="570878" y="167018"/>
                    <a:pt x="586747" y="170663"/>
                  </a:cubicBezTo>
                  <a:cubicBezTo>
                    <a:pt x="602616" y="174352"/>
                    <a:pt x="618485" y="181729"/>
                    <a:pt x="623202" y="172507"/>
                  </a:cubicBezTo>
                  <a:cubicBezTo>
                    <a:pt x="627963" y="163329"/>
                    <a:pt x="639072" y="177997"/>
                    <a:pt x="648593" y="174352"/>
                  </a:cubicBezTo>
                  <a:cubicBezTo>
                    <a:pt x="658114" y="170663"/>
                    <a:pt x="658114" y="194552"/>
                    <a:pt x="667636" y="179884"/>
                  </a:cubicBezTo>
                  <a:cubicBezTo>
                    <a:pt x="677157" y="165216"/>
                    <a:pt x="666049" y="156038"/>
                    <a:pt x="681918" y="157882"/>
                  </a:cubicBezTo>
                  <a:cubicBezTo>
                    <a:pt x="697787" y="159683"/>
                    <a:pt x="688266" y="137681"/>
                    <a:pt x="688266" y="124857"/>
                  </a:cubicBezTo>
                  <a:cubicBezTo>
                    <a:pt x="688266" y="112033"/>
                    <a:pt x="708852" y="110189"/>
                    <a:pt x="708852" y="99167"/>
                  </a:cubicBezTo>
                  <a:cubicBezTo>
                    <a:pt x="708852" y="88144"/>
                    <a:pt x="737417" y="97322"/>
                    <a:pt x="742177" y="89988"/>
                  </a:cubicBezTo>
                  <a:cubicBezTo>
                    <a:pt x="746938" y="82654"/>
                    <a:pt x="762807" y="77164"/>
                    <a:pt x="769155" y="89988"/>
                  </a:cubicBezTo>
                  <a:cubicBezTo>
                    <a:pt x="775459" y="102855"/>
                    <a:pt x="802437" y="106501"/>
                    <a:pt x="804067" y="117523"/>
                  </a:cubicBezTo>
                  <a:cubicBezTo>
                    <a:pt x="804839" y="122841"/>
                    <a:pt x="804110" y="131248"/>
                    <a:pt x="804067" y="139054"/>
                  </a:cubicBezTo>
                  <a:cubicBezTo>
                    <a:pt x="808442" y="134036"/>
                    <a:pt x="814060" y="130261"/>
                    <a:pt x="819421" y="130261"/>
                  </a:cubicBezTo>
                  <a:cubicBezTo>
                    <a:pt x="829286" y="130261"/>
                    <a:pt x="838164" y="113149"/>
                    <a:pt x="847042" y="115422"/>
                  </a:cubicBezTo>
                  <a:cubicBezTo>
                    <a:pt x="854462" y="117309"/>
                    <a:pt x="861753" y="115851"/>
                    <a:pt x="864026" y="101568"/>
                  </a:cubicBezTo>
                  <a:cubicBezTo>
                    <a:pt x="856006" y="95778"/>
                    <a:pt x="840909" y="95006"/>
                    <a:pt x="839107" y="102812"/>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31" name="Freeform: Shape 309">
              <a:extLst>
                <a:ext uri="{FF2B5EF4-FFF2-40B4-BE49-F238E27FC236}">
                  <a16:creationId xmlns:a16="http://schemas.microsoft.com/office/drawing/2014/main" id="{B2D8FFE7-986B-EB20-838C-70216A6927A4}"/>
                </a:ext>
              </a:extLst>
            </p:cNvPr>
            <p:cNvSpPr/>
            <p:nvPr/>
          </p:nvSpPr>
          <p:spPr>
            <a:xfrm>
              <a:off x="7491415" y="2594753"/>
              <a:ext cx="88569" cy="49205"/>
            </a:xfrm>
            <a:custGeom>
              <a:avLst/>
              <a:gdLst>
                <a:gd name="connsiteX0" fmla="*/ 92855 w 115801"/>
                <a:gd name="connsiteY0" fmla="*/ 18203 h 64333"/>
                <a:gd name="connsiteX1" fmla="*/ 72869 w 115801"/>
                <a:gd name="connsiteY1" fmla="*/ 9625 h 64333"/>
                <a:gd name="connsiteX2" fmla="*/ 52582 w 115801"/>
                <a:gd name="connsiteY2" fmla="*/ 7523 h 64333"/>
                <a:gd name="connsiteX3" fmla="*/ 57772 w 115801"/>
                <a:gd name="connsiteY3" fmla="*/ 13356 h 64333"/>
                <a:gd name="connsiteX4" fmla="*/ 46921 w 115801"/>
                <a:gd name="connsiteY4" fmla="*/ 34501 h 64333"/>
                <a:gd name="connsiteX5" fmla="*/ 31138 w 115801"/>
                <a:gd name="connsiteY5" fmla="*/ 34501 h 64333"/>
                <a:gd name="connsiteX6" fmla="*/ 8450 w 115801"/>
                <a:gd name="connsiteY6" fmla="*/ 36216 h 64333"/>
                <a:gd name="connsiteX7" fmla="*/ 6433 w 115801"/>
                <a:gd name="connsiteY7" fmla="*/ 45352 h 64333"/>
                <a:gd name="connsiteX8" fmla="*/ 23332 w 115801"/>
                <a:gd name="connsiteY8" fmla="*/ 52471 h 64333"/>
                <a:gd name="connsiteX9" fmla="*/ 110140 w 115801"/>
                <a:gd name="connsiteY9" fmla="*/ 56717 h 64333"/>
                <a:gd name="connsiteX10" fmla="*/ 111384 w 115801"/>
                <a:gd name="connsiteY10" fmla="*/ 31069 h 64333"/>
                <a:gd name="connsiteX11" fmla="*/ 92855 w 115801"/>
                <a:gd name="connsiteY11" fmla="*/ 18203 h 64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801" h="64333">
                  <a:moveTo>
                    <a:pt x="92855" y="18203"/>
                  </a:moveTo>
                  <a:cubicBezTo>
                    <a:pt x="88395" y="20776"/>
                    <a:pt x="76558" y="15629"/>
                    <a:pt x="72869" y="9625"/>
                  </a:cubicBezTo>
                  <a:cubicBezTo>
                    <a:pt x="69910" y="4821"/>
                    <a:pt x="60688" y="6623"/>
                    <a:pt x="52582" y="7523"/>
                  </a:cubicBezTo>
                  <a:cubicBezTo>
                    <a:pt x="54427" y="8810"/>
                    <a:pt x="56357" y="10483"/>
                    <a:pt x="57772" y="13356"/>
                  </a:cubicBezTo>
                  <a:cubicBezTo>
                    <a:pt x="62189" y="22492"/>
                    <a:pt x="39973" y="23650"/>
                    <a:pt x="46921" y="34501"/>
                  </a:cubicBezTo>
                  <a:cubicBezTo>
                    <a:pt x="53826" y="45352"/>
                    <a:pt x="31138" y="45909"/>
                    <a:pt x="31138" y="34501"/>
                  </a:cubicBezTo>
                  <a:cubicBezTo>
                    <a:pt x="31138" y="23092"/>
                    <a:pt x="7420" y="28796"/>
                    <a:pt x="8450" y="36216"/>
                  </a:cubicBezTo>
                  <a:cubicBezTo>
                    <a:pt x="8835" y="38918"/>
                    <a:pt x="8106" y="42178"/>
                    <a:pt x="6433" y="45352"/>
                  </a:cubicBezTo>
                  <a:cubicBezTo>
                    <a:pt x="12910" y="48011"/>
                    <a:pt x="20372" y="51142"/>
                    <a:pt x="23332" y="52471"/>
                  </a:cubicBezTo>
                  <a:cubicBezTo>
                    <a:pt x="27792" y="54530"/>
                    <a:pt x="87023" y="61649"/>
                    <a:pt x="110140" y="56717"/>
                  </a:cubicBezTo>
                  <a:cubicBezTo>
                    <a:pt x="108896" y="51699"/>
                    <a:pt x="111384" y="36774"/>
                    <a:pt x="111384" y="31069"/>
                  </a:cubicBezTo>
                  <a:cubicBezTo>
                    <a:pt x="111384" y="24207"/>
                    <a:pt x="97273" y="15629"/>
                    <a:pt x="92855" y="1820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32" name="Freeform: Shape 374">
              <a:extLst>
                <a:ext uri="{FF2B5EF4-FFF2-40B4-BE49-F238E27FC236}">
                  <a16:creationId xmlns:a16="http://schemas.microsoft.com/office/drawing/2014/main" id="{998DBC17-239C-E62F-2C5C-D8704B715A90}"/>
                </a:ext>
              </a:extLst>
            </p:cNvPr>
            <p:cNvSpPr/>
            <p:nvPr/>
          </p:nvSpPr>
          <p:spPr>
            <a:xfrm>
              <a:off x="7206413" y="3140443"/>
              <a:ext cx="52485" cy="85289"/>
            </a:xfrm>
            <a:custGeom>
              <a:avLst/>
              <a:gdLst>
                <a:gd name="connsiteX0" fmla="*/ 31489 w 68622"/>
                <a:gd name="connsiteY0" fmla="*/ 11375 h 111512"/>
                <a:gd name="connsiteX1" fmla="*/ 7299 w 68622"/>
                <a:gd name="connsiteY1" fmla="*/ 18237 h 111512"/>
                <a:gd name="connsiteX2" fmla="*/ 19651 w 68622"/>
                <a:gd name="connsiteY2" fmla="*/ 67903 h 111512"/>
                <a:gd name="connsiteX3" fmla="*/ 33461 w 68622"/>
                <a:gd name="connsiteY3" fmla="*/ 105045 h 111512"/>
                <a:gd name="connsiteX4" fmla="*/ 56708 w 68622"/>
                <a:gd name="connsiteY4" fmla="*/ 88490 h 111512"/>
                <a:gd name="connsiteX5" fmla="*/ 62154 w 68622"/>
                <a:gd name="connsiteY5" fmla="*/ 25700 h 111512"/>
                <a:gd name="connsiteX6" fmla="*/ 31489 w 68622"/>
                <a:gd name="connsiteY6" fmla="*/ 11375 h 111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22" h="111512">
                  <a:moveTo>
                    <a:pt x="31489" y="11375"/>
                  </a:moveTo>
                  <a:cubicBezTo>
                    <a:pt x="20638" y="22226"/>
                    <a:pt x="11674" y="9488"/>
                    <a:pt x="7299" y="18237"/>
                  </a:cubicBezTo>
                  <a:cubicBezTo>
                    <a:pt x="1852" y="29088"/>
                    <a:pt x="24068" y="45643"/>
                    <a:pt x="19651" y="67903"/>
                  </a:cubicBezTo>
                  <a:cubicBezTo>
                    <a:pt x="15190" y="90162"/>
                    <a:pt x="22139" y="118169"/>
                    <a:pt x="33461" y="105045"/>
                  </a:cubicBezTo>
                  <a:cubicBezTo>
                    <a:pt x="44827" y="91921"/>
                    <a:pt x="50274" y="98183"/>
                    <a:pt x="56708" y="88490"/>
                  </a:cubicBezTo>
                  <a:cubicBezTo>
                    <a:pt x="63141" y="78797"/>
                    <a:pt x="57694" y="42813"/>
                    <a:pt x="62154" y="25700"/>
                  </a:cubicBezTo>
                  <a:cubicBezTo>
                    <a:pt x="66529" y="8544"/>
                    <a:pt x="42339" y="524"/>
                    <a:pt x="31489" y="1137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33" name="Freeform: Shape 375">
              <a:extLst>
                <a:ext uri="{FF2B5EF4-FFF2-40B4-BE49-F238E27FC236}">
                  <a16:creationId xmlns:a16="http://schemas.microsoft.com/office/drawing/2014/main" id="{1DE6CCC9-935B-8528-ACBB-70F4DF1EF8F2}"/>
                </a:ext>
              </a:extLst>
            </p:cNvPr>
            <p:cNvSpPr/>
            <p:nvPr/>
          </p:nvSpPr>
          <p:spPr>
            <a:xfrm>
              <a:off x="7169864" y="2922143"/>
              <a:ext cx="298511" cy="334595"/>
            </a:xfrm>
            <a:custGeom>
              <a:avLst/>
              <a:gdLst>
                <a:gd name="connsiteX0" fmla="*/ 321219 w 390292"/>
                <a:gd name="connsiteY0" fmla="*/ 278523 h 437470"/>
                <a:gd name="connsiteX1" fmla="*/ 296514 w 390292"/>
                <a:gd name="connsiteY1" fmla="*/ 255663 h 437470"/>
                <a:gd name="connsiteX2" fmla="*/ 244661 w 390292"/>
                <a:gd name="connsiteY2" fmla="*/ 193989 h 437470"/>
                <a:gd name="connsiteX3" fmla="*/ 197741 w 390292"/>
                <a:gd name="connsiteY3" fmla="*/ 138618 h 437470"/>
                <a:gd name="connsiteX4" fmla="*/ 198255 w 390292"/>
                <a:gd name="connsiteY4" fmla="*/ 99804 h 437470"/>
                <a:gd name="connsiteX5" fmla="*/ 212966 w 390292"/>
                <a:gd name="connsiteY5" fmla="*/ 77844 h 437470"/>
                <a:gd name="connsiteX6" fmla="*/ 214725 w 390292"/>
                <a:gd name="connsiteY6" fmla="*/ 26634 h 437470"/>
                <a:gd name="connsiteX7" fmla="*/ 197741 w 390292"/>
                <a:gd name="connsiteY7" fmla="*/ 22731 h 437470"/>
                <a:gd name="connsiteX8" fmla="*/ 191093 w 390292"/>
                <a:gd name="connsiteY8" fmla="*/ 6433 h 437470"/>
                <a:gd name="connsiteX9" fmla="*/ 164416 w 390292"/>
                <a:gd name="connsiteY9" fmla="*/ 10722 h 437470"/>
                <a:gd name="connsiteX10" fmla="*/ 143700 w 390292"/>
                <a:gd name="connsiteY10" fmla="*/ 18442 h 437470"/>
                <a:gd name="connsiteX11" fmla="*/ 139540 w 390292"/>
                <a:gd name="connsiteY11" fmla="*/ 15783 h 437470"/>
                <a:gd name="connsiteX12" fmla="*/ 133063 w 390292"/>
                <a:gd name="connsiteY12" fmla="*/ 22731 h 437470"/>
                <a:gd name="connsiteX13" fmla="*/ 128131 w 390292"/>
                <a:gd name="connsiteY13" fmla="*/ 31867 h 437470"/>
                <a:gd name="connsiteX14" fmla="*/ 118267 w 390292"/>
                <a:gd name="connsiteY14" fmla="*/ 36413 h 437470"/>
                <a:gd name="connsiteX15" fmla="*/ 102440 w 390292"/>
                <a:gd name="connsiteY15" fmla="*/ 41002 h 437470"/>
                <a:gd name="connsiteX16" fmla="*/ 90603 w 390292"/>
                <a:gd name="connsiteY16" fmla="*/ 48980 h 437470"/>
                <a:gd name="connsiteX17" fmla="*/ 81725 w 390292"/>
                <a:gd name="connsiteY17" fmla="*/ 62704 h 437470"/>
                <a:gd name="connsiteX18" fmla="*/ 62982 w 390292"/>
                <a:gd name="connsiteY18" fmla="*/ 36413 h 437470"/>
                <a:gd name="connsiteX19" fmla="*/ 46212 w 390292"/>
                <a:gd name="connsiteY19" fmla="*/ 63819 h 437470"/>
                <a:gd name="connsiteX20" fmla="*/ 17734 w 390292"/>
                <a:gd name="connsiteY20" fmla="*/ 66178 h 437470"/>
                <a:gd name="connsiteX21" fmla="*/ 21508 w 390292"/>
                <a:gd name="connsiteY21" fmla="*/ 84406 h 437470"/>
                <a:gd name="connsiteX22" fmla="*/ 14861 w 390292"/>
                <a:gd name="connsiteY22" fmla="*/ 99804 h 437470"/>
                <a:gd name="connsiteX23" fmla="*/ 8213 w 390292"/>
                <a:gd name="connsiteY23" fmla="*/ 109239 h 437470"/>
                <a:gd name="connsiteX24" fmla="*/ 17820 w 390292"/>
                <a:gd name="connsiteY24" fmla="*/ 128925 h 437470"/>
                <a:gd name="connsiteX25" fmla="*/ 25240 w 390292"/>
                <a:gd name="connsiteY25" fmla="*/ 147797 h 437470"/>
                <a:gd name="connsiteX26" fmla="*/ 40808 w 390292"/>
                <a:gd name="connsiteY26" fmla="*/ 153801 h 437470"/>
                <a:gd name="connsiteX27" fmla="*/ 37034 w 390292"/>
                <a:gd name="connsiteY27" fmla="*/ 166882 h 437470"/>
                <a:gd name="connsiteX28" fmla="*/ 53160 w 390292"/>
                <a:gd name="connsiteY28" fmla="*/ 161478 h 437470"/>
                <a:gd name="connsiteX29" fmla="*/ 76364 w 390292"/>
                <a:gd name="connsiteY29" fmla="*/ 138661 h 437470"/>
                <a:gd name="connsiteX30" fmla="*/ 123285 w 390292"/>
                <a:gd name="connsiteY30" fmla="*/ 161478 h 437470"/>
                <a:gd name="connsiteX31" fmla="*/ 133664 w 390292"/>
                <a:gd name="connsiteY31" fmla="*/ 184338 h 437470"/>
                <a:gd name="connsiteX32" fmla="*/ 165273 w 390292"/>
                <a:gd name="connsiteY32" fmla="*/ 231173 h 437470"/>
                <a:gd name="connsiteX33" fmla="*/ 210693 w 390292"/>
                <a:gd name="connsiteY33" fmla="*/ 276250 h 437470"/>
                <a:gd name="connsiteX34" fmla="*/ 242774 w 390292"/>
                <a:gd name="connsiteY34" fmla="*/ 292248 h 437470"/>
                <a:gd name="connsiteX35" fmla="*/ 271896 w 390292"/>
                <a:gd name="connsiteY35" fmla="*/ 314507 h 437470"/>
                <a:gd name="connsiteX36" fmla="*/ 295571 w 390292"/>
                <a:gd name="connsiteY36" fmla="*/ 337367 h 437470"/>
                <a:gd name="connsiteX37" fmla="*/ 306422 w 390292"/>
                <a:gd name="connsiteY37" fmla="*/ 360185 h 437470"/>
                <a:gd name="connsiteX38" fmla="*/ 307923 w 390292"/>
                <a:gd name="connsiteY38" fmla="*/ 401873 h 437470"/>
                <a:gd name="connsiteX39" fmla="*/ 309381 w 390292"/>
                <a:gd name="connsiteY39" fmla="*/ 432710 h 437470"/>
                <a:gd name="connsiteX40" fmla="*/ 326194 w 390292"/>
                <a:gd name="connsiteY40" fmla="*/ 400715 h 437470"/>
                <a:gd name="connsiteX41" fmla="*/ 345408 w 390292"/>
                <a:gd name="connsiteY41" fmla="*/ 377898 h 437470"/>
                <a:gd name="connsiteX42" fmla="*/ 330140 w 390292"/>
                <a:gd name="connsiteY42" fmla="*/ 347618 h 437470"/>
                <a:gd name="connsiteX43" fmla="*/ 362221 w 390292"/>
                <a:gd name="connsiteY43" fmla="*/ 331063 h 437470"/>
                <a:gd name="connsiteX44" fmla="*/ 387397 w 390292"/>
                <a:gd name="connsiteY44" fmla="*/ 332778 h 437470"/>
                <a:gd name="connsiteX45" fmla="*/ 321219 w 390292"/>
                <a:gd name="connsiteY45" fmla="*/ 278523 h 437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90292" h="437470">
                  <a:moveTo>
                    <a:pt x="321219" y="278523"/>
                  </a:moveTo>
                  <a:cubicBezTo>
                    <a:pt x="308395" y="269388"/>
                    <a:pt x="316759" y="254505"/>
                    <a:pt x="296514" y="255663"/>
                  </a:cubicBezTo>
                  <a:cubicBezTo>
                    <a:pt x="276271" y="256821"/>
                    <a:pt x="252081" y="227699"/>
                    <a:pt x="244661" y="193989"/>
                  </a:cubicBezTo>
                  <a:cubicBezTo>
                    <a:pt x="237242" y="160320"/>
                    <a:pt x="205675" y="158605"/>
                    <a:pt x="197741" y="138618"/>
                  </a:cubicBezTo>
                  <a:cubicBezTo>
                    <a:pt x="189849" y="118632"/>
                    <a:pt x="205160" y="116359"/>
                    <a:pt x="198255" y="99804"/>
                  </a:cubicBezTo>
                  <a:cubicBezTo>
                    <a:pt x="194395" y="90582"/>
                    <a:pt x="202930" y="82433"/>
                    <a:pt x="212966" y="77844"/>
                  </a:cubicBezTo>
                  <a:cubicBezTo>
                    <a:pt x="212151" y="59530"/>
                    <a:pt x="213481" y="39544"/>
                    <a:pt x="214725" y="26634"/>
                  </a:cubicBezTo>
                  <a:cubicBezTo>
                    <a:pt x="206876" y="25691"/>
                    <a:pt x="200142" y="24404"/>
                    <a:pt x="197741" y="22731"/>
                  </a:cubicBezTo>
                  <a:cubicBezTo>
                    <a:pt x="194009" y="20158"/>
                    <a:pt x="193280" y="6433"/>
                    <a:pt x="191093" y="6433"/>
                  </a:cubicBezTo>
                  <a:cubicBezTo>
                    <a:pt x="188862" y="6433"/>
                    <a:pt x="168147" y="6433"/>
                    <a:pt x="164416" y="10722"/>
                  </a:cubicBezTo>
                  <a:cubicBezTo>
                    <a:pt x="160727" y="15011"/>
                    <a:pt x="149618" y="22731"/>
                    <a:pt x="143700" y="18442"/>
                  </a:cubicBezTo>
                  <a:cubicBezTo>
                    <a:pt x="142413" y="17542"/>
                    <a:pt x="140998" y="16598"/>
                    <a:pt x="139540" y="15783"/>
                  </a:cubicBezTo>
                  <a:lnTo>
                    <a:pt x="133063" y="22731"/>
                  </a:lnTo>
                  <a:cubicBezTo>
                    <a:pt x="133063" y="22731"/>
                    <a:pt x="132077" y="31867"/>
                    <a:pt x="128131" y="31867"/>
                  </a:cubicBezTo>
                  <a:cubicBezTo>
                    <a:pt x="124185" y="31867"/>
                    <a:pt x="118267" y="28436"/>
                    <a:pt x="118267" y="36413"/>
                  </a:cubicBezTo>
                  <a:cubicBezTo>
                    <a:pt x="118267" y="44433"/>
                    <a:pt x="107373" y="42117"/>
                    <a:pt x="102440" y="41002"/>
                  </a:cubicBezTo>
                  <a:cubicBezTo>
                    <a:pt x="97508" y="39844"/>
                    <a:pt x="90603" y="42117"/>
                    <a:pt x="90603" y="48980"/>
                  </a:cubicBezTo>
                  <a:cubicBezTo>
                    <a:pt x="90603" y="55842"/>
                    <a:pt x="89616" y="70682"/>
                    <a:pt x="81725" y="62704"/>
                  </a:cubicBezTo>
                  <a:cubicBezTo>
                    <a:pt x="73833" y="54684"/>
                    <a:pt x="65899" y="34140"/>
                    <a:pt x="62982" y="36413"/>
                  </a:cubicBezTo>
                  <a:cubicBezTo>
                    <a:pt x="60023" y="38729"/>
                    <a:pt x="53118" y="63819"/>
                    <a:pt x="46212" y="63819"/>
                  </a:cubicBezTo>
                  <a:cubicBezTo>
                    <a:pt x="41924" y="63819"/>
                    <a:pt x="27856" y="65149"/>
                    <a:pt x="17734" y="66178"/>
                  </a:cubicBezTo>
                  <a:cubicBezTo>
                    <a:pt x="15075" y="76000"/>
                    <a:pt x="17906" y="81876"/>
                    <a:pt x="21508" y="84406"/>
                  </a:cubicBezTo>
                  <a:cubicBezTo>
                    <a:pt x="25240" y="86937"/>
                    <a:pt x="19278" y="97230"/>
                    <a:pt x="14861" y="99804"/>
                  </a:cubicBezTo>
                  <a:cubicBezTo>
                    <a:pt x="10400" y="102377"/>
                    <a:pt x="3023" y="99804"/>
                    <a:pt x="8213" y="109239"/>
                  </a:cubicBezTo>
                  <a:cubicBezTo>
                    <a:pt x="13403" y="118675"/>
                    <a:pt x="23010" y="119490"/>
                    <a:pt x="17820" y="128925"/>
                  </a:cubicBezTo>
                  <a:cubicBezTo>
                    <a:pt x="12630" y="138361"/>
                    <a:pt x="17820" y="146939"/>
                    <a:pt x="25240" y="147797"/>
                  </a:cubicBezTo>
                  <a:cubicBezTo>
                    <a:pt x="32617" y="148654"/>
                    <a:pt x="42996" y="146939"/>
                    <a:pt x="40808" y="153801"/>
                  </a:cubicBezTo>
                  <a:cubicBezTo>
                    <a:pt x="39522" y="157833"/>
                    <a:pt x="37506" y="162379"/>
                    <a:pt x="37034" y="166882"/>
                  </a:cubicBezTo>
                  <a:cubicBezTo>
                    <a:pt x="42867" y="164952"/>
                    <a:pt x="48014" y="164609"/>
                    <a:pt x="53160" y="161478"/>
                  </a:cubicBezTo>
                  <a:cubicBezTo>
                    <a:pt x="63540" y="155216"/>
                    <a:pt x="59079" y="144366"/>
                    <a:pt x="76364" y="138661"/>
                  </a:cubicBezTo>
                  <a:cubicBezTo>
                    <a:pt x="93648" y="132957"/>
                    <a:pt x="116379" y="149512"/>
                    <a:pt x="123285" y="161478"/>
                  </a:cubicBezTo>
                  <a:cubicBezTo>
                    <a:pt x="130190" y="173487"/>
                    <a:pt x="132163" y="174645"/>
                    <a:pt x="133664" y="184338"/>
                  </a:cubicBezTo>
                  <a:cubicBezTo>
                    <a:pt x="135165" y="194031"/>
                    <a:pt x="141555" y="213460"/>
                    <a:pt x="165273" y="231173"/>
                  </a:cubicBezTo>
                  <a:cubicBezTo>
                    <a:pt x="188991" y="248887"/>
                    <a:pt x="198384" y="268873"/>
                    <a:pt x="210693" y="276250"/>
                  </a:cubicBezTo>
                  <a:cubicBezTo>
                    <a:pt x="223045" y="283713"/>
                    <a:pt x="235397" y="281997"/>
                    <a:pt x="242774" y="292248"/>
                  </a:cubicBezTo>
                  <a:cubicBezTo>
                    <a:pt x="250194" y="302541"/>
                    <a:pt x="260058" y="308245"/>
                    <a:pt x="271896" y="314507"/>
                  </a:cubicBezTo>
                  <a:cubicBezTo>
                    <a:pt x="283733" y="320812"/>
                    <a:pt x="284205" y="335652"/>
                    <a:pt x="295571" y="337367"/>
                  </a:cubicBezTo>
                  <a:cubicBezTo>
                    <a:pt x="306937" y="339083"/>
                    <a:pt x="299517" y="350492"/>
                    <a:pt x="306422" y="360185"/>
                  </a:cubicBezTo>
                  <a:cubicBezTo>
                    <a:pt x="313327" y="369877"/>
                    <a:pt x="315300" y="390464"/>
                    <a:pt x="307923" y="401873"/>
                  </a:cubicBezTo>
                  <a:cubicBezTo>
                    <a:pt x="300503" y="413281"/>
                    <a:pt x="304449" y="432710"/>
                    <a:pt x="309381" y="432710"/>
                  </a:cubicBezTo>
                  <a:cubicBezTo>
                    <a:pt x="314314" y="432710"/>
                    <a:pt x="324693" y="412166"/>
                    <a:pt x="326194" y="400715"/>
                  </a:cubicBezTo>
                  <a:cubicBezTo>
                    <a:pt x="327652" y="389263"/>
                    <a:pt x="337560" y="389907"/>
                    <a:pt x="345408" y="377898"/>
                  </a:cubicBezTo>
                  <a:cubicBezTo>
                    <a:pt x="353300" y="365932"/>
                    <a:pt x="333571" y="363058"/>
                    <a:pt x="330140" y="347618"/>
                  </a:cubicBezTo>
                  <a:cubicBezTo>
                    <a:pt x="326666" y="332178"/>
                    <a:pt x="344937" y="318496"/>
                    <a:pt x="362221" y="331063"/>
                  </a:cubicBezTo>
                  <a:cubicBezTo>
                    <a:pt x="379506" y="343629"/>
                    <a:pt x="386411" y="352207"/>
                    <a:pt x="387397" y="332778"/>
                  </a:cubicBezTo>
                  <a:cubicBezTo>
                    <a:pt x="388383" y="313392"/>
                    <a:pt x="334043" y="287659"/>
                    <a:pt x="321219" y="27852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34" name="Freeform: Shape 376">
              <a:extLst>
                <a:ext uri="{FF2B5EF4-FFF2-40B4-BE49-F238E27FC236}">
                  <a16:creationId xmlns:a16="http://schemas.microsoft.com/office/drawing/2014/main" id="{FBE8448F-ADAB-287E-4D34-426DAF38F66C}"/>
                </a:ext>
              </a:extLst>
            </p:cNvPr>
            <p:cNvSpPr/>
            <p:nvPr/>
          </p:nvSpPr>
          <p:spPr>
            <a:xfrm>
              <a:off x="7319172" y="3241606"/>
              <a:ext cx="82008" cy="59046"/>
            </a:xfrm>
            <a:custGeom>
              <a:avLst/>
              <a:gdLst>
                <a:gd name="connsiteX0" fmla="*/ 75142 w 107223"/>
                <a:gd name="connsiteY0" fmla="*/ 8761 h 77200"/>
                <a:gd name="connsiteX1" fmla="*/ 34655 w 107223"/>
                <a:gd name="connsiteY1" fmla="*/ 8761 h 77200"/>
                <a:gd name="connsiteX2" fmla="*/ 6433 w 107223"/>
                <a:gd name="connsiteY2" fmla="*/ 20470 h 77200"/>
                <a:gd name="connsiteX3" fmla="*/ 8149 w 107223"/>
                <a:gd name="connsiteY3" fmla="*/ 21456 h 77200"/>
                <a:gd name="connsiteX4" fmla="*/ 23203 w 107223"/>
                <a:gd name="connsiteY4" fmla="*/ 39084 h 77200"/>
                <a:gd name="connsiteX5" fmla="*/ 41045 w 107223"/>
                <a:gd name="connsiteY5" fmla="*/ 45903 h 77200"/>
                <a:gd name="connsiteX6" fmla="*/ 79045 w 107223"/>
                <a:gd name="connsiteY6" fmla="*/ 73310 h 77200"/>
                <a:gd name="connsiteX7" fmla="*/ 87923 w 107223"/>
                <a:gd name="connsiteY7" fmla="*/ 47018 h 77200"/>
                <a:gd name="connsiteX8" fmla="*/ 101734 w 107223"/>
                <a:gd name="connsiteY8" fmla="*/ 11034 h 77200"/>
                <a:gd name="connsiteX9" fmla="*/ 75142 w 107223"/>
                <a:gd name="connsiteY9" fmla="*/ 8761 h 7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23" h="77200">
                  <a:moveTo>
                    <a:pt x="75142" y="8761"/>
                  </a:moveTo>
                  <a:cubicBezTo>
                    <a:pt x="54899" y="13908"/>
                    <a:pt x="46492" y="15581"/>
                    <a:pt x="34655" y="8761"/>
                  </a:cubicBezTo>
                  <a:cubicBezTo>
                    <a:pt x="24318" y="2800"/>
                    <a:pt x="8450" y="11935"/>
                    <a:pt x="6433" y="20470"/>
                  </a:cubicBezTo>
                  <a:cubicBezTo>
                    <a:pt x="6991" y="20813"/>
                    <a:pt x="7591" y="21113"/>
                    <a:pt x="8149" y="21456"/>
                  </a:cubicBezTo>
                  <a:cubicBezTo>
                    <a:pt x="15783" y="26174"/>
                    <a:pt x="20587" y="32350"/>
                    <a:pt x="23203" y="39084"/>
                  </a:cubicBezTo>
                  <a:cubicBezTo>
                    <a:pt x="27878" y="41357"/>
                    <a:pt x="33626" y="43630"/>
                    <a:pt x="41045" y="45903"/>
                  </a:cubicBezTo>
                  <a:cubicBezTo>
                    <a:pt x="65750" y="53323"/>
                    <a:pt x="68709" y="72709"/>
                    <a:pt x="79045" y="73310"/>
                  </a:cubicBezTo>
                  <a:cubicBezTo>
                    <a:pt x="89425" y="73867"/>
                    <a:pt x="90411" y="62416"/>
                    <a:pt x="87923" y="47018"/>
                  </a:cubicBezTo>
                  <a:cubicBezTo>
                    <a:pt x="85436" y="31578"/>
                    <a:pt x="100232" y="13908"/>
                    <a:pt x="101734" y="11034"/>
                  </a:cubicBezTo>
                  <a:cubicBezTo>
                    <a:pt x="103278" y="8203"/>
                    <a:pt x="95386" y="3615"/>
                    <a:pt x="75142" y="876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35" name="Freeform: Shape 377">
              <a:extLst>
                <a:ext uri="{FF2B5EF4-FFF2-40B4-BE49-F238E27FC236}">
                  <a16:creationId xmlns:a16="http://schemas.microsoft.com/office/drawing/2014/main" id="{C368E91B-46DC-838B-4817-F37598B76D9B}"/>
                </a:ext>
              </a:extLst>
            </p:cNvPr>
            <p:cNvSpPr/>
            <p:nvPr/>
          </p:nvSpPr>
          <p:spPr>
            <a:xfrm>
              <a:off x="7461675" y="3058347"/>
              <a:ext cx="39364" cy="55766"/>
            </a:xfrm>
            <a:custGeom>
              <a:avLst/>
              <a:gdLst>
                <a:gd name="connsiteX0" fmla="*/ 20587 w 51467"/>
                <a:gd name="connsiteY0" fmla="*/ 6433 h 72911"/>
                <a:gd name="connsiteX1" fmla="*/ 7806 w 51467"/>
                <a:gd name="connsiteY1" fmla="*/ 35083 h 72911"/>
                <a:gd name="connsiteX2" fmla="*/ 6433 w 51467"/>
                <a:gd name="connsiteY2" fmla="*/ 47049 h 72911"/>
                <a:gd name="connsiteX3" fmla="*/ 30023 w 51467"/>
                <a:gd name="connsiteY3" fmla="*/ 67293 h 72911"/>
                <a:gd name="connsiteX4" fmla="*/ 31781 w 51467"/>
                <a:gd name="connsiteY4" fmla="*/ 68366 h 72911"/>
                <a:gd name="connsiteX5" fmla="*/ 46792 w 51467"/>
                <a:gd name="connsiteY5" fmla="*/ 41045 h 72911"/>
                <a:gd name="connsiteX6" fmla="*/ 20587 w 51467"/>
                <a:gd name="connsiteY6" fmla="*/ 6433 h 7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67" h="72911">
                  <a:moveTo>
                    <a:pt x="20587" y="6433"/>
                  </a:moveTo>
                  <a:cubicBezTo>
                    <a:pt x="13724" y="17113"/>
                    <a:pt x="7034" y="30666"/>
                    <a:pt x="7806" y="35083"/>
                  </a:cubicBezTo>
                  <a:cubicBezTo>
                    <a:pt x="8149" y="37056"/>
                    <a:pt x="7591" y="41431"/>
                    <a:pt x="6433" y="47049"/>
                  </a:cubicBezTo>
                  <a:cubicBezTo>
                    <a:pt x="15225" y="55284"/>
                    <a:pt x="23761" y="63562"/>
                    <a:pt x="30023" y="67293"/>
                  </a:cubicBezTo>
                  <a:cubicBezTo>
                    <a:pt x="30666" y="67679"/>
                    <a:pt x="31181" y="68022"/>
                    <a:pt x="31781" y="68366"/>
                  </a:cubicBezTo>
                  <a:cubicBezTo>
                    <a:pt x="33754" y="55670"/>
                    <a:pt x="41302" y="42546"/>
                    <a:pt x="46792" y="41045"/>
                  </a:cubicBezTo>
                  <a:cubicBezTo>
                    <a:pt x="39158" y="30237"/>
                    <a:pt x="27878" y="14840"/>
                    <a:pt x="20587" y="643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36" name="Freeform: Shape 378">
              <a:extLst>
                <a:ext uri="{FF2B5EF4-FFF2-40B4-BE49-F238E27FC236}">
                  <a16:creationId xmlns:a16="http://schemas.microsoft.com/office/drawing/2014/main" id="{5A8E0086-DD7E-7212-5D9A-09DA995F187C}"/>
                </a:ext>
              </a:extLst>
            </p:cNvPr>
            <p:cNvSpPr/>
            <p:nvPr/>
          </p:nvSpPr>
          <p:spPr>
            <a:xfrm>
              <a:off x="7469360" y="2952816"/>
              <a:ext cx="111532" cy="154176"/>
            </a:xfrm>
            <a:custGeom>
              <a:avLst/>
              <a:gdLst>
                <a:gd name="connsiteX0" fmla="*/ 127639 w 145823"/>
                <a:gd name="connsiteY0" fmla="*/ 135058 h 201579"/>
                <a:gd name="connsiteX1" fmla="*/ 127639 w 145823"/>
                <a:gd name="connsiteY1" fmla="*/ 108467 h 201579"/>
                <a:gd name="connsiteX2" fmla="*/ 128368 w 145823"/>
                <a:gd name="connsiteY2" fmla="*/ 87923 h 201579"/>
                <a:gd name="connsiteX3" fmla="*/ 91354 w 145823"/>
                <a:gd name="connsiteY3" fmla="*/ 75056 h 201579"/>
                <a:gd name="connsiteX4" fmla="*/ 86937 w 145823"/>
                <a:gd name="connsiteY4" fmla="*/ 51038 h 201579"/>
                <a:gd name="connsiteX5" fmla="*/ 75829 w 145823"/>
                <a:gd name="connsiteY5" fmla="*/ 37356 h 201579"/>
                <a:gd name="connsiteX6" fmla="*/ 63991 w 145823"/>
                <a:gd name="connsiteY6" fmla="*/ 15054 h 201579"/>
                <a:gd name="connsiteX7" fmla="*/ 64934 w 145823"/>
                <a:gd name="connsiteY7" fmla="*/ 13339 h 201579"/>
                <a:gd name="connsiteX8" fmla="*/ 55542 w 145823"/>
                <a:gd name="connsiteY8" fmla="*/ 11537 h 201579"/>
                <a:gd name="connsiteX9" fmla="*/ 41217 w 145823"/>
                <a:gd name="connsiteY9" fmla="*/ 6433 h 201579"/>
                <a:gd name="connsiteX10" fmla="*/ 6433 w 145823"/>
                <a:gd name="connsiteY10" fmla="*/ 19128 h 201579"/>
                <a:gd name="connsiteX11" fmla="*/ 15140 w 145823"/>
                <a:gd name="connsiteY11" fmla="*/ 42503 h 201579"/>
                <a:gd name="connsiteX12" fmla="*/ 25734 w 145823"/>
                <a:gd name="connsiteY12" fmla="*/ 70124 h 201579"/>
                <a:gd name="connsiteX13" fmla="*/ 23074 w 145823"/>
                <a:gd name="connsiteY13" fmla="*/ 129997 h 201579"/>
                <a:gd name="connsiteX14" fmla="*/ 10636 w 145823"/>
                <a:gd name="connsiteY14" fmla="*/ 144322 h 201579"/>
                <a:gd name="connsiteX15" fmla="*/ 36842 w 145823"/>
                <a:gd name="connsiteY15" fmla="*/ 178977 h 201579"/>
                <a:gd name="connsiteX16" fmla="*/ 37872 w 145823"/>
                <a:gd name="connsiteY16" fmla="*/ 178634 h 201579"/>
                <a:gd name="connsiteX17" fmla="*/ 68795 w 145823"/>
                <a:gd name="connsiteY17" fmla="*/ 199049 h 201579"/>
                <a:gd name="connsiteX18" fmla="*/ 126309 w 145823"/>
                <a:gd name="connsiteY18" fmla="*/ 186868 h 201579"/>
                <a:gd name="connsiteX19" fmla="*/ 126952 w 145823"/>
                <a:gd name="connsiteY19" fmla="*/ 175160 h 201579"/>
                <a:gd name="connsiteX20" fmla="*/ 138061 w 145823"/>
                <a:gd name="connsiteY20" fmla="*/ 159763 h 201579"/>
                <a:gd name="connsiteX21" fmla="*/ 127639 w 145823"/>
                <a:gd name="connsiteY21" fmla="*/ 135058 h 201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5823" h="201579">
                  <a:moveTo>
                    <a:pt x="127639" y="135058"/>
                  </a:moveTo>
                  <a:cubicBezTo>
                    <a:pt x="120219" y="127338"/>
                    <a:pt x="120948" y="113657"/>
                    <a:pt x="127639" y="108467"/>
                  </a:cubicBezTo>
                  <a:cubicBezTo>
                    <a:pt x="134287" y="103320"/>
                    <a:pt x="128368" y="96501"/>
                    <a:pt x="128368" y="87923"/>
                  </a:cubicBezTo>
                  <a:cubicBezTo>
                    <a:pt x="128368" y="79345"/>
                    <a:pt x="96544" y="76772"/>
                    <a:pt x="91354" y="75056"/>
                  </a:cubicBezTo>
                  <a:cubicBezTo>
                    <a:pt x="86164" y="73341"/>
                    <a:pt x="95086" y="51038"/>
                    <a:pt x="86937" y="51038"/>
                  </a:cubicBezTo>
                  <a:cubicBezTo>
                    <a:pt x="78788" y="51038"/>
                    <a:pt x="75829" y="44219"/>
                    <a:pt x="75829" y="37356"/>
                  </a:cubicBezTo>
                  <a:cubicBezTo>
                    <a:pt x="75829" y="30494"/>
                    <a:pt x="63262" y="19386"/>
                    <a:pt x="63991" y="15054"/>
                  </a:cubicBezTo>
                  <a:cubicBezTo>
                    <a:pt x="64120" y="14454"/>
                    <a:pt x="64463" y="13896"/>
                    <a:pt x="64934" y="13339"/>
                  </a:cubicBezTo>
                  <a:cubicBezTo>
                    <a:pt x="60346" y="12524"/>
                    <a:pt x="56828" y="11880"/>
                    <a:pt x="55542" y="11537"/>
                  </a:cubicBezTo>
                  <a:cubicBezTo>
                    <a:pt x="50052" y="10293"/>
                    <a:pt x="41217" y="6433"/>
                    <a:pt x="41217" y="6433"/>
                  </a:cubicBezTo>
                  <a:cubicBezTo>
                    <a:pt x="41217" y="6433"/>
                    <a:pt x="20673" y="14110"/>
                    <a:pt x="6433" y="19128"/>
                  </a:cubicBezTo>
                  <a:cubicBezTo>
                    <a:pt x="7377" y="29165"/>
                    <a:pt x="9693" y="40101"/>
                    <a:pt x="15140" y="42503"/>
                  </a:cubicBezTo>
                  <a:cubicBezTo>
                    <a:pt x="25734" y="47092"/>
                    <a:pt x="21788" y="59359"/>
                    <a:pt x="25734" y="70124"/>
                  </a:cubicBezTo>
                  <a:cubicBezTo>
                    <a:pt x="29723" y="80889"/>
                    <a:pt x="28393" y="129997"/>
                    <a:pt x="23074" y="129997"/>
                  </a:cubicBezTo>
                  <a:cubicBezTo>
                    <a:pt x="20801" y="129997"/>
                    <a:pt x="15698" y="136388"/>
                    <a:pt x="10636" y="144322"/>
                  </a:cubicBezTo>
                  <a:cubicBezTo>
                    <a:pt x="17928" y="152729"/>
                    <a:pt x="29165" y="168126"/>
                    <a:pt x="36842" y="178977"/>
                  </a:cubicBezTo>
                  <a:cubicBezTo>
                    <a:pt x="37185" y="178891"/>
                    <a:pt x="37528" y="178634"/>
                    <a:pt x="37872" y="178634"/>
                  </a:cubicBezTo>
                  <a:cubicBezTo>
                    <a:pt x="44476" y="178634"/>
                    <a:pt x="68795" y="199049"/>
                    <a:pt x="68795" y="199049"/>
                  </a:cubicBezTo>
                  <a:cubicBezTo>
                    <a:pt x="68795" y="199049"/>
                    <a:pt x="103149" y="190772"/>
                    <a:pt x="126309" y="186868"/>
                  </a:cubicBezTo>
                  <a:cubicBezTo>
                    <a:pt x="126652" y="182794"/>
                    <a:pt x="127382" y="178076"/>
                    <a:pt x="126952" y="175160"/>
                  </a:cubicBezTo>
                  <a:cubicBezTo>
                    <a:pt x="126223" y="170013"/>
                    <a:pt x="131413" y="159763"/>
                    <a:pt x="138061" y="159763"/>
                  </a:cubicBezTo>
                  <a:cubicBezTo>
                    <a:pt x="144666" y="159891"/>
                    <a:pt x="135058" y="142778"/>
                    <a:pt x="127639" y="13505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37" name="Freeform: Shape 380">
              <a:extLst>
                <a:ext uri="{FF2B5EF4-FFF2-40B4-BE49-F238E27FC236}">
                  <a16:creationId xmlns:a16="http://schemas.microsoft.com/office/drawing/2014/main" id="{6E897813-7532-4187-1EC8-E51889C85F27}"/>
                </a:ext>
              </a:extLst>
            </p:cNvPr>
            <p:cNvSpPr/>
            <p:nvPr/>
          </p:nvSpPr>
          <p:spPr>
            <a:xfrm>
              <a:off x="7810020" y="3321692"/>
              <a:ext cx="68887" cy="45925"/>
            </a:xfrm>
            <a:custGeom>
              <a:avLst/>
              <a:gdLst>
                <a:gd name="connsiteX0" fmla="*/ 58949 w 90067"/>
                <a:gd name="connsiteY0" fmla="*/ 41084 h 60045"/>
                <a:gd name="connsiteX1" fmla="*/ 76748 w 90067"/>
                <a:gd name="connsiteY1" fmla="*/ 16551 h 60045"/>
                <a:gd name="connsiteX2" fmla="*/ 76276 w 90067"/>
                <a:gd name="connsiteY2" fmla="*/ 9131 h 60045"/>
                <a:gd name="connsiteX3" fmla="*/ 28883 w 90067"/>
                <a:gd name="connsiteY3" fmla="*/ 25687 h 60045"/>
                <a:gd name="connsiteX4" fmla="*/ 13572 w 90067"/>
                <a:gd name="connsiteY4" fmla="*/ 53093 h 60045"/>
                <a:gd name="connsiteX5" fmla="*/ 58949 w 90067"/>
                <a:gd name="connsiteY5" fmla="*/ 41084 h 6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067" h="60045">
                  <a:moveTo>
                    <a:pt x="58949" y="41084"/>
                  </a:moveTo>
                  <a:cubicBezTo>
                    <a:pt x="57962" y="34779"/>
                    <a:pt x="65382" y="21698"/>
                    <a:pt x="76748" y="16551"/>
                  </a:cubicBezTo>
                  <a:cubicBezTo>
                    <a:pt x="88071" y="11404"/>
                    <a:pt x="83653" y="1711"/>
                    <a:pt x="76276" y="9131"/>
                  </a:cubicBezTo>
                  <a:cubicBezTo>
                    <a:pt x="68856" y="16551"/>
                    <a:pt x="51057" y="24528"/>
                    <a:pt x="28883" y="25687"/>
                  </a:cubicBezTo>
                  <a:cubicBezTo>
                    <a:pt x="6667" y="26844"/>
                    <a:pt x="-281" y="43743"/>
                    <a:pt x="13572" y="53093"/>
                  </a:cubicBezTo>
                  <a:cubicBezTo>
                    <a:pt x="31328" y="65059"/>
                    <a:pt x="59936" y="47346"/>
                    <a:pt x="58949" y="41084"/>
                  </a:cubicBezTo>
                  <a:close/>
                </a:path>
              </a:pathLst>
            </a:custGeom>
            <a:grpFill/>
            <a:ln w="1905" cap="flat">
              <a:solidFill>
                <a:schemeClr val="bg1"/>
              </a:solidFill>
              <a:prstDash val="solid"/>
              <a:miter/>
            </a:ln>
          </p:spPr>
          <p:txBody>
            <a:bodyPr rtlCol="0" anchor="ctr"/>
            <a:lstStyle/>
            <a:p>
              <a:endParaRPr lang="en-US" dirty="0">
                <a:sym typeface="+mn-lt"/>
              </a:endParaRPr>
            </a:p>
          </p:txBody>
        </p:sp>
      </p:grpSp>
      <p:grpSp>
        <p:nvGrpSpPr>
          <p:cNvPr id="138" name="Group 16">
            <a:extLst>
              <a:ext uri="{FF2B5EF4-FFF2-40B4-BE49-F238E27FC236}">
                <a16:creationId xmlns:a16="http://schemas.microsoft.com/office/drawing/2014/main" id="{1AE123E0-A322-BDAE-D2A3-52C552E2723E}"/>
              </a:ext>
            </a:extLst>
          </p:cNvPr>
          <p:cNvGrpSpPr/>
          <p:nvPr/>
        </p:nvGrpSpPr>
        <p:grpSpPr>
          <a:xfrm>
            <a:off x="6559583" y="3279228"/>
            <a:ext cx="1735482" cy="2247112"/>
            <a:chOff x="6559583" y="3279228"/>
            <a:chExt cx="1735482" cy="2247112"/>
          </a:xfrm>
          <a:solidFill>
            <a:schemeClr val="tx2">
              <a:lumMod val="50000"/>
              <a:alpha val="50000"/>
            </a:schemeClr>
          </a:solidFill>
        </p:grpSpPr>
        <p:sp>
          <p:nvSpPr>
            <p:cNvPr id="139" name="Freeform: Shape 89">
              <a:extLst>
                <a:ext uri="{FF2B5EF4-FFF2-40B4-BE49-F238E27FC236}">
                  <a16:creationId xmlns:a16="http://schemas.microsoft.com/office/drawing/2014/main" id="{177F045D-B383-E7E2-E15A-2077989C92E5}"/>
                </a:ext>
              </a:extLst>
            </p:cNvPr>
            <p:cNvSpPr/>
            <p:nvPr/>
          </p:nvSpPr>
          <p:spPr>
            <a:xfrm>
              <a:off x="6661359" y="3323718"/>
              <a:ext cx="314912" cy="288670"/>
            </a:xfrm>
            <a:custGeom>
              <a:avLst/>
              <a:gdLst>
                <a:gd name="connsiteX0" fmla="*/ 407534 w 411737"/>
                <a:gd name="connsiteY0" fmla="*/ 155951 h 377425"/>
                <a:gd name="connsiteX1" fmla="*/ 394453 w 411737"/>
                <a:gd name="connsiteY1" fmla="*/ 129531 h 377425"/>
                <a:gd name="connsiteX2" fmla="*/ 392265 w 411737"/>
                <a:gd name="connsiteY2" fmla="*/ 94276 h 377425"/>
                <a:gd name="connsiteX3" fmla="*/ 382487 w 411737"/>
                <a:gd name="connsiteY3" fmla="*/ 54003 h 377425"/>
                <a:gd name="connsiteX4" fmla="*/ 376997 w 411737"/>
                <a:gd name="connsiteY4" fmla="*/ 42123 h 377425"/>
                <a:gd name="connsiteX5" fmla="*/ 338268 w 411737"/>
                <a:gd name="connsiteY5" fmla="*/ 31615 h 377425"/>
                <a:gd name="connsiteX6" fmla="*/ 281483 w 411737"/>
                <a:gd name="connsiteY6" fmla="*/ 24796 h 377425"/>
                <a:gd name="connsiteX7" fmla="*/ 251717 w 411737"/>
                <a:gd name="connsiteY7" fmla="*/ 7683 h 377425"/>
                <a:gd name="connsiteX8" fmla="*/ 261668 w 411737"/>
                <a:gd name="connsiteY8" fmla="*/ 32859 h 377425"/>
                <a:gd name="connsiteX9" fmla="*/ 225254 w 411737"/>
                <a:gd name="connsiteY9" fmla="*/ 70387 h 377425"/>
                <a:gd name="connsiteX10" fmla="*/ 223024 w 411737"/>
                <a:gd name="connsiteY10" fmla="*/ 70087 h 377425"/>
                <a:gd name="connsiteX11" fmla="*/ 221652 w 411737"/>
                <a:gd name="connsiteY11" fmla="*/ 73132 h 377425"/>
                <a:gd name="connsiteX12" fmla="*/ 216634 w 411737"/>
                <a:gd name="connsiteY12" fmla="*/ 82525 h 377425"/>
                <a:gd name="connsiteX13" fmla="*/ 199521 w 411737"/>
                <a:gd name="connsiteY13" fmla="*/ 126701 h 377425"/>
                <a:gd name="connsiteX14" fmla="*/ 161264 w 411737"/>
                <a:gd name="connsiteY14" fmla="*/ 185759 h 377425"/>
                <a:gd name="connsiteX15" fmla="*/ 156160 w 411737"/>
                <a:gd name="connsiteY15" fmla="*/ 200342 h 377425"/>
                <a:gd name="connsiteX16" fmla="*/ 134587 w 411737"/>
                <a:gd name="connsiteY16" fmla="*/ 225346 h 377425"/>
                <a:gd name="connsiteX17" fmla="*/ 119832 w 411737"/>
                <a:gd name="connsiteY17" fmla="*/ 249364 h 377425"/>
                <a:gd name="connsiteX18" fmla="*/ 79516 w 411737"/>
                <a:gd name="connsiteY18" fmla="*/ 306964 h 377425"/>
                <a:gd name="connsiteX19" fmla="*/ 30623 w 411737"/>
                <a:gd name="connsiteY19" fmla="*/ 345222 h 377425"/>
                <a:gd name="connsiteX20" fmla="*/ 6433 w 411737"/>
                <a:gd name="connsiteY20" fmla="*/ 358903 h 377425"/>
                <a:gd name="connsiteX21" fmla="*/ 130598 w 411737"/>
                <a:gd name="connsiteY21" fmla="*/ 358903 h 377425"/>
                <a:gd name="connsiteX22" fmla="*/ 154573 w 411737"/>
                <a:gd name="connsiteY22" fmla="*/ 373700 h 377425"/>
                <a:gd name="connsiteX23" fmla="*/ 153844 w 411737"/>
                <a:gd name="connsiteY23" fmla="*/ 321032 h 377425"/>
                <a:gd name="connsiteX24" fmla="*/ 207198 w 411737"/>
                <a:gd name="connsiteY24" fmla="*/ 280716 h 377425"/>
                <a:gd name="connsiteX25" fmla="*/ 228943 w 411737"/>
                <a:gd name="connsiteY25" fmla="*/ 273168 h 377425"/>
                <a:gd name="connsiteX26" fmla="*/ 258365 w 411737"/>
                <a:gd name="connsiteY26" fmla="*/ 265619 h 377425"/>
                <a:gd name="connsiteX27" fmla="*/ 275778 w 411737"/>
                <a:gd name="connsiteY27" fmla="*/ 242931 h 377425"/>
                <a:gd name="connsiteX28" fmla="*/ 300826 w 411737"/>
                <a:gd name="connsiteY28" fmla="*/ 232852 h 377425"/>
                <a:gd name="connsiteX29" fmla="*/ 316094 w 411737"/>
                <a:gd name="connsiteY29" fmla="*/ 221529 h 377425"/>
                <a:gd name="connsiteX30" fmla="*/ 320426 w 411737"/>
                <a:gd name="connsiteY30" fmla="*/ 197597 h 377425"/>
                <a:gd name="connsiteX31" fmla="*/ 331320 w 411737"/>
                <a:gd name="connsiteY31" fmla="*/ 187561 h 377425"/>
                <a:gd name="connsiteX32" fmla="*/ 350920 w 411737"/>
                <a:gd name="connsiteY32" fmla="*/ 173707 h 377425"/>
                <a:gd name="connsiteX33" fmla="*/ 399900 w 411737"/>
                <a:gd name="connsiteY33" fmla="*/ 171177 h 377425"/>
                <a:gd name="connsiteX34" fmla="*/ 407534 w 411737"/>
                <a:gd name="connsiteY34" fmla="*/ 155951 h 37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11737" h="377425">
                  <a:moveTo>
                    <a:pt x="407534" y="155951"/>
                  </a:moveTo>
                  <a:cubicBezTo>
                    <a:pt x="406462" y="149646"/>
                    <a:pt x="401015" y="130775"/>
                    <a:pt x="394453" y="129531"/>
                  </a:cubicBezTo>
                  <a:cubicBezTo>
                    <a:pt x="387934" y="128288"/>
                    <a:pt x="392265" y="109416"/>
                    <a:pt x="392265" y="94276"/>
                  </a:cubicBezTo>
                  <a:cubicBezTo>
                    <a:pt x="392265" y="79179"/>
                    <a:pt x="390078" y="65326"/>
                    <a:pt x="382487" y="54003"/>
                  </a:cubicBezTo>
                  <a:cubicBezTo>
                    <a:pt x="380900" y="51601"/>
                    <a:pt x="378970" y="47270"/>
                    <a:pt x="376997" y="42123"/>
                  </a:cubicBezTo>
                  <a:cubicBezTo>
                    <a:pt x="365074" y="42380"/>
                    <a:pt x="350663" y="32044"/>
                    <a:pt x="338268" y="31615"/>
                  </a:cubicBezTo>
                  <a:cubicBezTo>
                    <a:pt x="320983" y="31058"/>
                    <a:pt x="294306" y="41351"/>
                    <a:pt x="281483" y="24796"/>
                  </a:cubicBezTo>
                  <a:cubicBezTo>
                    <a:pt x="269259" y="9055"/>
                    <a:pt x="260595" y="3737"/>
                    <a:pt x="251717" y="7683"/>
                  </a:cubicBezTo>
                  <a:cubicBezTo>
                    <a:pt x="257850" y="13945"/>
                    <a:pt x="261753" y="22351"/>
                    <a:pt x="261668" y="32859"/>
                  </a:cubicBezTo>
                  <a:cubicBezTo>
                    <a:pt x="261496" y="51516"/>
                    <a:pt x="244984" y="72617"/>
                    <a:pt x="225254" y="70387"/>
                  </a:cubicBezTo>
                  <a:cubicBezTo>
                    <a:pt x="224354" y="70301"/>
                    <a:pt x="223667" y="70173"/>
                    <a:pt x="223024" y="70087"/>
                  </a:cubicBezTo>
                  <a:cubicBezTo>
                    <a:pt x="222810" y="70902"/>
                    <a:pt x="222424" y="71974"/>
                    <a:pt x="221652" y="73132"/>
                  </a:cubicBezTo>
                  <a:cubicBezTo>
                    <a:pt x="219808" y="76134"/>
                    <a:pt x="218221" y="79308"/>
                    <a:pt x="216634" y="82525"/>
                  </a:cubicBezTo>
                  <a:cubicBezTo>
                    <a:pt x="209986" y="96164"/>
                    <a:pt x="205354" y="111818"/>
                    <a:pt x="199521" y="126701"/>
                  </a:cubicBezTo>
                  <a:cubicBezTo>
                    <a:pt x="190386" y="149818"/>
                    <a:pt x="179020" y="171949"/>
                    <a:pt x="161264" y="185759"/>
                  </a:cubicBezTo>
                  <a:cubicBezTo>
                    <a:pt x="160406" y="190477"/>
                    <a:pt x="158776" y="195324"/>
                    <a:pt x="156160" y="200342"/>
                  </a:cubicBezTo>
                  <a:cubicBezTo>
                    <a:pt x="150627" y="211021"/>
                    <a:pt x="141835" y="216468"/>
                    <a:pt x="134587" y="225346"/>
                  </a:cubicBezTo>
                  <a:cubicBezTo>
                    <a:pt x="128668" y="232637"/>
                    <a:pt x="124293" y="241001"/>
                    <a:pt x="119832" y="249364"/>
                  </a:cubicBezTo>
                  <a:cubicBezTo>
                    <a:pt x="118374" y="265448"/>
                    <a:pt x="94228" y="296928"/>
                    <a:pt x="79516" y="306964"/>
                  </a:cubicBezTo>
                  <a:cubicBezTo>
                    <a:pt x="62704" y="318373"/>
                    <a:pt x="57300" y="340032"/>
                    <a:pt x="30623" y="345222"/>
                  </a:cubicBezTo>
                  <a:cubicBezTo>
                    <a:pt x="20244" y="347237"/>
                    <a:pt x="12480" y="352384"/>
                    <a:pt x="6433" y="358903"/>
                  </a:cubicBezTo>
                  <a:lnTo>
                    <a:pt x="130598" y="358903"/>
                  </a:lnTo>
                  <a:cubicBezTo>
                    <a:pt x="156331" y="358903"/>
                    <a:pt x="150413" y="365594"/>
                    <a:pt x="154573" y="373700"/>
                  </a:cubicBezTo>
                  <a:cubicBezTo>
                    <a:pt x="154015" y="348438"/>
                    <a:pt x="153286" y="323477"/>
                    <a:pt x="153844" y="321032"/>
                  </a:cubicBezTo>
                  <a:cubicBezTo>
                    <a:pt x="154916" y="315971"/>
                    <a:pt x="199564" y="285777"/>
                    <a:pt x="207198" y="280716"/>
                  </a:cubicBezTo>
                  <a:cubicBezTo>
                    <a:pt x="214832" y="275698"/>
                    <a:pt x="228943" y="283247"/>
                    <a:pt x="228943" y="273168"/>
                  </a:cubicBezTo>
                  <a:cubicBezTo>
                    <a:pt x="228943" y="263089"/>
                    <a:pt x="247471" y="268150"/>
                    <a:pt x="258365" y="265619"/>
                  </a:cubicBezTo>
                  <a:cubicBezTo>
                    <a:pt x="269259" y="263089"/>
                    <a:pt x="275778" y="254296"/>
                    <a:pt x="275778" y="242931"/>
                  </a:cubicBezTo>
                  <a:cubicBezTo>
                    <a:pt x="275778" y="231608"/>
                    <a:pt x="291047" y="234095"/>
                    <a:pt x="300826" y="232852"/>
                  </a:cubicBezTo>
                  <a:cubicBezTo>
                    <a:pt x="310647" y="231608"/>
                    <a:pt x="309532" y="221529"/>
                    <a:pt x="316094" y="221529"/>
                  </a:cubicBezTo>
                  <a:cubicBezTo>
                    <a:pt x="322613" y="221529"/>
                    <a:pt x="319354" y="210206"/>
                    <a:pt x="320426" y="197597"/>
                  </a:cubicBezTo>
                  <a:cubicBezTo>
                    <a:pt x="321498" y="185030"/>
                    <a:pt x="321498" y="187561"/>
                    <a:pt x="331320" y="187561"/>
                  </a:cubicBezTo>
                  <a:cubicBezTo>
                    <a:pt x="341098" y="187561"/>
                    <a:pt x="350920" y="181256"/>
                    <a:pt x="350920" y="173707"/>
                  </a:cubicBezTo>
                  <a:cubicBezTo>
                    <a:pt x="350920" y="166159"/>
                    <a:pt x="393338" y="171177"/>
                    <a:pt x="399900" y="171177"/>
                  </a:cubicBezTo>
                  <a:cubicBezTo>
                    <a:pt x="406419" y="171005"/>
                    <a:pt x="408606" y="162213"/>
                    <a:pt x="407534" y="155951"/>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40" name="Freeform: Shape 90">
              <a:extLst>
                <a:ext uri="{FF2B5EF4-FFF2-40B4-BE49-F238E27FC236}">
                  <a16:creationId xmlns:a16="http://schemas.microsoft.com/office/drawing/2014/main" id="{E4174684-BCE1-BD7F-42E3-8B129C215233}"/>
                </a:ext>
              </a:extLst>
            </p:cNvPr>
            <p:cNvSpPr/>
            <p:nvPr/>
          </p:nvSpPr>
          <p:spPr>
            <a:xfrm>
              <a:off x="7188801" y="3284195"/>
              <a:ext cx="114812" cy="232904"/>
            </a:xfrm>
            <a:custGeom>
              <a:avLst/>
              <a:gdLst>
                <a:gd name="connsiteX0" fmla="*/ 132532 w 150112"/>
                <a:gd name="connsiteY0" fmla="*/ 163194 h 304514"/>
                <a:gd name="connsiteX1" fmla="*/ 118722 w 150112"/>
                <a:gd name="connsiteY1" fmla="*/ 150070 h 304514"/>
                <a:gd name="connsiteX2" fmla="*/ 92517 w 150112"/>
                <a:gd name="connsiteY2" fmla="*/ 136946 h 304514"/>
                <a:gd name="connsiteX3" fmla="*/ 118722 w 150112"/>
                <a:gd name="connsiteY3" fmla="*/ 110097 h 304514"/>
                <a:gd name="connsiteX4" fmla="*/ 119665 w 150112"/>
                <a:gd name="connsiteY4" fmla="*/ 58115 h 304514"/>
                <a:gd name="connsiteX5" fmla="*/ 125584 w 150112"/>
                <a:gd name="connsiteY5" fmla="*/ 24447 h 304514"/>
                <a:gd name="connsiteX6" fmla="*/ 127171 w 150112"/>
                <a:gd name="connsiteY6" fmla="*/ 22345 h 304514"/>
                <a:gd name="connsiteX7" fmla="*/ 65539 w 150112"/>
                <a:gd name="connsiteY7" fmla="*/ 9393 h 304514"/>
                <a:gd name="connsiteX8" fmla="*/ 50657 w 150112"/>
                <a:gd name="connsiteY8" fmla="*/ 6433 h 304514"/>
                <a:gd name="connsiteX9" fmla="*/ 41478 w 150112"/>
                <a:gd name="connsiteY9" fmla="*/ 7506 h 304514"/>
                <a:gd name="connsiteX10" fmla="*/ 41135 w 150112"/>
                <a:gd name="connsiteY10" fmla="*/ 67808 h 304514"/>
                <a:gd name="connsiteX11" fmla="*/ 31271 w 150112"/>
                <a:gd name="connsiteY11" fmla="*/ 108896 h 304514"/>
                <a:gd name="connsiteX12" fmla="*/ 9568 w 150112"/>
                <a:gd name="connsiteY12" fmla="*/ 134029 h 304514"/>
                <a:gd name="connsiteX13" fmla="*/ 23379 w 150112"/>
                <a:gd name="connsiteY13" fmla="*/ 175160 h 304514"/>
                <a:gd name="connsiteX14" fmla="*/ 37189 w 150112"/>
                <a:gd name="connsiteY14" fmla="*/ 200250 h 304514"/>
                <a:gd name="connsiteX15" fmla="*/ 62880 w 150112"/>
                <a:gd name="connsiteY15" fmla="*/ 223110 h 304514"/>
                <a:gd name="connsiteX16" fmla="*/ 78663 w 150112"/>
                <a:gd name="connsiteY16" fmla="*/ 291647 h 304514"/>
                <a:gd name="connsiteX17" fmla="*/ 81623 w 150112"/>
                <a:gd name="connsiteY17" fmla="*/ 301812 h 304514"/>
                <a:gd name="connsiteX18" fmla="*/ 95476 w 150112"/>
                <a:gd name="connsiteY18" fmla="*/ 287659 h 304514"/>
                <a:gd name="connsiteX19" fmla="*/ 101395 w 150112"/>
                <a:gd name="connsiteY19" fmla="*/ 256821 h 304514"/>
                <a:gd name="connsiteX20" fmla="*/ 104354 w 150112"/>
                <a:gd name="connsiteY20" fmla="*/ 239665 h 304514"/>
                <a:gd name="connsiteX21" fmla="*/ 130002 w 150112"/>
                <a:gd name="connsiteY21" fmla="*/ 211702 h 304514"/>
                <a:gd name="connsiteX22" fmla="*/ 144327 w 150112"/>
                <a:gd name="connsiteY22" fmla="*/ 199736 h 304514"/>
                <a:gd name="connsiteX23" fmla="*/ 145313 w 150112"/>
                <a:gd name="connsiteY23" fmla="*/ 179620 h 304514"/>
                <a:gd name="connsiteX24" fmla="*/ 132532 w 150112"/>
                <a:gd name="connsiteY24" fmla="*/ 16319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0112" h="304514">
                  <a:moveTo>
                    <a:pt x="132532" y="163194"/>
                  </a:moveTo>
                  <a:cubicBezTo>
                    <a:pt x="132532" y="155774"/>
                    <a:pt x="123654" y="143207"/>
                    <a:pt x="118722" y="150070"/>
                  </a:cubicBezTo>
                  <a:cubicBezTo>
                    <a:pt x="113747" y="156932"/>
                    <a:pt x="95004" y="151228"/>
                    <a:pt x="92517" y="136946"/>
                  </a:cubicBezTo>
                  <a:cubicBezTo>
                    <a:pt x="90072" y="122664"/>
                    <a:pt x="104869" y="123221"/>
                    <a:pt x="118722" y="110097"/>
                  </a:cubicBezTo>
                  <a:cubicBezTo>
                    <a:pt x="132532" y="96930"/>
                    <a:pt x="134505" y="71797"/>
                    <a:pt x="119665" y="58115"/>
                  </a:cubicBezTo>
                  <a:cubicBezTo>
                    <a:pt x="104869" y="44391"/>
                    <a:pt x="115248" y="36971"/>
                    <a:pt x="125584" y="24447"/>
                  </a:cubicBezTo>
                  <a:cubicBezTo>
                    <a:pt x="126185" y="23718"/>
                    <a:pt x="126699" y="23032"/>
                    <a:pt x="127171" y="22345"/>
                  </a:cubicBezTo>
                  <a:cubicBezTo>
                    <a:pt x="107871" y="12652"/>
                    <a:pt x="88142" y="7506"/>
                    <a:pt x="65539" y="9393"/>
                  </a:cubicBezTo>
                  <a:cubicBezTo>
                    <a:pt x="60264" y="9822"/>
                    <a:pt x="55246" y="8707"/>
                    <a:pt x="50657" y="6433"/>
                  </a:cubicBezTo>
                  <a:cubicBezTo>
                    <a:pt x="47783" y="7205"/>
                    <a:pt x="44695" y="7549"/>
                    <a:pt x="41478" y="7506"/>
                  </a:cubicBezTo>
                  <a:cubicBezTo>
                    <a:pt x="38519" y="30194"/>
                    <a:pt x="35860" y="58630"/>
                    <a:pt x="41135" y="67808"/>
                  </a:cubicBezTo>
                  <a:cubicBezTo>
                    <a:pt x="49027" y="81533"/>
                    <a:pt x="39162" y="104350"/>
                    <a:pt x="31271" y="108896"/>
                  </a:cubicBezTo>
                  <a:cubicBezTo>
                    <a:pt x="23379" y="113485"/>
                    <a:pt x="17460" y="134029"/>
                    <a:pt x="9568" y="134029"/>
                  </a:cubicBezTo>
                  <a:cubicBezTo>
                    <a:pt x="1677" y="134029"/>
                    <a:pt x="9568" y="168298"/>
                    <a:pt x="23379" y="175160"/>
                  </a:cubicBezTo>
                  <a:cubicBezTo>
                    <a:pt x="37189" y="182022"/>
                    <a:pt x="37189" y="193388"/>
                    <a:pt x="37189" y="200250"/>
                  </a:cubicBezTo>
                  <a:cubicBezTo>
                    <a:pt x="37189" y="207113"/>
                    <a:pt x="56961" y="213932"/>
                    <a:pt x="62880" y="223110"/>
                  </a:cubicBezTo>
                  <a:cubicBezTo>
                    <a:pt x="68799" y="232246"/>
                    <a:pt x="78663" y="275650"/>
                    <a:pt x="78663" y="291647"/>
                  </a:cubicBezTo>
                  <a:cubicBezTo>
                    <a:pt x="78663" y="295722"/>
                    <a:pt x="79864" y="299067"/>
                    <a:pt x="81623" y="301812"/>
                  </a:cubicBezTo>
                  <a:cubicBezTo>
                    <a:pt x="86684" y="297823"/>
                    <a:pt x="92903" y="293234"/>
                    <a:pt x="95476" y="287659"/>
                  </a:cubicBezTo>
                  <a:cubicBezTo>
                    <a:pt x="99936" y="277966"/>
                    <a:pt x="103368" y="261367"/>
                    <a:pt x="101395" y="256821"/>
                  </a:cubicBezTo>
                  <a:cubicBezTo>
                    <a:pt x="99422" y="252275"/>
                    <a:pt x="99936" y="244255"/>
                    <a:pt x="104354" y="239665"/>
                  </a:cubicBezTo>
                  <a:cubicBezTo>
                    <a:pt x="108771" y="235119"/>
                    <a:pt x="126571" y="213417"/>
                    <a:pt x="130002" y="211702"/>
                  </a:cubicBezTo>
                  <a:cubicBezTo>
                    <a:pt x="133476" y="209986"/>
                    <a:pt x="144798" y="212302"/>
                    <a:pt x="144327" y="199736"/>
                  </a:cubicBezTo>
                  <a:cubicBezTo>
                    <a:pt x="144113" y="194718"/>
                    <a:pt x="144627" y="187040"/>
                    <a:pt x="145313" y="179620"/>
                  </a:cubicBezTo>
                  <a:cubicBezTo>
                    <a:pt x="137379" y="173659"/>
                    <a:pt x="132532" y="166668"/>
                    <a:pt x="132532" y="163194"/>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41" name="Freeform: Shape 91">
              <a:extLst>
                <a:ext uri="{FF2B5EF4-FFF2-40B4-BE49-F238E27FC236}">
                  <a16:creationId xmlns:a16="http://schemas.microsoft.com/office/drawing/2014/main" id="{D16437D7-FDAC-197F-32DD-791A0A86B7AE}"/>
                </a:ext>
              </a:extLst>
            </p:cNvPr>
            <p:cNvSpPr/>
            <p:nvPr/>
          </p:nvSpPr>
          <p:spPr>
            <a:xfrm>
              <a:off x="6773970" y="3279228"/>
              <a:ext cx="541256" cy="597021"/>
            </a:xfrm>
            <a:custGeom>
              <a:avLst/>
              <a:gdLst>
                <a:gd name="connsiteX0" fmla="*/ 245030 w 707673"/>
                <a:gd name="connsiteY0" fmla="*/ 152404 h 780585"/>
                <a:gd name="connsiteX1" fmla="*/ 247218 w 707673"/>
                <a:gd name="connsiteY1" fmla="*/ 187658 h 780585"/>
                <a:gd name="connsiteX2" fmla="*/ 260298 w 707673"/>
                <a:gd name="connsiteY2" fmla="*/ 214078 h 780585"/>
                <a:gd name="connsiteX3" fmla="*/ 252665 w 707673"/>
                <a:gd name="connsiteY3" fmla="*/ 229176 h 780585"/>
                <a:gd name="connsiteX4" fmla="*/ 203685 w 707673"/>
                <a:gd name="connsiteY4" fmla="*/ 231706 h 780585"/>
                <a:gd name="connsiteX5" fmla="*/ 184085 w 707673"/>
                <a:gd name="connsiteY5" fmla="*/ 245559 h 780585"/>
                <a:gd name="connsiteX6" fmla="*/ 173191 w 707673"/>
                <a:gd name="connsiteY6" fmla="*/ 255595 h 780585"/>
                <a:gd name="connsiteX7" fmla="*/ 168859 w 707673"/>
                <a:gd name="connsiteY7" fmla="*/ 279528 h 780585"/>
                <a:gd name="connsiteX8" fmla="*/ 153590 w 707673"/>
                <a:gd name="connsiteY8" fmla="*/ 290850 h 780585"/>
                <a:gd name="connsiteX9" fmla="*/ 128543 w 707673"/>
                <a:gd name="connsiteY9" fmla="*/ 300929 h 780585"/>
                <a:gd name="connsiteX10" fmla="*/ 111130 w 707673"/>
                <a:gd name="connsiteY10" fmla="*/ 323618 h 780585"/>
                <a:gd name="connsiteX11" fmla="*/ 81708 w 707673"/>
                <a:gd name="connsiteY11" fmla="*/ 331166 h 780585"/>
                <a:gd name="connsiteX12" fmla="*/ 59963 w 707673"/>
                <a:gd name="connsiteY12" fmla="*/ 338715 h 780585"/>
                <a:gd name="connsiteX13" fmla="*/ 6609 w 707673"/>
                <a:gd name="connsiteY13" fmla="*/ 379031 h 780585"/>
                <a:gd name="connsiteX14" fmla="*/ 7380 w 707673"/>
                <a:gd name="connsiteY14" fmla="*/ 431699 h 780585"/>
                <a:gd name="connsiteX15" fmla="*/ 13943 w 707673"/>
                <a:gd name="connsiteY15" fmla="*/ 438647 h 780585"/>
                <a:gd name="connsiteX16" fmla="*/ 337971 w 707673"/>
                <a:gd name="connsiteY16" fmla="*/ 688477 h 780585"/>
                <a:gd name="connsiteX17" fmla="*/ 359116 w 707673"/>
                <a:gd name="connsiteY17" fmla="*/ 723775 h 780585"/>
                <a:gd name="connsiteX18" fmla="*/ 396687 w 707673"/>
                <a:gd name="connsiteY18" fmla="*/ 737371 h 780585"/>
                <a:gd name="connsiteX19" fmla="*/ 413113 w 707673"/>
                <a:gd name="connsiteY19" fmla="*/ 778116 h 780585"/>
                <a:gd name="connsiteX20" fmla="*/ 446009 w 707673"/>
                <a:gd name="connsiteY20" fmla="*/ 769967 h 780585"/>
                <a:gd name="connsiteX21" fmla="*/ 497648 w 707673"/>
                <a:gd name="connsiteY21" fmla="*/ 750967 h 780585"/>
                <a:gd name="connsiteX22" fmla="*/ 558680 w 707673"/>
                <a:gd name="connsiteY22" fmla="*/ 693967 h 780585"/>
                <a:gd name="connsiteX23" fmla="*/ 701930 w 707673"/>
                <a:gd name="connsiteY23" fmla="*/ 590732 h 780585"/>
                <a:gd name="connsiteX24" fmla="*/ 702273 w 707673"/>
                <a:gd name="connsiteY24" fmla="*/ 590732 h 780585"/>
                <a:gd name="connsiteX25" fmla="*/ 685418 w 707673"/>
                <a:gd name="connsiteY25" fmla="*/ 557793 h 780585"/>
                <a:gd name="connsiteX26" fmla="*/ 660799 w 707673"/>
                <a:gd name="connsiteY26" fmla="*/ 549258 h 780585"/>
                <a:gd name="connsiteX27" fmla="*/ 637381 w 707673"/>
                <a:gd name="connsiteY27" fmla="*/ 533561 h 780585"/>
                <a:gd name="connsiteX28" fmla="*/ 633693 w 707673"/>
                <a:gd name="connsiteY28" fmla="*/ 503667 h 780585"/>
                <a:gd name="connsiteX29" fmla="*/ 618939 w 707673"/>
                <a:gd name="connsiteY29" fmla="*/ 479435 h 780585"/>
                <a:gd name="connsiteX30" fmla="*/ 633435 w 707673"/>
                <a:gd name="connsiteY30" fmla="*/ 460306 h 780585"/>
                <a:gd name="connsiteX31" fmla="*/ 628504 w 707673"/>
                <a:gd name="connsiteY31" fmla="*/ 442635 h 780585"/>
                <a:gd name="connsiteX32" fmla="*/ 628504 w 707673"/>
                <a:gd name="connsiteY32" fmla="*/ 418660 h 780585"/>
                <a:gd name="connsiteX33" fmla="*/ 630948 w 707673"/>
                <a:gd name="connsiteY33" fmla="*/ 392412 h 780585"/>
                <a:gd name="connsiteX34" fmla="*/ 631934 w 707673"/>
                <a:gd name="connsiteY34" fmla="*/ 351839 h 780585"/>
                <a:gd name="connsiteX35" fmla="*/ 616623 w 707673"/>
                <a:gd name="connsiteY35" fmla="*/ 316455 h 780585"/>
                <a:gd name="connsiteX36" fmla="*/ 624043 w 707673"/>
                <a:gd name="connsiteY36" fmla="*/ 308349 h 780585"/>
                <a:gd name="connsiteX37" fmla="*/ 621084 w 707673"/>
                <a:gd name="connsiteY37" fmla="*/ 298184 h 780585"/>
                <a:gd name="connsiteX38" fmla="*/ 605300 w 707673"/>
                <a:gd name="connsiteY38" fmla="*/ 229647 h 780585"/>
                <a:gd name="connsiteX39" fmla="*/ 579610 w 707673"/>
                <a:gd name="connsiteY39" fmla="*/ 206787 h 780585"/>
                <a:gd name="connsiteX40" fmla="*/ 565799 w 707673"/>
                <a:gd name="connsiteY40" fmla="*/ 181697 h 780585"/>
                <a:gd name="connsiteX41" fmla="*/ 551989 w 707673"/>
                <a:gd name="connsiteY41" fmla="*/ 140566 h 780585"/>
                <a:gd name="connsiteX42" fmla="*/ 573691 w 707673"/>
                <a:gd name="connsiteY42" fmla="*/ 115433 h 780585"/>
                <a:gd name="connsiteX43" fmla="*/ 583556 w 707673"/>
                <a:gd name="connsiteY43" fmla="*/ 74345 h 780585"/>
                <a:gd name="connsiteX44" fmla="*/ 583899 w 707673"/>
                <a:gd name="connsiteY44" fmla="*/ 14043 h 780585"/>
                <a:gd name="connsiteX45" fmla="*/ 552461 w 707673"/>
                <a:gd name="connsiteY45" fmla="*/ 6966 h 780585"/>
                <a:gd name="connsiteX46" fmla="*/ 518407 w 707673"/>
                <a:gd name="connsiteY46" fmla="*/ 10955 h 780585"/>
                <a:gd name="connsiteX47" fmla="*/ 472001 w 707673"/>
                <a:gd name="connsiteY47" fmla="*/ 21806 h 780585"/>
                <a:gd name="connsiteX48" fmla="*/ 346592 w 707673"/>
                <a:gd name="connsiteY48" fmla="*/ 30341 h 780585"/>
                <a:gd name="connsiteX49" fmla="*/ 294739 w 707673"/>
                <a:gd name="connsiteY49" fmla="*/ 62336 h 780585"/>
                <a:gd name="connsiteX50" fmla="*/ 242414 w 707673"/>
                <a:gd name="connsiteY50" fmla="*/ 93731 h 780585"/>
                <a:gd name="connsiteX51" fmla="*/ 229804 w 707673"/>
                <a:gd name="connsiteY51" fmla="*/ 100250 h 780585"/>
                <a:gd name="connsiteX52" fmla="*/ 235294 w 707673"/>
                <a:gd name="connsiteY52" fmla="*/ 112130 h 780585"/>
                <a:gd name="connsiteX53" fmla="*/ 245030 w 707673"/>
                <a:gd name="connsiteY53" fmla="*/ 152404 h 78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07673" h="780585">
                  <a:moveTo>
                    <a:pt x="245030" y="152404"/>
                  </a:moveTo>
                  <a:cubicBezTo>
                    <a:pt x="245030" y="167543"/>
                    <a:pt x="240698" y="186415"/>
                    <a:pt x="247218" y="187658"/>
                  </a:cubicBezTo>
                  <a:cubicBezTo>
                    <a:pt x="253780" y="188902"/>
                    <a:pt x="259226" y="207816"/>
                    <a:pt x="260298" y="214078"/>
                  </a:cubicBezTo>
                  <a:cubicBezTo>
                    <a:pt x="261371" y="220383"/>
                    <a:pt x="259226" y="229176"/>
                    <a:pt x="252665" y="229176"/>
                  </a:cubicBezTo>
                  <a:cubicBezTo>
                    <a:pt x="246102" y="229176"/>
                    <a:pt x="203685" y="224157"/>
                    <a:pt x="203685" y="231706"/>
                  </a:cubicBezTo>
                  <a:cubicBezTo>
                    <a:pt x="203685" y="239254"/>
                    <a:pt x="193863" y="245559"/>
                    <a:pt x="184085" y="245559"/>
                  </a:cubicBezTo>
                  <a:cubicBezTo>
                    <a:pt x="174306" y="245559"/>
                    <a:pt x="174306" y="243029"/>
                    <a:pt x="173191" y="255595"/>
                  </a:cubicBezTo>
                  <a:cubicBezTo>
                    <a:pt x="172118" y="268205"/>
                    <a:pt x="175378" y="279528"/>
                    <a:pt x="168859" y="279528"/>
                  </a:cubicBezTo>
                  <a:cubicBezTo>
                    <a:pt x="162297" y="279528"/>
                    <a:pt x="163412" y="289606"/>
                    <a:pt x="153590" y="290850"/>
                  </a:cubicBezTo>
                  <a:cubicBezTo>
                    <a:pt x="143811" y="292137"/>
                    <a:pt x="128543" y="289606"/>
                    <a:pt x="128543" y="300929"/>
                  </a:cubicBezTo>
                  <a:cubicBezTo>
                    <a:pt x="128543" y="312252"/>
                    <a:pt x="122023" y="321087"/>
                    <a:pt x="111130" y="323618"/>
                  </a:cubicBezTo>
                  <a:cubicBezTo>
                    <a:pt x="100236" y="326148"/>
                    <a:pt x="81708" y="321087"/>
                    <a:pt x="81708" y="331166"/>
                  </a:cubicBezTo>
                  <a:cubicBezTo>
                    <a:pt x="81708" y="341202"/>
                    <a:pt x="67554" y="333697"/>
                    <a:pt x="59963" y="338715"/>
                  </a:cubicBezTo>
                  <a:cubicBezTo>
                    <a:pt x="52328" y="343776"/>
                    <a:pt x="7681" y="373970"/>
                    <a:pt x="6609" y="379031"/>
                  </a:cubicBezTo>
                  <a:cubicBezTo>
                    <a:pt x="6094" y="381475"/>
                    <a:pt x="6823" y="406437"/>
                    <a:pt x="7380" y="431699"/>
                  </a:cubicBezTo>
                  <a:cubicBezTo>
                    <a:pt x="8496" y="433972"/>
                    <a:pt x="10383" y="436288"/>
                    <a:pt x="13943" y="438647"/>
                  </a:cubicBezTo>
                  <a:cubicBezTo>
                    <a:pt x="30369" y="449498"/>
                    <a:pt x="328578" y="677626"/>
                    <a:pt x="337971" y="688477"/>
                  </a:cubicBezTo>
                  <a:cubicBezTo>
                    <a:pt x="347364" y="699328"/>
                    <a:pt x="359116" y="723775"/>
                    <a:pt x="359116" y="723775"/>
                  </a:cubicBezTo>
                  <a:cubicBezTo>
                    <a:pt x="359116" y="723775"/>
                    <a:pt x="380260" y="726477"/>
                    <a:pt x="396687" y="737371"/>
                  </a:cubicBezTo>
                  <a:cubicBezTo>
                    <a:pt x="413156" y="748265"/>
                    <a:pt x="413113" y="778116"/>
                    <a:pt x="413113" y="778116"/>
                  </a:cubicBezTo>
                  <a:cubicBezTo>
                    <a:pt x="413113" y="778116"/>
                    <a:pt x="434258" y="772669"/>
                    <a:pt x="446009" y="769967"/>
                  </a:cubicBezTo>
                  <a:cubicBezTo>
                    <a:pt x="457761" y="767265"/>
                    <a:pt x="497648" y="750967"/>
                    <a:pt x="497648" y="750967"/>
                  </a:cubicBezTo>
                  <a:lnTo>
                    <a:pt x="558680" y="693967"/>
                  </a:lnTo>
                  <a:lnTo>
                    <a:pt x="701930" y="590732"/>
                  </a:lnTo>
                  <a:cubicBezTo>
                    <a:pt x="701930" y="590732"/>
                    <a:pt x="702058" y="590732"/>
                    <a:pt x="702273" y="590732"/>
                  </a:cubicBezTo>
                  <a:cubicBezTo>
                    <a:pt x="697855" y="572461"/>
                    <a:pt x="693095" y="557793"/>
                    <a:pt x="685418" y="557793"/>
                  </a:cubicBezTo>
                  <a:cubicBezTo>
                    <a:pt x="676797" y="557793"/>
                    <a:pt x="670664" y="549258"/>
                    <a:pt x="660799" y="549258"/>
                  </a:cubicBezTo>
                  <a:cubicBezTo>
                    <a:pt x="650935" y="549258"/>
                    <a:pt x="638625" y="543554"/>
                    <a:pt x="637381" y="533561"/>
                  </a:cubicBezTo>
                  <a:cubicBezTo>
                    <a:pt x="636137" y="523610"/>
                    <a:pt x="641070" y="516491"/>
                    <a:pt x="633693" y="503667"/>
                  </a:cubicBezTo>
                  <a:cubicBezTo>
                    <a:pt x="626316" y="490843"/>
                    <a:pt x="618939" y="485139"/>
                    <a:pt x="618939" y="479435"/>
                  </a:cubicBezTo>
                  <a:cubicBezTo>
                    <a:pt x="618939" y="473730"/>
                    <a:pt x="631463" y="462622"/>
                    <a:pt x="633435" y="460306"/>
                  </a:cubicBezTo>
                  <a:cubicBezTo>
                    <a:pt x="635409" y="458033"/>
                    <a:pt x="628504" y="448897"/>
                    <a:pt x="628504" y="442635"/>
                  </a:cubicBezTo>
                  <a:cubicBezTo>
                    <a:pt x="628504" y="436331"/>
                    <a:pt x="623571" y="425523"/>
                    <a:pt x="628504" y="418660"/>
                  </a:cubicBezTo>
                  <a:cubicBezTo>
                    <a:pt x="633435" y="411798"/>
                    <a:pt x="636395" y="404936"/>
                    <a:pt x="630948" y="392412"/>
                  </a:cubicBezTo>
                  <a:cubicBezTo>
                    <a:pt x="625501" y="379845"/>
                    <a:pt x="638368" y="368437"/>
                    <a:pt x="631934" y="351839"/>
                  </a:cubicBezTo>
                  <a:cubicBezTo>
                    <a:pt x="625501" y="335284"/>
                    <a:pt x="615637" y="322160"/>
                    <a:pt x="616623" y="316455"/>
                  </a:cubicBezTo>
                  <a:cubicBezTo>
                    <a:pt x="617052" y="314010"/>
                    <a:pt x="620226" y="311308"/>
                    <a:pt x="624043" y="308349"/>
                  </a:cubicBezTo>
                  <a:cubicBezTo>
                    <a:pt x="622284" y="305647"/>
                    <a:pt x="621084" y="302302"/>
                    <a:pt x="621084" y="298184"/>
                  </a:cubicBezTo>
                  <a:cubicBezTo>
                    <a:pt x="621084" y="282187"/>
                    <a:pt x="611219" y="238783"/>
                    <a:pt x="605300" y="229647"/>
                  </a:cubicBezTo>
                  <a:cubicBezTo>
                    <a:pt x="599382" y="220512"/>
                    <a:pt x="579610" y="213649"/>
                    <a:pt x="579610" y="206787"/>
                  </a:cubicBezTo>
                  <a:cubicBezTo>
                    <a:pt x="579610" y="199925"/>
                    <a:pt x="579610" y="188516"/>
                    <a:pt x="565799" y="181697"/>
                  </a:cubicBezTo>
                  <a:cubicBezTo>
                    <a:pt x="551989" y="174835"/>
                    <a:pt x="544097" y="140566"/>
                    <a:pt x="551989" y="140566"/>
                  </a:cubicBezTo>
                  <a:cubicBezTo>
                    <a:pt x="559881" y="140566"/>
                    <a:pt x="565799" y="119979"/>
                    <a:pt x="573691" y="115433"/>
                  </a:cubicBezTo>
                  <a:cubicBezTo>
                    <a:pt x="581625" y="110844"/>
                    <a:pt x="591490" y="88027"/>
                    <a:pt x="583556" y="74345"/>
                  </a:cubicBezTo>
                  <a:cubicBezTo>
                    <a:pt x="578280" y="65210"/>
                    <a:pt x="580939" y="36731"/>
                    <a:pt x="583899" y="14043"/>
                  </a:cubicBezTo>
                  <a:cubicBezTo>
                    <a:pt x="570817" y="13914"/>
                    <a:pt x="556321" y="8424"/>
                    <a:pt x="552461" y="6966"/>
                  </a:cubicBezTo>
                  <a:cubicBezTo>
                    <a:pt x="546542" y="4693"/>
                    <a:pt x="529258" y="10397"/>
                    <a:pt x="518407" y="10955"/>
                  </a:cubicBezTo>
                  <a:cubicBezTo>
                    <a:pt x="507555" y="11555"/>
                    <a:pt x="480878" y="31542"/>
                    <a:pt x="472001" y="21806"/>
                  </a:cubicBezTo>
                  <a:cubicBezTo>
                    <a:pt x="463122" y="12113"/>
                    <a:pt x="372240" y="29225"/>
                    <a:pt x="346592" y="30341"/>
                  </a:cubicBezTo>
                  <a:cubicBezTo>
                    <a:pt x="320901" y="31499"/>
                    <a:pt x="310050" y="62336"/>
                    <a:pt x="294739" y="62336"/>
                  </a:cubicBezTo>
                  <a:cubicBezTo>
                    <a:pt x="279427" y="62336"/>
                    <a:pt x="255238" y="77176"/>
                    <a:pt x="242414" y="93731"/>
                  </a:cubicBezTo>
                  <a:cubicBezTo>
                    <a:pt x="238768" y="98406"/>
                    <a:pt x="234480" y="100121"/>
                    <a:pt x="229804" y="100250"/>
                  </a:cubicBezTo>
                  <a:cubicBezTo>
                    <a:pt x="231777" y="105397"/>
                    <a:pt x="233707" y="109729"/>
                    <a:pt x="235294" y="112130"/>
                  </a:cubicBezTo>
                  <a:cubicBezTo>
                    <a:pt x="242843" y="123453"/>
                    <a:pt x="245030" y="137306"/>
                    <a:pt x="245030" y="152404"/>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42" name="Freeform: Shape 92">
              <a:extLst>
                <a:ext uri="{FF2B5EF4-FFF2-40B4-BE49-F238E27FC236}">
                  <a16:creationId xmlns:a16="http://schemas.microsoft.com/office/drawing/2014/main" id="{4F63DF4F-B0F1-2C37-744F-6517EEA90F08}"/>
                </a:ext>
              </a:extLst>
            </p:cNvPr>
            <p:cNvSpPr/>
            <p:nvPr/>
          </p:nvSpPr>
          <p:spPr>
            <a:xfrm>
              <a:off x="7240614" y="3416655"/>
              <a:ext cx="393641" cy="439566"/>
            </a:xfrm>
            <a:custGeom>
              <a:avLst/>
              <a:gdLst>
                <a:gd name="connsiteX0" fmla="*/ 511567 w 514671"/>
                <a:gd name="connsiteY0" fmla="*/ 56013 h 574716"/>
                <a:gd name="connsiteX1" fmla="*/ 510623 w 514671"/>
                <a:gd name="connsiteY1" fmla="*/ 54512 h 574716"/>
                <a:gd name="connsiteX2" fmla="*/ 465675 w 514671"/>
                <a:gd name="connsiteY2" fmla="*/ 40788 h 574716"/>
                <a:gd name="connsiteX3" fmla="*/ 428618 w 514671"/>
                <a:gd name="connsiteY3" fmla="*/ 13553 h 574716"/>
                <a:gd name="connsiteX4" fmla="*/ 393578 w 514671"/>
                <a:gd name="connsiteY4" fmla="*/ 47564 h 574716"/>
                <a:gd name="connsiteX5" fmla="*/ 362226 w 514671"/>
                <a:gd name="connsiteY5" fmla="*/ 27921 h 574716"/>
                <a:gd name="connsiteX6" fmla="*/ 340266 w 514671"/>
                <a:gd name="connsiteY6" fmla="*/ 54512 h 574716"/>
                <a:gd name="connsiteX7" fmla="*/ 344684 w 514671"/>
                <a:gd name="connsiteY7" fmla="*/ 104779 h 574716"/>
                <a:gd name="connsiteX8" fmla="*/ 293346 w 514671"/>
                <a:gd name="connsiteY8" fmla="*/ 105336 h 574716"/>
                <a:gd name="connsiteX9" fmla="*/ 231628 w 514671"/>
                <a:gd name="connsiteY9" fmla="*/ 79645 h 574716"/>
                <a:gd name="connsiteX10" fmla="*/ 198518 w 514671"/>
                <a:gd name="connsiteY10" fmla="*/ 52239 h 574716"/>
                <a:gd name="connsiteX11" fmla="*/ 176815 w 514671"/>
                <a:gd name="connsiteY11" fmla="*/ 29980 h 574716"/>
                <a:gd name="connsiteX12" fmla="*/ 116084 w 514671"/>
                <a:gd name="connsiteY12" fmla="*/ 15698 h 574716"/>
                <a:gd name="connsiteX13" fmla="*/ 77569 w 514671"/>
                <a:gd name="connsiteY13" fmla="*/ 6433 h 574716"/>
                <a:gd name="connsiteX14" fmla="*/ 76583 w 514671"/>
                <a:gd name="connsiteY14" fmla="*/ 26548 h 574716"/>
                <a:gd name="connsiteX15" fmla="*/ 62258 w 514671"/>
                <a:gd name="connsiteY15" fmla="*/ 38515 h 574716"/>
                <a:gd name="connsiteX16" fmla="*/ 36610 w 514671"/>
                <a:gd name="connsiteY16" fmla="*/ 66478 h 574716"/>
                <a:gd name="connsiteX17" fmla="*/ 33651 w 514671"/>
                <a:gd name="connsiteY17" fmla="*/ 83634 h 574716"/>
                <a:gd name="connsiteX18" fmla="*/ 27732 w 514671"/>
                <a:gd name="connsiteY18" fmla="*/ 114472 h 574716"/>
                <a:gd name="connsiteX19" fmla="*/ 6502 w 514671"/>
                <a:gd name="connsiteY19" fmla="*/ 136731 h 574716"/>
                <a:gd name="connsiteX20" fmla="*/ 21813 w 514671"/>
                <a:gd name="connsiteY20" fmla="*/ 172115 h 574716"/>
                <a:gd name="connsiteX21" fmla="*/ 20827 w 514671"/>
                <a:gd name="connsiteY21" fmla="*/ 212688 h 574716"/>
                <a:gd name="connsiteX22" fmla="*/ 18382 w 514671"/>
                <a:gd name="connsiteY22" fmla="*/ 238936 h 574716"/>
                <a:gd name="connsiteX23" fmla="*/ 18382 w 514671"/>
                <a:gd name="connsiteY23" fmla="*/ 262911 h 574716"/>
                <a:gd name="connsiteX24" fmla="*/ 23314 w 514671"/>
                <a:gd name="connsiteY24" fmla="*/ 280582 h 574716"/>
                <a:gd name="connsiteX25" fmla="*/ 8818 w 514671"/>
                <a:gd name="connsiteY25" fmla="*/ 299711 h 574716"/>
                <a:gd name="connsiteX26" fmla="*/ 23572 w 514671"/>
                <a:gd name="connsiteY26" fmla="*/ 323943 h 574716"/>
                <a:gd name="connsiteX27" fmla="*/ 27260 w 514671"/>
                <a:gd name="connsiteY27" fmla="*/ 353837 h 574716"/>
                <a:gd name="connsiteX28" fmla="*/ 50678 w 514671"/>
                <a:gd name="connsiteY28" fmla="*/ 369534 h 574716"/>
                <a:gd name="connsiteX29" fmla="*/ 75297 w 514671"/>
                <a:gd name="connsiteY29" fmla="*/ 378069 h 574716"/>
                <a:gd name="connsiteX30" fmla="*/ 92152 w 514671"/>
                <a:gd name="connsiteY30" fmla="*/ 411008 h 574716"/>
                <a:gd name="connsiteX31" fmla="*/ 141089 w 514671"/>
                <a:gd name="connsiteY31" fmla="*/ 421859 h 574716"/>
                <a:gd name="connsiteX32" fmla="*/ 162233 w 514671"/>
                <a:gd name="connsiteY32" fmla="*/ 446306 h 574716"/>
                <a:gd name="connsiteX33" fmla="*/ 218589 w 514671"/>
                <a:gd name="connsiteY33" fmla="*/ 411008 h 574716"/>
                <a:gd name="connsiteX34" fmla="*/ 473524 w 514671"/>
                <a:gd name="connsiteY34" fmla="*/ 569570 h 574716"/>
                <a:gd name="connsiteX35" fmla="*/ 473524 w 514671"/>
                <a:gd name="connsiteY35" fmla="*/ 549112 h 574716"/>
                <a:gd name="connsiteX36" fmla="*/ 504404 w 514671"/>
                <a:gd name="connsiteY36" fmla="*/ 549112 h 574716"/>
                <a:gd name="connsiteX37" fmla="*/ 504404 w 514671"/>
                <a:gd name="connsiteY37" fmla="*/ 170399 h 574716"/>
                <a:gd name="connsiteX38" fmla="*/ 504404 w 514671"/>
                <a:gd name="connsiteY38" fmla="*/ 113228 h 574716"/>
                <a:gd name="connsiteX39" fmla="*/ 508521 w 514671"/>
                <a:gd name="connsiteY39" fmla="*/ 65578 h 574716"/>
                <a:gd name="connsiteX40" fmla="*/ 511567 w 514671"/>
                <a:gd name="connsiteY40" fmla="*/ 56013 h 5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4671" h="574716">
                  <a:moveTo>
                    <a:pt x="511567" y="56013"/>
                  </a:moveTo>
                  <a:cubicBezTo>
                    <a:pt x="511266" y="55542"/>
                    <a:pt x="510794" y="55027"/>
                    <a:pt x="510623" y="54512"/>
                  </a:cubicBezTo>
                  <a:cubicBezTo>
                    <a:pt x="508135" y="46535"/>
                    <a:pt x="494797" y="45935"/>
                    <a:pt x="465675" y="40788"/>
                  </a:cubicBezTo>
                  <a:cubicBezTo>
                    <a:pt x="441786" y="36585"/>
                    <a:pt x="444745" y="20458"/>
                    <a:pt x="428618" y="13553"/>
                  </a:cubicBezTo>
                  <a:cubicBezTo>
                    <a:pt x="427246" y="31052"/>
                    <a:pt x="415537" y="47564"/>
                    <a:pt x="393578" y="47564"/>
                  </a:cubicBezTo>
                  <a:cubicBezTo>
                    <a:pt x="377837" y="47564"/>
                    <a:pt x="367416" y="39115"/>
                    <a:pt x="362226" y="27921"/>
                  </a:cubicBezTo>
                  <a:cubicBezTo>
                    <a:pt x="349488" y="36756"/>
                    <a:pt x="340481" y="47135"/>
                    <a:pt x="340266" y="54512"/>
                  </a:cubicBezTo>
                  <a:cubicBezTo>
                    <a:pt x="339795" y="70510"/>
                    <a:pt x="355535" y="88223"/>
                    <a:pt x="344684" y="104779"/>
                  </a:cubicBezTo>
                  <a:cubicBezTo>
                    <a:pt x="333833" y="121334"/>
                    <a:pt x="310158" y="123049"/>
                    <a:pt x="293346" y="105336"/>
                  </a:cubicBezTo>
                  <a:cubicBezTo>
                    <a:pt x="276576" y="87666"/>
                    <a:pt x="251872" y="79645"/>
                    <a:pt x="231628" y="79645"/>
                  </a:cubicBezTo>
                  <a:cubicBezTo>
                    <a:pt x="211384" y="79645"/>
                    <a:pt x="197059" y="64806"/>
                    <a:pt x="198518" y="52239"/>
                  </a:cubicBezTo>
                  <a:cubicBezTo>
                    <a:pt x="200019" y="39673"/>
                    <a:pt x="193628" y="33926"/>
                    <a:pt x="176815" y="29980"/>
                  </a:cubicBezTo>
                  <a:cubicBezTo>
                    <a:pt x="160045" y="25991"/>
                    <a:pt x="145721" y="9993"/>
                    <a:pt x="116084" y="15698"/>
                  </a:cubicBezTo>
                  <a:cubicBezTo>
                    <a:pt x="100215" y="18743"/>
                    <a:pt x="86791" y="13253"/>
                    <a:pt x="77569" y="6433"/>
                  </a:cubicBezTo>
                  <a:cubicBezTo>
                    <a:pt x="76884" y="13853"/>
                    <a:pt x="76369" y="21531"/>
                    <a:pt x="76583" y="26548"/>
                  </a:cubicBezTo>
                  <a:cubicBezTo>
                    <a:pt x="77055" y="39115"/>
                    <a:pt x="65732" y="36799"/>
                    <a:pt x="62258" y="38515"/>
                  </a:cubicBezTo>
                  <a:cubicBezTo>
                    <a:pt x="58827" y="40230"/>
                    <a:pt x="41028" y="61932"/>
                    <a:pt x="36610" y="66478"/>
                  </a:cubicBezTo>
                  <a:cubicBezTo>
                    <a:pt x="32150" y="71068"/>
                    <a:pt x="31635" y="79045"/>
                    <a:pt x="33651" y="83634"/>
                  </a:cubicBezTo>
                  <a:cubicBezTo>
                    <a:pt x="35624" y="88223"/>
                    <a:pt x="32193" y="104779"/>
                    <a:pt x="27732" y="114472"/>
                  </a:cubicBezTo>
                  <a:cubicBezTo>
                    <a:pt x="23272" y="124208"/>
                    <a:pt x="7488" y="131027"/>
                    <a:pt x="6502" y="136731"/>
                  </a:cubicBezTo>
                  <a:cubicBezTo>
                    <a:pt x="5516" y="142435"/>
                    <a:pt x="15380" y="155560"/>
                    <a:pt x="21813" y="172115"/>
                  </a:cubicBezTo>
                  <a:cubicBezTo>
                    <a:pt x="28204" y="188670"/>
                    <a:pt x="15380" y="200122"/>
                    <a:pt x="20827" y="212688"/>
                  </a:cubicBezTo>
                  <a:cubicBezTo>
                    <a:pt x="26274" y="225255"/>
                    <a:pt x="23314" y="232074"/>
                    <a:pt x="18382" y="238936"/>
                  </a:cubicBezTo>
                  <a:cubicBezTo>
                    <a:pt x="13450" y="245799"/>
                    <a:pt x="18382" y="256607"/>
                    <a:pt x="18382" y="262911"/>
                  </a:cubicBezTo>
                  <a:cubicBezTo>
                    <a:pt x="18382" y="269216"/>
                    <a:pt x="25288" y="278352"/>
                    <a:pt x="23314" y="280582"/>
                  </a:cubicBezTo>
                  <a:cubicBezTo>
                    <a:pt x="21342" y="282898"/>
                    <a:pt x="8818" y="294006"/>
                    <a:pt x="8818" y="299711"/>
                  </a:cubicBezTo>
                  <a:cubicBezTo>
                    <a:pt x="8818" y="305415"/>
                    <a:pt x="16195" y="311076"/>
                    <a:pt x="23572" y="323943"/>
                  </a:cubicBezTo>
                  <a:cubicBezTo>
                    <a:pt x="30949" y="336767"/>
                    <a:pt x="26059" y="343886"/>
                    <a:pt x="27260" y="353837"/>
                  </a:cubicBezTo>
                  <a:cubicBezTo>
                    <a:pt x="28461" y="363830"/>
                    <a:pt x="40813" y="369534"/>
                    <a:pt x="50678" y="369534"/>
                  </a:cubicBezTo>
                  <a:cubicBezTo>
                    <a:pt x="60542" y="369534"/>
                    <a:pt x="66676" y="378069"/>
                    <a:pt x="75297" y="378069"/>
                  </a:cubicBezTo>
                  <a:cubicBezTo>
                    <a:pt x="82973" y="378069"/>
                    <a:pt x="87734" y="392737"/>
                    <a:pt x="92152" y="411008"/>
                  </a:cubicBezTo>
                  <a:cubicBezTo>
                    <a:pt x="95840" y="411051"/>
                    <a:pt x="127836" y="411652"/>
                    <a:pt x="141089" y="421859"/>
                  </a:cubicBezTo>
                  <a:cubicBezTo>
                    <a:pt x="155199" y="432753"/>
                    <a:pt x="162233" y="446306"/>
                    <a:pt x="162233" y="446306"/>
                  </a:cubicBezTo>
                  <a:lnTo>
                    <a:pt x="218589" y="411008"/>
                  </a:lnTo>
                  <a:lnTo>
                    <a:pt x="473524" y="569570"/>
                  </a:lnTo>
                  <a:lnTo>
                    <a:pt x="473524" y="549112"/>
                  </a:lnTo>
                  <a:lnTo>
                    <a:pt x="504404" y="549112"/>
                  </a:lnTo>
                  <a:cubicBezTo>
                    <a:pt x="504404" y="549112"/>
                    <a:pt x="504404" y="196605"/>
                    <a:pt x="504404" y="170399"/>
                  </a:cubicBezTo>
                  <a:cubicBezTo>
                    <a:pt x="504404" y="144237"/>
                    <a:pt x="494110" y="127510"/>
                    <a:pt x="504404" y="113228"/>
                  </a:cubicBezTo>
                  <a:cubicBezTo>
                    <a:pt x="514697" y="98946"/>
                    <a:pt x="500287" y="91783"/>
                    <a:pt x="508521" y="65578"/>
                  </a:cubicBezTo>
                  <a:cubicBezTo>
                    <a:pt x="509508" y="62576"/>
                    <a:pt x="510494" y="59316"/>
                    <a:pt x="511567" y="56013"/>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43" name="Freeform: Shape 93">
              <a:extLst>
                <a:ext uri="{FF2B5EF4-FFF2-40B4-BE49-F238E27FC236}">
                  <a16:creationId xmlns:a16="http://schemas.microsoft.com/office/drawing/2014/main" id="{7A451C29-DCF1-AB75-3A36-73DF3E7FB55E}"/>
                </a:ext>
              </a:extLst>
            </p:cNvPr>
            <p:cNvSpPr/>
            <p:nvPr/>
          </p:nvSpPr>
          <p:spPr>
            <a:xfrm>
              <a:off x="6571806" y="4022865"/>
              <a:ext cx="78728" cy="32803"/>
            </a:xfrm>
            <a:custGeom>
              <a:avLst/>
              <a:gdLst>
                <a:gd name="connsiteX0" fmla="*/ 50781 w 102934"/>
                <a:gd name="connsiteY0" fmla="*/ 8144 h 42889"/>
                <a:gd name="connsiteX1" fmla="*/ 8492 w 102934"/>
                <a:gd name="connsiteY1" fmla="*/ 16121 h 42889"/>
                <a:gd name="connsiteX2" fmla="*/ 6433 w 102934"/>
                <a:gd name="connsiteY2" fmla="*/ 27744 h 42889"/>
                <a:gd name="connsiteX3" fmla="*/ 11966 w 102934"/>
                <a:gd name="connsiteY3" fmla="*/ 37352 h 42889"/>
                <a:gd name="connsiteX4" fmla="*/ 13939 w 102934"/>
                <a:gd name="connsiteY4" fmla="*/ 37008 h 42889"/>
                <a:gd name="connsiteX5" fmla="*/ 52025 w 102934"/>
                <a:gd name="connsiteY5" fmla="*/ 24742 h 42889"/>
                <a:gd name="connsiteX6" fmla="*/ 80117 w 102934"/>
                <a:gd name="connsiteY6" fmla="*/ 33406 h 42889"/>
                <a:gd name="connsiteX7" fmla="*/ 100747 w 102934"/>
                <a:gd name="connsiteY7" fmla="*/ 26930 h 42889"/>
                <a:gd name="connsiteX8" fmla="*/ 82605 w 102934"/>
                <a:gd name="connsiteY8" fmla="*/ 24056 h 42889"/>
                <a:gd name="connsiteX9" fmla="*/ 50781 w 102934"/>
                <a:gd name="connsiteY9" fmla="*/ 8144 h 4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934" h="42889">
                  <a:moveTo>
                    <a:pt x="50781" y="8144"/>
                  </a:moveTo>
                  <a:cubicBezTo>
                    <a:pt x="36456" y="16078"/>
                    <a:pt x="26463" y="18223"/>
                    <a:pt x="8492" y="16121"/>
                  </a:cubicBezTo>
                  <a:cubicBezTo>
                    <a:pt x="8363" y="19510"/>
                    <a:pt x="7420" y="23498"/>
                    <a:pt x="6433" y="27744"/>
                  </a:cubicBezTo>
                  <a:cubicBezTo>
                    <a:pt x="8406" y="30875"/>
                    <a:pt x="10294" y="34092"/>
                    <a:pt x="11966" y="37352"/>
                  </a:cubicBezTo>
                  <a:cubicBezTo>
                    <a:pt x="12738" y="37180"/>
                    <a:pt x="13424" y="37051"/>
                    <a:pt x="13939" y="37008"/>
                  </a:cubicBezTo>
                  <a:cubicBezTo>
                    <a:pt x="23932" y="36279"/>
                    <a:pt x="45163" y="31948"/>
                    <a:pt x="52025" y="24742"/>
                  </a:cubicBezTo>
                  <a:cubicBezTo>
                    <a:pt x="58887" y="17537"/>
                    <a:pt x="70167" y="31990"/>
                    <a:pt x="80117" y="33406"/>
                  </a:cubicBezTo>
                  <a:cubicBezTo>
                    <a:pt x="90110" y="34864"/>
                    <a:pt x="100747" y="26930"/>
                    <a:pt x="100747" y="26930"/>
                  </a:cubicBezTo>
                  <a:cubicBezTo>
                    <a:pt x="100747" y="26930"/>
                    <a:pt x="98860" y="25514"/>
                    <a:pt x="82605" y="24056"/>
                  </a:cubicBezTo>
                  <a:cubicBezTo>
                    <a:pt x="66393" y="22598"/>
                    <a:pt x="65149" y="167"/>
                    <a:pt x="50781" y="8144"/>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44" name="Freeform: Shape 94">
              <a:extLst>
                <a:ext uri="{FF2B5EF4-FFF2-40B4-BE49-F238E27FC236}">
                  <a16:creationId xmlns:a16="http://schemas.microsoft.com/office/drawing/2014/main" id="{72C4F446-B1F6-C479-15D5-778F916C5AC7}"/>
                </a:ext>
              </a:extLst>
            </p:cNvPr>
            <p:cNvSpPr/>
            <p:nvPr/>
          </p:nvSpPr>
          <p:spPr>
            <a:xfrm>
              <a:off x="6559583" y="3940744"/>
              <a:ext cx="154176" cy="141055"/>
            </a:xfrm>
            <a:custGeom>
              <a:avLst/>
              <a:gdLst>
                <a:gd name="connsiteX0" fmla="*/ 178531 w 201579"/>
                <a:gd name="connsiteY0" fmla="*/ 124221 h 184424"/>
                <a:gd name="connsiteX1" fmla="*/ 173599 w 201579"/>
                <a:gd name="connsiteY1" fmla="*/ 100246 h 184424"/>
                <a:gd name="connsiteX2" fmla="*/ 167465 w 201579"/>
                <a:gd name="connsiteY2" fmla="*/ 89738 h 184424"/>
                <a:gd name="connsiteX3" fmla="*/ 148637 w 201579"/>
                <a:gd name="connsiteY3" fmla="*/ 62589 h 184424"/>
                <a:gd name="connsiteX4" fmla="*/ 125134 w 201579"/>
                <a:gd name="connsiteY4" fmla="*/ 27291 h 184424"/>
                <a:gd name="connsiteX5" fmla="*/ 113382 w 201579"/>
                <a:gd name="connsiteY5" fmla="*/ 27291 h 184424"/>
                <a:gd name="connsiteX6" fmla="*/ 94639 w 201579"/>
                <a:gd name="connsiteY6" fmla="*/ 8291 h 184424"/>
                <a:gd name="connsiteX7" fmla="*/ 68820 w 201579"/>
                <a:gd name="connsiteY7" fmla="*/ 10993 h 184424"/>
                <a:gd name="connsiteX8" fmla="*/ 38283 w 201579"/>
                <a:gd name="connsiteY8" fmla="*/ 10993 h 184424"/>
                <a:gd name="connsiteX9" fmla="*/ 19497 w 201579"/>
                <a:gd name="connsiteY9" fmla="*/ 29993 h 184424"/>
                <a:gd name="connsiteX10" fmla="*/ 17782 w 201579"/>
                <a:gd name="connsiteY10" fmla="*/ 30508 h 184424"/>
                <a:gd name="connsiteX11" fmla="*/ 10148 w 201579"/>
                <a:gd name="connsiteY11" fmla="*/ 61431 h 184424"/>
                <a:gd name="connsiteX12" fmla="*/ 6502 w 201579"/>
                <a:gd name="connsiteY12" fmla="*/ 78887 h 184424"/>
                <a:gd name="connsiteX13" fmla="*/ 22157 w 201579"/>
                <a:gd name="connsiteY13" fmla="*/ 115900 h 184424"/>
                <a:gd name="connsiteX14" fmla="*/ 22457 w 201579"/>
                <a:gd name="connsiteY14" fmla="*/ 116286 h 184424"/>
                <a:gd name="connsiteX15" fmla="*/ 24430 w 201579"/>
                <a:gd name="connsiteY15" fmla="*/ 123578 h 184424"/>
                <a:gd name="connsiteX16" fmla="*/ 66718 w 201579"/>
                <a:gd name="connsiteY16" fmla="*/ 115600 h 184424"/>
                <a:gd name="connsiteX17" fmla="*/ 98542 w 201579"/>
                <a:gd name="connsiteY17" fmla="*/ 131512 h 184424"/>
                <a:gd name="connsiteX18" fmla="*/ 116685 w 201579"/>
                <a:gd name="connsiteY18" fmla="*/ 134386 h 184424"/>
                <a:gd name="connsiteX19" fmla="*/ 96055 w 201579"/>
                <a:gd name="connsiteY19" fmla="*/ 140862 h 184424"/>
                <a:gd name="connsiteX20" fmla="*/ 67962 w 201579"/>
                <a:gd name="connsiteY20" fmla="*/ 132198 h 184424"/>
                <a:gd name="connsiteX21" fmla="*/ 29877 w 201579"/>
                <a:gd name="connsiteY21" fmla="*/ 144465 h 184424"/>
                <a:gd name="connsiteX22" fmla="*/ 27904 w 201579"/>
                <a:gd name="connsiteY22" fmla="*/ 144808 h 184424"/>
                <a:gd name="connsiteX23" fmla="*/ 36224 w 201579"/>
                <a:gd name="connsiteY23" fmla="*/ 168140 h 184424"/>
                <a:gd name="connsiteX24" fmla="*/ 44244 w 201579"/>
                <a:gd name="connsiteY24" fmla="*/ 174830 h 184424"/>
                <a:gd name="connsiteX25" fmla="*/ 62987 w 201579"/>
                <a:gd name="connsiteY25" fmla="*/ 166124 h 184424"/>
                <a:gd name="connsiteX26" fmla="*/ 111709 w 201579"/>
                <a:gd name="connsiteY26" fmla="*/ 161792 h 184424"/>
                <a:gd name="connsiteX27" fmla="*/ 120159 w 201579"/>
                <a:gd name="connsiteY27" fmla="*/ 164365 h 184424"/>
                <a:gd name="connsiteX28" fmla="*/ 120245 w 201579"/>
                <a:gd name="connsiteY28" fmla="*/ 160805 h 184424"/>
                <a:gd name="connsiteX29" fmla="*/ 143962 w 201579"/>
                <a:gd name="connsiteY29" fmla="*/ 171914 h 184424"/>
                <a:gd name="connsiteX30" fmla="*/ 192856 w 201579"/>
                <a:gd name="connsiteY30" fmla="*/ 175345 h 184424"/>
                <a:gd name="connsiteX31" fmla="*/ 196544 w 201579"/>
                <a:gd name="connsiteY31" fmla="*/ 173844 h 184424"/>
                <a:gd name="connsiteX32" fmla="*/ 196330 w 201579"/>
                <a:gd name="connsiteY32" fmla="*/ 149397 h 184424"/>
                <a:gd name="connsiteX33" fmla="*/ 178531 w 201579"/>
                <a:gd name="connsiteY33" fmla="*/ 124221 h 184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1579" h="184424">
                  <a:moveTo>
                    <a:pt x="178531" y="124221"/>
                  </a:moveTo>
                  <a:cubicBezTo>
                    <a:pt x="172612" y="117359"/>
                    <a:pt x="173599" y="100246"/>
                    <a:pt x="173599" y="100246"/>
                  </a:cubicBezTo>
                  <a:lnTo>
                    <a:pt x="167465" y="89738"/>
                  </a:lnTo>
                  <a:cubicBezTo>
                    <a:pt x="167465" y="89738"/>
                    <a:pt x="162748" y="67993"/>
                    <a:pt x="148637" y="62589"/>
                  </a:cubicBezTo>
                  <a:cubicBezTo>
                    <a:pt x="134570" y="57185"/>
                    <a:pt x="125134" y="27291"/>
                    <a:pt x="125134" y="27291"/>
                  </a:cubicBezTo>
                  <a:lnTo>
                    <a:pt x="113382" y="27291"/>
                  </a:lnTo>
                  <a:cubicBezTo>
                    <a:pt x="113382" y="27291"/>
                    <a:pt x="103989" y="13738"/>
                    <a:pt x="94639" y="8291"/>
                  </a:cubicBezTo>
                  <a:cubicBezTo>
                    <a:pt x="85247" y="2887"/>
                    <a:pt x="68820" y="10993"/>
                    <a:pt x="68820" y="10993"/>
                  </a:cubicBezTo>
                  <a:cubicBezTo>
                    <a:pt x="68820" y="10993"/>
                    <a:pt x="50035" y="13695"/>
                    <a:pt x="38283" y="10993"/>
                  </a:cubicBezTo>
                  <a:cubicBezTo>
                    <a:pt x="26531" y="8291"/>
                    <a:pt x="28890" y="27291"/>
                    <a:pt x="19497" y="29993"/>
                  </a:cubicBezTo>
                  <a:cubicBezTo>
                    <a:pt x="19111" y="30122"/>
                    <a:pt x="18425" y="30336"/>
                    <a:pt x="17782" y="30508"/>
                  </a:cubicBezTo>
                  <a:cubicBezTo>
                    <a:pt x="16710" y="41573"/>
                    <a:pt x="15080" y="52853"/>
                    <a:pt x="10148" y="61431"/>
                  </a:cubicBezTo>
                  <a:cubicBezTo>
                    <a:pt x="7060" y="66792"/>
                    <a:pt x="6159" y="72796"/>
                    <a:pt x="6502" y="78887"/>
                  </a:cubicBezTo>
                  <a:cubicBezTo>
                    <a:pt x="18468" y="86993"/>
                    <a:pt x="23701" y="101876"/>
                    <a:pt x="22157" y="115900"/>
                  </a:cubicBezTo>
                  <a:cubicBezTo>
                    <a:pt x="22242" y="116029"/>
                    <a:pt x="22371" y="116158"/>
                    <a:pt x="22457" y="116286"/>
                  </a:cubicBezTo>
                  <a:cubicBezTo>
                    <a:pt x="24087" y="118045"/>
                    <a:pt x="24601" y="120618"/>
                    <a:pt x="24430" y="123578"/>
                  </a:cubicBezTo>
                  <a:cubicBezTo>
                    <a:pt x="42401" y="125679"/>
                    <a:pt x="52436" y="123535"/>
                    <a:pt x="66718" y="115600"/>
                  </a:cubicBezTo>
                  <a:cubicBezTo>
                    <a:pt x="81087" y="107623"/>
                    <a:pt x="82330" y="130054"/>
                    <a:pt x="98542" y="131512"/>
                  </a:cubicBezTo>
                  <a:cubicBezTo>
                    <a:pt x="114798" y="132970"/>
                    <a:pt x="116685" y="134386"/>
                    <a:pt x="116685" y="134386"/>
                  </a:cubicBezTo>
                  <a:cubicBezTo>
                    <a:pt x="116685" y="134386"/>
                    <a:pt x="106048" y="142320"/>
                    <a:pt x="96055" y="140862"/>
                  </a:cubicBezTo>
                  <a:cubicBezTo>
                    <a:pt x="86104" y="139404"/>
                    <a:pt x="74825" y="124993"/>
                    <a:pt x="67962" y="132198"/>
                  </a:cubicBezTo>
                  <a:cubicBezTo>
                    <a:pt x="61100" y="139404"/>
                    <a:pt x="39870" y="143778"/>
                    <a:pt x="29877" y="144465"/>
                  </a:cubicBezTo>
                  <a:cubicBezTo>
                    <a:pt x="29405" y="144508"/>
                    <a:pt x="28719" y="144636"/>
                    <a:pt x="27904" y="144808"/>
                  </a:cubicBezTo>
                  <a:cubicBezTo>
                    <a:pt x="31635" y="152056"/>
                    <a:pt x="34551" y="159733"/>
                    <a:pt x="36224" y="168140"/>
                  </a:cubicBezTo>
                  <a:cubicBezTo>
                    <a:pt x="42272" y="168740"/>
                    <a:pt x="40299" y="174401"/>
                    <a:pt x="44244" y="174830"/>
                  </a:cubicBezTo>
                  <a:cubicBezTo>
                    <a:pt x="50507" y="175559"/>
                    <a:pt x="62987" y="166124"/>
                    <a:pt x="62987" y="166124"/>
                  </a:cubicBezTo>
                  <a:cubicBezTo>
                    <a:pt x="62987" y="166124"/>
                    <a:pt x="104847" y="162521"/>
                    <a:pt x="111709" y="161792"/>
                  </a:cubicBezTo>
                  <a:cubicBezTo>
                    <a:pt x="114154" y="161534"/>
                    <a:pt x="117199" y="162735"/>
                    <a:pt x="120159" y="164365"/>
                  </a:cubicBezTo>
                  <a:cubicBezTo>
                    <a:pt x="120287" y="162306"/>
                    <a:pt x="120245" y="160805"/>
                    <a:pt x="120245" y="160805"/>
                  </a:cubicBezTo>
                  <a:cubicBezTo>
                    <a:pt x="120245" y="160805"/>
                    <a:pt x="142461" y="165952"/>
                    <a:pt x="143962" y="171914"/>
                  </a:cubicBezTo>
                  <a:cubicBezTo>
                    <a:pt x="145421" y="177918"/>
                    <a:pt x="175786" y="182207"/>
                    <a:pt x="192856" y="175345"/>
                  </a:cubicBezTo>
                  <a:cubicBezTo>
                    <a:pt x="194100" y="174830"/>
                    <a:pt x="195301" y="174316"/>
                    <a:pt x="196544" y="173844"/>
                  </a:cubicBezTo>
                  <a:cubicBezTo>
                    <a:pt x="196759" y="165995"/>
                    <a:pt x="197016" y="153257"/>
                    <a:pt x="196330" y="149397"/>
                  </a:cubicBezTo>
                  <a:cubicBezTo>
                    <a:pt x="195301" y="143607"/>
                    <a:pt x="184450" y="131083"/>
                    <a:pt x="178531" y="124221"/>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45" name="Freeform: Shape 95">
              <a:extLst>
                <a:ext uri="{FF2B5EF4-FFF2-40B4-BE49-F238E27FC236}">
                  <a16:creationId xmlns:a16="http://schemas.microsoft.com/office/drawing/2014/main" id="{273A77C5-596F-82E5-E017-1C19FDC85F33}"/>
                </a:ext>
              </a:extLst>
            </p:cNvPr>
            <p:cNvSpPr/>
            <p:nvPr/>
          </p:nvSpPr>
          <p:spPr>
            <a:xfrm>
              <a:off x="6582401" y="4059509"/>
              <a:ext cx="72167" cy="55766"/>
            </a:xfrm>
            <a:custGeom>
              <a:avLst/>
              <a:gdLst>
                <a:gd name="connsiteX0" fmla="*/ 33196 w 94356"/>
                <a:gd name="connsiteY0" fmla="*/ 10757 h 72911"/>
                <a:gd name="connsiteX1" fmla="*/ 14454 w 94356"/>
                <a:gd name="connsiteY1" fmla="*/ 19464 h 72911"/>
                <a:gd name="connsiteX2" fmla="*/ 6433 w 94356"/>
                <a:gd name="connsiteY2" fmla="*/ 12773 h 72911"/>
                <a:gd name="connsiteX3" fmla="*/ 7291 w 94356"/>
                <a:gd name="connsiteY3" fmla="*/ 17534 h 72911"/>
                <a:gd name="connsiteX4" fmla="*/ 7420 w 94356"/>
                <a:gd name="connsiteY4" fmla="*/ 28256 h 72911"/>
                <a:gd name="connsiteX5" fmla="*/ 24318 w 94356"/>
                <a:gd name="connsiteY5" fmla="*/ 38035 h 72911"/>
                <a:gd name="connsiteX6" fmla="*/ 38600 w 94356"/>
                <a:gd name="connsiteY6" fmla="*/ 67156 h 72911"/>
                <a:gd name="connsiteX7" fmla="*/ 42418 w 94356"/>
                <a:gd name="connsiteY7" fmla="*/ 70416 h 72911"/>
                <a:gd name="connsiteX8" fmla="*/ 46020 w 94356"/>
                <a:gd name="connsiteY8" fmla="*/ 66299 h 72911"/>
                <a:gd name="connsiteX9" fmla="*/ 73426 w 94356"/>
                <a:gd name="connsiteY9" fmla="*/ 47427 h 72911"/>
                <a:gd name="connsiteX10" fmla="*/ 85264 w 94356"/>
                <a:gd name="connsiteY10" fmla="*/ 41423 h 72911"/>
                <a:gd name="connsiteX11" fmla="*/ 83034 w 94356"/>
                <a:gd name="connsiteY11" fmla="*/ 23452 h 72911"/>
                <a:gd name="connsiteX12" fmla="*/ 90368 w 94356"/>
                <a:gd name="connsiteY12" fmla="*/ 9042 h 72911"/>
                <a:gd name="connsiteX13" fmla="*/ 81918 w 94356"/>
                <a:gd name="connsiteY13" fmla="*/ 6468 h 72911"/>
                <a:gd name="connsiteX14" fmla="*/ 33196 w 94356"/>
                <a:gd name="connsiteY14" fmla="*/ 10757 h 7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356" h="72911">
                  <a:moveTo>
                    <a:pt x="33196" y="10757"/>
                  </a:moveTo>
                  <a:cubicBezTo>
                    <a:pt x="33196" y="10757"/>
                    <a:pt x="20673" y="20150"/>
                    <a:pt x="14454" y="19464"/>
                  </a:cubicBezTo>
                  <a:cubicBezTo>
                    <a:pt x="10508" y="18992"/>
                    <a:pt x="12481" y="13373"/>
                    <a:pt x="6433" y="12773"/>
                  </a:cubicBezTo>
                  <a:cubicBezTo>
                    <a:pt x="6734" y="14360"/>
                    <a:pt x="7077" y="15904"/>
                    <a:pt x="7291" y="17534"/>
                  </a:cubicBezTo>
                  <a:cubicBezTo>
                    <a:pt x="7806" y="21308"/>
                    <a:pt x="7806" y="24868"/>
                    <a:pt x="7420" y="28256"/>
                  </a:cubicBezTo>
                  <a:cubicBezTo>
                    <a:pt x="10937" y="32116"/>
                    <a:pt x="15526" y="35161"/>
                    <a:pt x="24318" y="38035"/>
                  </a:cubicBezTo>
                  <a:cubicBezTo>
                    <a:pt x="43576" y="44296"/>
                    <a:pt x="22817" y="55748"/>
                    <a:pt x="38600" y="67156"/>
                  </a:cubicBezTo>
                  <a:cubicBezTo>
                    <a:pt x="40101" y="68229"/>
                    <a:pt x="41259" y="69344"/>
                    <a:pt x="42418" y="70416"/>
                  </a:cubicBezTo>
                  <a:cubicBezTo>
                    <a:pt x="43919" y="68486"/>
                    <a:pt x="45163" y="66985"/>
                    <a:pt x="46020" y="66299"/>
                  </a:cubicBezTo>
                  <a:cubicBezTo>
                    <a:pt x="53440" y="60294"/>
                    <a:pt x="68237" y="44854"/>
                    <a:pt x="73426" y="47427"/>
                  </a:cubicBezTo>
                  <a:cubicBezTo>
                    <a:pt x="78616" y="50001"/>
                    <a:pt x="85264" y="44854"/>
                    <a:pt x="85264" y="41423"/>
                  </a:cubicBezTo>
                  <a:cubicBezTo>
                    <a:pt x="85264" y="37992"/>
                    <a:pt x="74885" y="26883"/>
                    <a:pt x="83034" y="23452"/>
                  </a:cubicBezTo>
                  <a:cubicBezTo>
                    <a:pt x="88652" y="21136"/>
                    <a:pt x="90025" y="13588"/>
                    <a:pt x="90368" y="9042"/>
                  </a:cubicBezTo>
                  <a:cubicBezTo>
                    <a:pt x="87451" y="7412"/>
                    <a:pt x="84363" y="6211"/>
                    <a:pt x="81918" y="6468"/>
                  </a:cubicBezTo>
                  <a:cubicBezTo>
                    <a:pt x="75013" y="7154"/>
                    <a:pt x="33196" y="10757"/>
                    <a:pt x="33196" y="10757"/>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46" name="Freeform: Shape 97">
              <a:extLst>
                <a:ext uri="{FF2B5EF4-FFF2-40B4-BE49-F238E27FC236}">
                  <a16:creationId xmlns:a16="http://schemas.microsoft.com/office/drawing/2014/main" id="{4CFF777A-CBEA-CA23-8EAA-09EB2BB951BF}"/>
                </a:ext>
              </a:extLst>
            </p:cNvPr>
            <p:cNvSpPr/>
            <p:nvPr/>
          </p:nvSpPr>
          <p:spPr>
            <a:xfrm>
              <a:off x="7068633" y="4023978"/>
              <a:ext cx="308351" cy="285389"/>
            </a:xfrm>
            <a:custGeom>
              <a:avLst/>
              <a:gdLst>
                <a:gd name="connsiteX0" fmla="*/ 396786 w 403159"/>
                <a:gd name="connsiteY0" fmla="*/ 71324 h 373136"/>
                <a:gd name="connsiteX1" fmla="*/ 382976 w 403159"/>
                <a:gd name="connsiteY1" fmla="*/ 55326 h 373136"/>
                <a:gd name="connsiteX2" fmla="*/ 385034 w 403159"/>
                <a:gd name="connsiteY2" fmla="*/ 34525 h 373136"/>
                <a:gd name="connsiteX3" fmla="*/ 372082 w 403159"/>
                <a:gd name="connsiteY3" fmla="*/ 18784 h 373136"/>
                <a:gd name="connsiteX4" fmla="*/ 360244 w 403159"/>
                <a:gd name="connsiteY4" fmla="*/ 10807 h 373136"/>
                <a:gd name="connsiteX5" fmla="*/ 336570 w 403159"/>
                <a:gd name="connsiteY5" fmla="*/ 35940 h 373136"/>
                <a:gd name="connsiteX6" fmla="*/ 308906 w 403159"/>
                <a:gd name="connsiteY6" fmla="*/ 27963 h 373136"/>
                <a:gd name="connsiteX7" fmla="*/ 266445 w 403159"/>
                <a:gd name="connsiteY7" fmla="*/ 26848 h 373136"/>
                <a:gd name="connsiteX8" fmla="*/ 241784 w 403159"/>
                <a:gd name="connsiteY8" fmla="*/ 45076 h 373136"/>
                <a:gd name="connsiteX9" fmla="*/ 209188 w 403159"/>
                <a:gd name="connsiteY9" fmla="*/ 45076 h 373136"/>
                <a:gd name="connsiteX10" fmla="*/ 183498 w 403159"/>
                <a:gd name="connsiteY10" fmla="*/ 29121 h 373136"/>
                <a:gd name="connsiteX11" fmla="*/ 155877 w 403159"/>
                <a:gd name="connsiteY11" fmla="*/ 38256 h 373136"/>
                <a:gd name="connsiteX12" fmla="*/ 137134 w 403159"/>
                <a:gd name="connsiteY12" fmla="*/ 17712 h 373136"/>
                <a:gd name="connsiteX13" fmla="*/ 110457 w 403159"/>
                <a:gd name="connsiteY13" fmla="*/ 8577 h 373136"/>
                <a:gd name="connsiteX14" fmla="*/ 90728 w 403159"/>
                <a:gd name="connsiteY14" fmla="*/ 16554 h 373136"/>
                <a:gd name="connsiteX15" fmla="*/ 60105 w 403159"/>
                <a:gd name="connsiteY15" fmla="*/ 16554 h 373136"/>
                <a:gd name="connsiteX16" fmla="*/ 52213 w 403159"/>
                <a:gd name="connsiteY16" fmla="*/ 47391 h 373136"/>
                <a:gd name="connsiteX17" fmla="*/ 37417 w 403159"/>
                <a:gd name="connsiteY17" fmla="*/ 74798 h 373136"/>
                <a:gd name="connsiteX18" fmla="*/ 34243 w 403159"/>
                <a:gd name="connsiteY18" fmla="*/ 82432 h 373136"/>
                <a:gd name="connsiteX19" fmla="*/ 37631 w 403159"/>
                <a:gd name="connsiteY19" fmla="*/ 108466 h 373136"/>
                <a:gd name="connsiteX20" fmla="*/ 33900 w 403159"/>
                <a:gd name="connsiteY20" fmla="*/ 163278 h 373136"/>
                <a:gd name="connsiteX21" fmla="*/ 21333 w 403159"/>
                <a:gd name="connsiteY21" fmla="*/ 185581 h 373136"/>
                <a:gd name="connsiteX22" fmla="*/ 7266 w 403159"/>
                <a:gd name="connsiteY22" fmla="*/ 213845 h 373136"/>
                <a:gd name="connsiteX23" fmla="*/ 7994 w 403159"/>
                <a:gd name="connsiteY23" fmla="*/ 259265 h 373136"/>
                <a:gd name="connsiteX24" fmla="*/ 18202 w 403159"/>
                <a:gd name="connsiteY24" fmla="*/ 289716 h 373136"/>
                <a:gd name="connsiteX25" fmla="*/ 18588 w 403159"/>
                <a:gd name="connsiteY25" fmla="*/ 290102 h 373136"/>
                <a:gd name="connsiteX26" fmla="*/ 23263 w 403159"/>
                <a:gd name="connsiteY26" fmla="*/ 294091 h 373136"/>
                <a:gd name="connsiteX27" fmla="*/ 35229 w 403159"/>
                <a:gd name="connsiteY27" fmla="*/ 298423 h 373136"/>
                <a:gd name="connsiteX28" fmla="*/ 68426 w 403159"/>
                <a:gd name="connsiteY28" fmla="*/ 304985 h 373136"/>
                <a:gd name="connsiteX29" fmla="*/ 100035 w 403159"/>
                <a:gd name="connsiteY29" fmla="*/ 344400 h 373136"/>
                <a:gd name="connsiteX30" fmla="*/ 100850 w 403159"/>
                <a:gd name="connsiteY30" fmla="*/ 350362 h 373136"/>
                <a:gd name="connsiteX31" fmla="*/ 150945 w 403159"/>
                <a:gd name="connsiteY31" fmla="*/ 369104 h 373136"/>
                <a:gd name="connsiteX32" fmla="*/ 151845 w 403159"/>
                <a:gd name="connsiteY32" fmla="*/ 368975 h 373136"/>
                <a:gd name="connsiteX33" fmla="*/ 196278 w 403159"/>
                <a:gd name="connsiteY33" fmla="*/ 363271 h 373136"/>
                <a:gd name="connsiteX34" fmla="*/ 201640 w 403159"/>
                <a:gd name="connsiteY34" fmla="*/ 362971 h 373136"/>
                <a:gd name="connsiteX35" fmla="*/ 211376 w 403159"/>
                <a:gd name="connsiteY35" fmla="*/ 321540 h 373136"/>
                <a:gd name="connsiteX36" fmla="*/ 249633 w 403159"/>
                <a:gd name="connsiteY36" fmla="*/ 279337 h 373136"/>
                <a:gd name="connsiteX37" fmla="*/ 269405 w 403159"/>
                <a:gd name="connsiteY37" fmla="*/ 275906 h 373136"/>
                <a:gd name="connsiteX38" fmla="*/ 293123 w 403159"/>
                <a:gd name="connsiteY38" fmla="*/ 295292 h 373136"/>
                <a:gd name="connsiteX39" fmla="*/ 306976 w 403159"/>
                <a:gd name="connsiteY39" fmla="*/ 278179 h 373136"/>
                <a:gd name="connsiteX40" fmla="*/ 331637 w 403159"/>
                <a:gd name="connsiteY40" fmla="*/ 218820 h 373136"/>
                <a:gd name="connsiteX41" fmla="*/ 347463 w 403159"/>
                <a:gd name="connsiteY41" fmla="*/ 195960 h 373136"/>
                <a:gd name="connsiteX42" fmla="*/ 351409 w 403159"/>
                <a:gd name="connsiteY42" fmla="*/ 175416 h 373136"/>
                <a:gd name="connsiteX43" fmla="*/ 359301 w 403159"/>
                <a:gd name="connsiteY43" fmla="*/ 150283 h 373136"/>
                <a:gd name="connsiteX44" fmla="*/ 379030 w 403159"/>
                <a:gd name="connsiteY44" fmla="*/ 107994 h 373136"/>
                <a:gd name="connsiteX45" fmla="*/ 398802 w 403159"/>
                <a:gd name="connsiteY45" fmla="*/ 95428 h 373136"/>
                <a:gd name="connsiteX46" fmla="*/ 396786 w 403159"/>
                <a:gd name="connsiteY46" fmla="*/ 71324 h 373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03159" h="373136">
                  <a:moveTo>
                    <a:pt x="396786" y="71324"/>
                  </a:moveTo>
                  <a:cubicBezTo>
                    <a:pt x="390867" y="69008"/>
                    <a:pt x="382976" y="61030"/>
                    <a:pt x="382976" y="55326"/>
                  </a:cubicBezTo>
                  <a:cubicBezTo>
                    <a:pt x="382976" y="52109"/>
                    <a:pt x="383319" y="42717"/>
                    <a:pt x="385034" y="34525"/>
                  </a:cubicBezTo>
                  <a:cubicBezTo>
                    <a:pt x="377143" y="33238"/>
                    <a:pt x="376714" y="24103"/>
                    <a:pt x="372082" y="18784"/>
                  </a:cubicBezTo>
                  <a:cubicBezTo>
                    <a:pt x="367150" y="13080"/>
                    <a:pt x="367150" y="8534"/>
                    <a:pt x="360244" y="10807"/>
                  </a:cubicBezTo>
                  <a:cubicBezTo>
                    <a:pt x="353339" y="13123"/>
                    <a:pt x="345448" y="32509"/>
                    <a:pt x="336570" y="35940"/>
                  </a:cubicBezTo>
                  <a:cubicBezTo>
                    <a:pt x="327691" y="39371"/>
                    <a:pt x="314868" y="31351"/>
                    <a:pt x="308906" y="27963"/>
                  </a:cubicBezTo>
                  <a:cubicBezTo>
                    <a:pt x="302987" y="24531"/>
                    <a:pt x="275324" y="27963"/>
                    <a:pt x="266445" y="26848"/>
                  </a:cubicBezTo>
                  <a:cubicBezTo>
                    <a:pt x="257567" y="25690"/>
                    <a:pt x="248647" y="40529"/>
                    <a:pt x="241784" y="45076"/>
                  </a:cubicBezTo>
                  <a:cubicBezTo>
                    <a:pt x="234879" y="49665"/>
                    <a:pt x="215107" y="47391"/>
                    <a:pt x="209188" y="45076"/>
                  </a:cubicBezTo>
                  <a:cubicBezTo>
                    <a:pt x="203269" y="42802"/>
                    <a:pt x="189416" y="29121"/>
                    <a:pt x="183498" y="29121"/>
                  </a:cubicBezTo>
                  <a:cubicBezTo>
                    <a:pt x="177579" y="29121"/>
                    <a:pt x="165741" y="31394"/>
                    <a:pt x="155877" y="38256"/>
                  </a:cubicBezTo>
                  <a:cubicBezTo>
                    <a:pt x="146012" y="45118"/>
                    <a:pt x="143053" y="25690"/>
                    <a:pt x="137134" y="17712"/>
                  </a:cubicBezTo>
                  <a:cubicBezTo>
                    <a:pt x="131216" y="9735"/>
                    <a:pt x="118349" y="16554"/>
                    <a:pt x="110457" y="8577"/>
                  </a:cubicBezTo>
                  <a:cubicBezTo>
                    <a:pt x="102565" y="556"/>
                    <a:pt x="97590" y="17712"/>
                    <a:pt x="90728" y="16554"/>
                  </a:cubicBezTo>
                  <a:cubicBezTo>
                    <a:pt x="83823" y="15396"/>
                    <a:pt x="66024" y="10850"/>
                    <a:pt x="60105" y="16554"/>
                  </a:cubicBezTo>
                  <a:cubicBezTo>
                    <a:pt x="54186" y="22301"/>
                    <a:pt x="55173" y="43960"/>
                    <a:pt x="52213" y="47391"/>
                  </a:cubicBezTo>
                  <a:cubicBezTo>
                    <a:pt x="49254" y="50823"/>
                    <a:pt x="37417" y="66778"/>
                    <a:pt x="37417" y="74798"/>
                  </a:cubicBezTo>
                  <a:cubicBezTo>
                    <a:pt x="37417" y="78486"/>
                    <a:pt x="36216" y="81060"/>
                    <a:pt x="34243" y="82432"/>
                  </a:cubicBezTo>
                  <a:cubicBezTo>
                    <a:pt x="35572" y="91911"/>
                    <a:pt x="37202" y="104005"/>
                    <a:pt x="37631" y="108466"/>
                  </a:cubicBezTo>
                  <a:cubicBezTo>
                    <a:pt x="38360" y="116186"/>
                    <a:pt x="41319" y="154701"/>
                    <a:pt x="33900" y="163278"/>
                  </a:cubicBezTo>
                  <a:cubicBezTo>
                    <a:pt x="26480" y="171856"/>
                    <a:pt x="21333" y="185581"/>
                    <a:pt x="21333" y="185581"/>
                  </a:cubicBezTo>
                  <a:cubicBezTo>
                    <a:pt x="21333" y="185581"/>
                    <a:pt x="9453" y="195016"/>
                    <a:pt x="7266" y="213845"/>
                  </a:cubicBezTo>
                  <a:cubicBezTo>
                    <a:pt x="5035" y="232673"/>
                    <a:pt x="7994" y="244682"/>
                    <a:pt x="7994" y="259265"/>
                  </a:cubicBezTo>
                  <a:cubicBezTo>
                    <a:pt x="7994" y="269558"/>
                    <a:pt x="14599" y="276935"/>
                    <a:pt x="18202" y="289716"/>
                  </a:cubicBezTo>
                  <a:cubicBezTo>
                    <a:pt x="18331" y="289888"/>
                    <a:pt x="18503" y="289888"/>
                    <a:pt x="18588" y="290102"/>
                  </a:cubicBezTo>
                  <a:cubicBezTo>
                    <a:pt x="19575" y="291646"/>
                    <a:pt x="21205" y="292933"/>
                    <a:pt x="23263" y="294091"/>
                  </a:cubicBezTo>
                  <a:cubicBezTo>
                    <a:pt x="27423" y="295249"/>
                    <a:pt x="31412" y="296707"/>
                    <a:pt x="35229" y="298423"/>
                  </a:cubicBezTo>
                  <a:cubicBezTo>
                    <a:pt x="45952" y="301125"/>
                    <a:pt x="59290" y="302669"/>
                    <a:pt x="68426" y="304985"/>
                  </a:cubicBezTo>
                  <a:cubicBezTo>
                    <a:pt x="84252" y="309016"/>
                    <a:pt x="100507" y="334664"/>
                    <a:pt x="100035" y="344400"/>
                  </a:cubicBezTo>
                  <a:cubicBezTo>
                    <a:pt x="99949" y="346116"/>
                    <a:pt x="100335" y="348174"/>
                    <a:pt x="100850" y="350362"/>
                  </a:cubicBezTo>
                  <a:cubicBezTo>
                    <a:pt x="115432" y="360784"/>
                    <a:pt x="133231" y="364429"/>
                    <a:pt x="150945" y="369104"/>
                  </a:cubicBezTo>
                  <a:cubicBezTo>
                    <a:pt x="151245" y="369061"/>
                    <a:pt x="151588" y="368975"/>
                    <a:pt x="151845" y="368975"/>
                  </a:cubicBezTo>
                  <a:cubicBezTo>
                    <a:pt x="160251" y="368975"/>
                    <a:pt x="190360" y="369576"/>
                    <a:pt x="196278" y="363271"/>
                  </a:cubicBezTo>
                  <a:cubicBezTo>
                    <a:pt x="198037" y="361427"/>
                    <a:pt x="199796" y="361642"/>
                    <a:pt x="201640" y="362971"/>
                  </a:cubicBezTo>
                  <a:cubicBezTo>
                    <a:pt x="208759" y="341012"/>
                    <a:pt x="211376" y="321540"/>
                    <a:pt x="211376" y="321540"/>
                  </a:cubicBezTo>
                  <a:cubicBezTo>
                    <a:pt x="211376" y="321540"/>
                    <a:pt x="245687" y="280495"/>
                    <a:pt x="249633" y="279337"/>
                  </a:cubicBezTo>
                  <a:cubicBezTo>
                    <a:pt x="253621" y="278179"/>
                    <a:pt x="262457" y="281610"/>
                    <a:pt x="269405" y="275906"/>
                  </a:cubicBezTo>
                  <a:cubicBezTo>
                    <a:pt x="276310" y="270201"/>
                    <a:pt x="291150" y="283883"/>
                    <a:pt x="293123" y="295292"/>
                  </a:cubicBezTo>
                  <a:cubicBezTo>
                    <a:pt x="295096" y="306743"/>
                    <a:pt x="301057" y="290745"/>
                    <a:pt x="306976" y="278179"/>
                  </a:cubicBezTo>
                  <a:cubicBezTo>
                    <a:pt x="312895" y="265612"/>
                    <a:pt x="331637" y="227956"/>
                    <a:pt x="331637" y="218820"/>
                  </a:cubicBezTo>
                  <a:cubicBezTo>
                    <a:pt x="331637" y="209642"/>
                    <a:pt x="347463" y="201707"/>
                    <a:pt x="347463" y="195960"/>
                  </a:cubicBezTo>
                  <a:cubicBezTo>
                    <a:pt x="347463" y="190256"/>
                    <a:pt x="346477" y="177689"/>
                    <a:pt x="351409" y="175416"/>
                  </a:cubicBezTo>
                  <a:cubicBezTo>
                    <a:pt x="356342" y="173143"/>
                    <a:pt x="360287" y="156030"/>
                    <a:pt x="359301" y="150283"/>
                  </a:cubicBezTo>
                  <a:cubicBezTo>
                    <a:pt x="358314" y="144579"/>
                    <a:pt x="376071" y="112626"/>
                    <a:pt x="379030" y="107994"/>
                  </a:cubicBezTo>
                  <a:cubicBezTo>
                    <a:pt x="381989" y="103448"/>
                    <a:pt x="397772" y="105721"/>
                    <a:pt x="398802" y="95428"/>
                  </a:cubicBezTo>
                  <a:cubicBezTo>
                    <a:pt x="399746" y="85048"/>
                    <a:pt x="402705" y="73597"/>
                    <a:pt x="396786" y="71324"/>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47" name="Freeform: Shape 103">
              <a:extLst>
                <a:ext uri="{FF2B5EF4-FFF2-40B4-BE49-F238E27FC236}">
                  <a16:creationId xmlns:a16="http://schemas.microsoft.com/office/drawing/2014/main" id="{D48C1A91-A2E1-1A10-3D40-B522749C52B3}"/>
                </a:ext>
              </a:extLst>
            </p:cNvPr>
            <p:cNvSpPr/>
            <p:nvPr/>
          </p:nvSpPr>
          <p:spPr>
            <a:xfrm>
              <a:off x="6609923" y="4058782"/>
              <a:ext cx="200101" cy="173858"/>
            </a:xfrm>
            <a:custGeom>
              <a:avLst/>
              <a:gdLst>
                <a:gd name="connsiteX0" fmla="*/ 30237 w 261624"/>
                <a:gd name="connsiteY0" fmla="*/ 105208 h 227313"/>
                <a:gd name="connsiteX1" fmla="*/ 34869 w 261624"/>
                <a:gd name="connsiteY1" fmla="*/ 109196 h 227313"/>
                <a:gd name="connsiteX2" fmla="*/ 72655 w 261624"/>
                <a:gd name="connsiteY2" fmla="*/ 147925 h 227313"/>
                <a:gd name="connsiteX3" fmla="*/ 90754 w 261624"/>
                <a:gd name="connsiteY3" fmla="*/ 123778 h 227313"/>
                <a:gd name="connsiteX4" fmla="*/ 106323 w 261624"/>
                <a:gd name="connsiteY4" fmla="*/ 119490 h 227313"/>
                <a:gd name="connsiteX5" fmla="*/ 131499 w 261624"/>
                <a:gd name="connsiteY5" fmla="*/ 113528 h 227313"/>
                <a:gd name="connsiteX6" fmla="*/ 158176 w 261624"/>
                <a:gd name="connsiteY6" fmla="*/ 152043 h 227313"/>
                <a:gd name="connsiteX7" fmla="*/ 162636 w 261624"/>
                <a:gd name="connsiteY7" fmla="*/ 175160 h 227313"/>
                <a:gd name="connsiteX8" fmla="*/ 163666 w 261624"/>
                <a:gd name="connsiteY8" fmla="*/ 177862 h 227313"/>
                <a:gd name="connsiteX9" fmla="*/ 187812 w 261624"/>
                <a:gd name="connsiteY9" fmla="*/ 173016 h 227313"/>
                <a:gd name="connsiteX10" fmla="*/ 197248 w 261624"/>
                <a:gd name="connsiteY10" fmla="*/ 205869 h 227313"/>
                <a:gd name="connsiteX11" fmla="*/ 213288 w 261624"/>
                <a:gd name="connsiteY11" fmla="*/ 219379 h 227313"/>
                <a:gd name="connsiteX12" fmla="*/ 226370 w 261624"/>
                <a:gd name="connsiteY12" fmla="*/ 207541 h 227313"/>
                <a:gd name="connsiteX13" fmla="*/ 233017 w 261624"/>
                <a:gd name="connsiteY13" fmla="*/ 213331 h 227313"/>
                <a:gd name="connsiteX14" fmla="*/ 241853 w 261624"/>
                <a:gd name="connsiteY14" fmla="*/ 201709 h 227313"/>
                <a:gd name="connsiteX15" fmla="*/ 238893 w 261624"/>
                <a:gd name="connsiteY15" fmla="*/ 178548 h 227313"/>
                <a:gd name="connsiteX16" fmla="*/ 254462 w 261624"/>
                <a:gd name="connsiteY16" fmla="*/ 176018 h 227313"/>
                <a:gd name="connsiteX17" fmla="*/ 248543 w 261624"/>
                <a:gd name="connsiteY17" fmla="*/ 152000 h 227313"/>
                <a:gd name="connsiteX18" fmla="*/ 242625 w 261624"/>
                <a:gd name="connsiteY18" fmla="*/ 134029 h 227313"/>
                <a:gd name="connsiteX19" fmla="*/ 242668 w 261624"/>
                <a:gd name="connsiteY19" fmla="*/ 103235 h 227313"/>
                <a:gd name="connsiteX20" fmla="*/ 238164 w 261624"/>
                <a:gd name="connsiteY20" fmla="*/ 97788 h 227313"/>
                <a:gd name="connsiteX21" fmla="*/ 230273 w 261624"/>
                <a:gd name="connsiteY21" fmla="*/ 76086 h 227313"/>
                <a:gd name="connsiteX22" fmla="*/ 230273 w 261624"/>
                <a:gd name="connsiteY22" fmla="*/ 62361 h 227313"/>
                <a:gd name="connsiteX23" fmla="*/ 218435 w 261624"/>
                <a:gd name="connsiteY23" fmla="*/ 44090 h 227313"/>
                <a:gd name="connsiteX24" fmla="*/ 205612 w 261624"/>
                <a:gd name="connsiteY24" fmla="*/ 15526 h 227313"/>
                <a:gd name="connsiteX25" fmla="*/ 181894 w 261624"/>
                <a:gd name="connsiteY25" fmla="*/ 34955 h 227313"/>
                <a:gd name="connsiteX26" fmla="*/ 159205 w 261624"/>
                <a:gd name="connsiteY26" fmla="*/ 32682 h 227313"/>
                <a:gd name="connsiteX27" fmla="*/ 140420 w 261624"/>
                <a:gd name="connsiteY27" fmla="*/ 36156 h 227313"/>
                <a:gd name="connsiteX28" fmla="*/ 130555 w 261624"/>
                <a:gd name="connsiteY28" fmla="*/ 25862 h 227313"/>
                <a:gd name="connsiteX29" fmla="*/ 130769 w 261624"/>
                <a:gd name="connsiteY29" fmla="*/ 19472 h 227313"/>
                <a:gd name="connsiteX30" fmla="*/ 127081 w 261624"/>
                <a:gd name="connsiteY30" fmla="*/ 20973 h 227313"/>
                <a:gd name="connsiteX31" fmla="*/ 78187 w 261624"/>
                <a:gd name="connsiteY31" fmla="*/ 17542 h 227313"/>
                <a:gd name="connsiteX32" fmla="*/ 54469 w 261624"/>
                <a:gd name="connsiteY32" fmla="*/ 6433 h 227313"/>
                <a:gd name="connsiteX33" fmla="*/ 47049 w 261624"/>
                <a:gd name="connsiteY33" fmla="*/ 24404 h 227313"/>
                <a:gd name="connsiteX34" fmla="*/ 49280 w 261624"/>
                <a:gd name="connsiteY34" fmla="*/ 42375 h 227313"/>
                <a:gd name="connsiteX35" fmla="*/ 37442 w 261624"/>
                <a:gd name="connsiteY35" fmla="*/ 48379 h 227313"/>
                <a:gd name="connsiteX36" fmla="*/ 10036 w 261624"/>
                <a:gd name="connsiteY36" fmla="*/ 67250 h 227313"/>
                <a:gd name="connsiteX37" fmla="*/ 6433 w 261624"/>
                <a:gd name="connsiteY37" fmla="*/ 71368 h 227313"/>
                <a:gd name="connsiteX38" fmla="*/ 30237 w 261624"/>
                <a:gd name="connsiteY38" fmla="*/ 105208 h 22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61624" h="227313">
                  <a:moveTo>
                    <a:pt x="30237" y="105208"/>
                  </a:moveTo>
                  <a:cubicBezTo>
                    <a:pt x="31738" y="106451"/>
                    <a:pt x="33282" y="107781"/>
                    <a:pt x="34869" y="109196"/>
                  </a:cubicBezTo>
                  <a:cubicBezTo>
                    <a:pt x="50009" y="118718"/>
                    <a:pt x="62189" y="132399"/>
                    <a:pt x="72655" y="147925"/>
                  </a:cubicBezTo>
                  <a:cubicBezTo>
                    <a:pt x="81233" y="139262"/>
                    <a:pt x="90325" y="129183"/>
                    <a:pt x="90754" y="123778"/>
                  </a:cubicBezTo>
                  <a:cubicBezTo>
                    <a:pt x="91483" y="114386"/>
                    <a:pt x="98131" y="117774"/>
                    <a:pt x="106323" y="119490"/>
                  </a:cubicBezTo>
                  <a:cubicBezTo>
                    <a:pt x="114472" y="121205"/>
                    <a:pt x="124079" y="113528"/>
                    <a:pt x="131499" y="113528"/>
                  </a:cubicBezTo>
                  <a:cubicBezTo>
                    <a:pt x="138919" y="113528"/>
                    <a:pt x="158176" y="143465"/>
                    <a:pt x="158176" y="152043"/>
                  </a:cubicBezTo>
                  <a:cubicBezTo>
                    <a:pt x="158176" y="160578"/>
                    <a:pt x="158905" y="168341"/>
                    <a:pt x="162636" y="175160"/>
                  </a:cubicBezTo>
                  <a:cubicBezTo>
                    <a:pt x="163108" y="176018"/>
                    <a:pt x="163451" y="176961"/>
                    <a:pt x="163666" y="177862"/>
                  </a:cubicBezTo>
                  <a:cubicBezTo>
                    <a:pt x="175632" y="174688"/>
                    <a:pt x="185496" y="173016"/>
                    <a:pt x="187812" y="173016"/>
                  </a:cubicBezTo>
                  <a:cubicBezTo>
                    <a:pt x="191415" y="173016"/>
                    <a:pt x="198749" y="193216"/>
                    <a:pt x="197248" y="205869"/>
                  </a:cubicBezTo>
                  <a:cubicBezTo>
                    <a:pt x="195790" y="218521"/>
                    <a:pt x="208185" y="227785"/>
                    <a:pt x="213288" y="219379"/>
                  </a:cubicBezTo>
                  <a:cubicBezTo>
                    <a:pt x="218393" y="210930"/>
                    <a:pt x="224912" y="199993"/>
                    <a:pt x="226370" y="207541"/>
                  </a:cubicBezTo>
                  <a:cubicBezTo>
                    <a:pt x="226799" y="209772"/>
                    <a:pt x="229544" y="211702"/>
                    <a:pt x="233017" y="213331"/>
                  </a:cubicBezTo>
                  <a:cubicBezTo>
                    <a:pt x="234862" y="208356"/>
                    <a:pt x="238808" y="206340"/>
                    <a:pt x="241853" y="201709"/>
                  </a:cubicBezTo>
                  <a:cubicBezTo>
                    <a:pt x="246314" y="194846"/>
                    <a:pt x="235205" y="187126"/>
                    <a:pt x="238893" y="178548"/>
                  </a:cubicBezTo>
                  <a:cubicBezTo>
                    <a:pt x="242582" y="169970"/>
                    <a:pt x="249273" y="181979"/>
                    <a:pt x="254462" y="176018"/>
                  </a:cubicBezTo>
                  <a:cubicBezTo>
                    <a:pt x="259652" y="170013"/>
                    <a:pt x="247042" y="157146"/>
                    <a:pt x="248543" y="152000"/>
                  </a:cubicBezTo>
                  <a:cubicBezTo>
                    <a:pt x="250045" y="146853"/>
                    <a:pt x="249273" y="138275"/>
                    <a:pt x="242625" y="134029"/>
                  </a:cubicBezTo>
                  <a:cubicBezTo>
                    <a:pt x="237135" y="130512"/>
                    <a:pt x="240180" y="115930"/>
                    <a:pt x="242668" y="103235"/>
                  </a:cubicBezTo>
                  <a:cubicBezTo>
                    <a:pt x="240952" y="101777"/>
                    <a:pt x="239365" y="99846"/>
                    <a:pt x="238164" y="97788"/>
                  </a:cubicBezTo>
                  <a:cubicBezTo>
                    <a:pt x="234218" y="90968"/>
                    <a:pt x="237178" y="76086"/>
                    <a:pt x="230273" y="76086"/>
                  </a:cubicBezTo>
                  <a:cubicBezTo>
                    <a:pt x="223367" y="76086"/>
                    <a:pt x="224354" y="64634"/>
                    <a:pt x="230273" y="62361"/>
                  </a:cubicBezTo>
                  <a:cubicBezTo>
                    <a:pt x="236192" y="60088"/>
                    <a:pt x="218435" y="52111"/>
                    <a:pt x="218435" y="44090"/>
                  </a:cubicBezTo>
                  <a:cubicBezTo>
                    <a:pt x="218435" y="36113"/>
                    <a:pt x="209557" y="16641"/>
                    <a:pt x="205612" y="15526"/>
                  </a:cubicBezTo>
                  <a:cubicBezTo>
                    <a:pt x="201666" y="14368"/>
                    <a:pt x="187855" y="34955"/>
                    <a:pt x="181894" y="34955"/>
                  </a:cubicBezTo>
                  <a:cubicBezTo>
                    <a:pt x="175975" y="34955"/>
                    <a:pt x="163151" y="21230"/>
                    <a:pt x="159205" y="32682"/>
                  </a:cubicBezTo>
                  <a:cubicBezTo>
                    <a:pt x="155259" y="44090"/>
                    <a:pt x="146381" y="26978"/>
                    <a:pt x="140420" y="36156"/>
                  </a:cubicBezTo>
                  <a:cubicBezTo>
                    <a:pt x="134501" y="45248"/>
                    <a:pt x="130555" y="25862"/>
                    <a:pt x="130555" y="25862"/>
                  </a:cubicBezTo>
                  <a:cubicBezTo>
                    <a:pt x="130555" y="25862"/>
                    <a:pt x="130641" y="23160"/>
                    <a:pt x="130769" y="19472"/>
                  </a:cubicBezTo>
                  <a:cubicBezTo>
                    <a:pt x="129525" y="19987"/>
                    <a:pt x="128325" y="20501"/>
                    <a:pt x="127081" y="20973"/>
                  </a:cubicBezTo>
                  <a:cubicBezTo>
                    <a:pt x="110054" y="27835"/>
                    <a:pt x="79688" y="23546"/>
                    <a:pt x="78187" y="17542"/>
                  </a:cubicBezTo>
                  <a:cubicBezTo>
                    <a:pt x="76686" y="11537"/>
                    <a:pt x="54469" y="6433"/>
                    <a:pt x="54469" y="6433"/>
                  </a:cubicBezTo>
                  <a:cubicBezTo>
                    <a:pt x="54469" y="6433"/>
                    <a:pt x="55199" y="20973"/>
                    <a:pt x="47049" y="24404"/>
                  </a:cubicBezTo>
                  <a:cubicBezTo>
                    <a:pt x="38901" y="27835"/>
                    <a:pt x="49280" y="38986"/>
                    <a:pt x="49280" y="42375"/>
                  </a:cubicBezTo>
                  <a:cubicBezTo>
                    <a:pt x="49280" y="45806"/>
                    <a:pt x="42589" y="50953"/>
                    <a:pt x="37442" y="48379"/>
                  </a:cubicBezTo>
                  <a:cubicBezTo>
                    <a:pt x="32253" y="45806"/>
                    <a:pt x="17456" y="61246"/>
                    <a:pt x="10036" y="67250"/>
                  </a:cubicBezTo>
                  <a:cubicBezTo>
                    <a:pt x="9221" y="67937"/>
                    <a:pt x="7934" y="69438"/>
                    <a:pt x="6433" y="71368"/>
                  </a:cubicBezTo>
                  <a:cubicBezTo>
                    <a:pt x="17842" y="81961"/>
                    <a:pt x="16813" y="93799"/>
                    <a:pt x="30237" y="105208"/>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48" name="Freeform: Shape 104">
              <a:extLst>
                <a:ext uri="{FF2B5EF4-FFF2-40B4-BE49-F238E27FC236}">
                  <a16:creationId xmlns:a16="http://schemas.microsoft.com/office/drawing/2014/main" id="{A9211FF5-12BC-B8E3-44BB-84AC1834D9F4}"/>
                </a:ext>
              </a:extLst>
            </p:cNvPr>
            <p:cNvSpPr/>
            <p:nvPr/>
          </p:nvSpPr>
          <p:spPr>
            <a:xfrm>
              <a:off x="6701904" y="4186190"/>
              <a:ext cx="114812" cy="111532"/>
            </a:xfrm>
            <a:custGeom>
              <a:avLst/>
              <a:gdLst>
                <a:gd name="connsiteX0" fmla="*/ 28521 w 150112"/>
                <a:gd name="connsiteY0" fmla="*/ 74585 h 145823"/>
                <a:gd name="connsiteX1" fmla="*/ 68322 w 150112"/>
                <a:gd name="connsiteY1" fmla="*/ 109496 h 145823"/>
                <a:gd name="connsiteX2" fmla="*/ 135358 w 150112"/>
                <a:gd name="connsiteY2" fmla="*/ 139605 h 145823"/>
                <a:gd name="connsiteX3" fmla="*/ 139862 w 150112"/>
                <a:gd name="connsiteY3" fmla="*/ 143422 h 145823"/>
                <a:gd name="connsiteX4" fmla="*/ 145223 w 150112"/>
                <a:gd name="connsiteY4" fmla="*/ 125022 h 145823"/>
                <a:gd name="connsiteX5" fmla="*/ 119318 w 150112"/>
                <a:gd name="connsiteY5" fmla="*/ 95900 h 145823"/>
                <a:gd name="connsiteX6" fmla="*/ 108210 w 150112"/>
                <a:gd name="connsiteY6" fmla="*/ 83934 h 145823"/>
                <a:gd name="connsiteX7" fmla="*/ 111898 w 150112"/>
                <a:gd name="connsiteY7" fmla="*/ 56528 h 145823"/>
                <a:gd name="connsiteX8" fmla="*/ 112713 w 150112"/>
                <a:gd name="connsiteY8" fmla="*/ 46749 h 145823"/>
                <a:gd name="connsiteX9" fmla="*/ 106065 w 150112"/>
                <a:gd name="connsiteY9" fmla="*/ 40959 h 145823"/>
                <a:gd name="connsiteX10" fmla="*/ 92984 w 150112"/>
                <a:gd name="connsiteY10" fmla="*/ 52797 h 145823"/>
                <a:gd name="connsiteX11" fmla="*/ 76943 w 150112"/>
                <a:gd name="connsiteY11" fmla="*/ 39286 h 145823"/>
                <a:gd name="connsiteX12" fmla="*/ 67508 w 150112"/>
                <a:gd name="connsiteY12" fmla="*/ 6433 h 145823"/>
                <a:gd name="connsiteX13" fmla="*/ 43361 w 150112"/>
                <a:gd name="connsiteY13" fmla="*/ 11280 h 145823"/>
                <a:gd name="connsiteX14" fmla="*/ 40101 w 150112"/>
                <a:gd name="connsiteY14" fmla="*/ 30837 h 145823"/>
                <a:gd name="connsiteX15" fmla="*/ 13424 w 150112"/>
                <a:gd name="connsiteY15" fmla="*/ 56528 h 145823"/>
                <a:gd name="connsiteX16" fmla="*/ 6433 w 150112"/>
                <a:gd name="connsiteY16" fmla="*/ 68237 h 145823"/>
                <a:gd name="connsiteX17" fmla="*/ 28521 w 150112"/>
                <a:gd name="connsiteY17" fmla="*/ 74585 h 14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0112" h="145823">
                  <a:moveTo>
                    <a:pt x="28521" y="74585"/>
                  </a:moveTo>
                  <a:cubicBezTo>
                    <a:pt x="39630" y="83205"/>
                    <a:pt x="53526" y="97187"/>
                    <a:pt x="68322" y="109496"/>
                  </a:cubicBezTo>
                  <a:cubicBezTo>
                    <a:pt x="91397" y="118074"/>
                    <a:pt x="115329" y="125751"/>
                    <a:pt x="135358" y="139605"/>
                  </a:cubicBezTo>
                  <a:cubicBezTo>
                    <a:pt x="137031" y="140763"/>
                    <a:pt x="138489" y="142049"/>
                    <a:pt x="139862" y="143422"/>
                  </a:cubicBezTo>
                  <a:cubicBezTo>
                    <a:pt x="142306" y="136216"/>
                    <a:pt x="144365" y="132399"/>
                    <a:pt x="145223" y="125022"/>
                  </a:cubicBezTo>
                  <a:cubicBezTo>
                    <a:pt x="146681" y="112155"/>
                    <a:pt x="129654" y="103578"/>
                    <a:pt x="119318" y="95900"/>
                  </a:cubicBezTo>
                  <a:cubicBezTo>
                    <a:pt x="108939" y="88180"/>
                    <a:pt x="103749" y="88180"/>
                    <a:pt x="108210" y="83934"/>
                  </a:cubicBezTo>
                  <a:cubicBezTo>
                    <a:pt x="112627" y="79645"/>
                    <a:pt x="113399" y="70210"/>
                    <a:pt x="111898" y="56528"/>
                  </a:cubicBezTo>
                  <a:cubicBezTo>
                    <a:pt x="111426" y="52153"/>
                    <a:pt x="111855" y="49151"/>
                    <a:pt x="112713" y="46749"/>
                  </a:cubicBezTo>
                  <a:cubicBezTo>
                    <a:pt x="109239" y="45119"/>
                    <a:pt x="106494" y="43190"/>
                    <a:pt x="106065" y="40959"/>
                  </a:cubicBezTo>
                  <a:cubicBezTo>
                    <a:pt x="104607" y="33368"/>
                    <a:pt x="98045" y="44347"/>
                    <a:pt x="92984" y="52797"/>
                  </a:cubicBezTo>
                  <a:cubicBezTo>
                    <a:pt x="87880" y="61203"/>
                    <a:pt x="75485" y="51939"/>
                    <a:pt x="76943" y="39286"/>
                  </a:cubicBezTo>
                  <a:cubicBezTo>
                    <a:pt x="78402" y="26634"/>
                    <a:pt x="71110" y="6433"/>
                    <a:pt x="67508" y="6433"/>
                  </a:cubicBezTo>
                  <a:cubicBezTo>
                    <a:pt x="65192" y="6433"/>
                    <a:pt x="55327" y="8106"/>
                    <a:pt x="43361" y="11280"/>
                  </a:cubicBezTo>
                  <a:cubicBezTo>
                    <a:pt x="44948" y="17413"/>
                    <a:pt x="41388" y="24104"/>
                    <a:pt x="40101" y="30837"/>
                  </a:cubicBezTo>
                  <a:cubicBezTo>
                    <a:pt x="38643" y="38557"/>
                    <a:pt x="20844" y="49709"/>
                    <a:pt x="13424" y="56528"/>
                  </a:cubicBezTo>
                  <a:cubicBezTo>
                    <a:pt x="11494" y="58286"/>
                    <a:pt x="9050" y="62704"/>
                    <a:pt x="6433" y="68237"/>
                  </a:cubicBezTo>
                  <a:cubicBezTo>
                    <a:pt x="13510" y="67207"/>
                    <a:pt x="21101" y="68880"/>
                    <a:pt x="28521" y="74585"/>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49" name="Freeform: Shape 105">
              <a:extLst>
                <a:ext uri="{FF2B5EF4-FFF2-40B4-BE49-F238E27FC236}">
                  <a16:creationId xmlns:a16="http://schemas.microsoft.com/office/drawing/2014/main" id="{89862907-ECDB-4351-BF04-DEEED6CEB9C7}"/>
                </a:ext>
              </a:extLst>
            </p:cNvPr>
            <p:cNvSpPr/>
            <p:nvPr/>
          </p:nvSpPr>
          <p:spPr>
            <a:xfrm>
              <a:off x="6660572" y="4140691"/>
              <a:ext cx="78728" cy="101691"/>
            </a:xfrm>
            <a:custGeom>
              <a:avLst/>
              <a:gdLst>
                <a:gd name="connsiteX0" fmla="*/ 47092 w 102934"/>
                <a:gd name="connsiteY0" fmla="*/ 115029 h 132956"/>
                <a:gd name="connsiteX1" fmla="*/ 52839 w 102934"/>
                <a:gd name="connsiteY1" fmla="*/ 123864 h 132956"/>
                <a:gd name="connsiteX2" fmla="*/ 58586 w 102934"/>
                <a:gd name="connsiteY2" fmla="*/ 128067 h 132956"/>
                <a:gd name="connsiteX3" fmla="*/ 60517 w 102934"/>
                <a:gd name="connsiteY3" fmla="*/ 127724 h 132956"/>
                <a:gd name="connsiteX4" fmla="*/ 67508 w 102934"/>
                <a:gd name="connsiteY4" fmla="*/ 116016 h 132956"/>
                <a:gd name="connsiteX5" fmla="*/ 94185 w 102934"/>
                <a:gd name="connsiteY5" fmla="*/ 90325 h 132956"/>
                <a:gd name="connsiteX6" fmla="*/ 96415 w 102934"/>
                <a:gd name="connsiteY6" fmla="*/ 68065 h 132956"/>
                <a:gd name="connsiteX7" fmla="*/ 91954 w 102934"/>
                <a:gd name="connsiteY7" fmla="*/ 44948 h 132956"/>
                <a:gd name="connsiteX8" fmla="*/ 65277 w 102934"/>
                <a:gd name="connsiteY8" fmla="*/ 6433 h 132956"/>
                <a:gd name="connsiteX9" fmla="*/ 40101 w 102934"/>
                <a:gd name="connsiteY9" fmla="*/ 12395 h 132956"/>
                <a:gd name="connsiteX10" fmla="*/ 24533 w 102934"/>
                <a:gd name="connsiteY10" fmla="*/ 16684 h 132956"/>
                <a:gd name="connsiteX11" fmla="*/ 6433 w 102934"/>
                <a:gd name="connsiteY11" fmla="*/ 40830 h 132956"/>
                <a:gd name="connsiteX12" fmla="*/ 47092 w 102934"/>
                <a:gd name="connsiteY12" fmla="*/ 115029 h 13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934" h="132956">
                  <a:moveTo>
                    <a:pt x="47092" y="115029"/>
                  </a:moveTo>
                  <a:cubicBezTo>
                    <a:pt x="48850" y="118203"/>
                    <a:pt x="50824" y="121076"/>
                    <a:pt x="52839" y="123864"/>
                  </a:cubicBezTo>
                  <a:cubicBezTo>
                    <a:pt x="54684" y="125237"/>
                    <a:pt x="56614" y="126652"/>
                    <a:pt x="58586" y="128067"/>
                  </a:cubicBezTo>
                  <a:cubicBezTo>
                    <a:pt x="59230" y="127939"/>
                    <a:pt x="59873" y="127810"/>
                    <a:pt x="60517" y="127724"/>
                  </a:cubicBezTo>
                  <a:cubicBezTo>
                    <a:pt x="63090" y="122192"/>
                    <a:pt x="65577" y="117817"/>
                    <a:pt x="67508" y="116016"/>
                  </a:cubicBezTo>
                  <a:cubicBezTo>
                    <a:pt x="74885" y="109153"/>
                    <a:pt x="92684" y="98045"/>
                    <a:pt x="94185" y="90325"/>
                  </a:cubicBezTo>
                  <a:cubicBezTo>
                    <a:pt x="95643" y="82605"/>
                    <a:pt x="100103" y="74927"/>
                    <a:pt x="96415" y="68065"/>
                  </a:cubicBezTo>
                  <a:cubicBezTo>
                    <a:pt x="92727" y="61203"/>
                    <a:pt x="91954" y="53483"/>
                    <a:pt x="91954" y="44948"/>
                  </a:cubicBezTo>
                  <a:cubicBezTo>
                    <a:pt x="91954" y="36370"/>
                    <a:pt x="72697" y="6433"/>
                    <a:pt x="65277" y="6433"/>
                  </a:cubicBezTo>
                  <a:cubicBezTo>
                    <a:pt x="57858" y="6433"/>
                    <a:pt x="48250" y="14153"/>
                    <a:pt x="40101" y="12395"/>
                  </a:cubicBezTo>
                  <a:cubicBezTo>
                    <a:pt x="31952" y="10679"/>
                    <a:pt x="25261" y="7248"/>
                    <a:pt x="24533" y="16684"/>
                  </a:cubicBezTo>
                  <a:cubicBezTo>
                    <a:pt x="24104" y="22088"/>
                    <a:pt x="15011" y="32167"/>
                    <a:pt x="6433" y="40830"/>
                  </a:cubicBezTo>
                  <a:cubicBezTo>
                    <a:pt x="22345" y="64377"/>
                    <a:pt x="34354" y="91997"/>
                    <a:pt x="47092" y="115029"/>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50" name="Freeform: Shape 106">
              <a:extLst>
                <a:ext uri="{FF2B5EF4-FFF2-40B4-BE49-F238E27FC236}">
                  <a16:creationId xmlns:a16="http://schemas.microsoft.com/office/drawing/2014/main" id="{95720941-63D9-E548-FFF3-BD0F00ECA9B6}"/>
                </a:ext>
              </a:extLst>
            </p:cNvPr>
            <p:cNvSpPr/>
            <p:nvPr/>
          </p:nvSpPr>
          <p:spPr>
            <a:xfrm>
              <a:off x="6560980" y="3593203"/>
              <a:ext cx="223063" cy="209942"/>
            </a:xfrm>
            <a:custGeom>
              <a:avLst/>
              <a:gdLst>
                <a:gd name="connsiteX0" fmla="*/ 261882 w 291647"/>
                <a:gd name="connsiteY0" fmla="*/ 6433 h 274491"/>
                <a:gd name="connsiteX1" fmla="*/ 137718 w 291647"/>
                <a:gd name="connsiteY1" fmla="*/ 6433 h 274491"/>
                <a:gd name="connsiteX2" fmla="*/ 127682 w 291647"/>
                <a:gd name="connsiteY2" fmla="*/ 21488 h 274491"/>
                <a:gd name="connsiteX3" fmla="*/ 90883 w 291647"/>
                <a:gd name="connsiteY3" fmla="*/ 94528 h 274491"/>
                <a:gd name="connsiteX4" fmla="*/ 74885 w 291647"/>
                <a:gd name="connsiteY4" fmla="*/ 113571 h 274491"/>
                <a:gd name="connsiteX5" fmla="*/ 17456 w 291647"/>
                <a:gd name="connsiteY5" fmla="*/ 230401 h 274491"/>
                <a:gd name="connsiteX6" fmla="*/ 7334 w 291647"/>
                <a:gd name="connsiteY6" fmla="*/ 262483 h 274491"/>
                <a:gd name="connsiteX7" fmla="*/ 6433 w 291647"/>
                <a:gd name="connsiteY7" fmla="*/ 269517 h 274491"/>
                <a:gd name="connsiteX8" fmla="*/ 138147 w 291647"/>
                <a:gd name="connsiteY8" fmla="*/ 269517 h 274491"/>
                <a:gd name="connsiteX9" fmla="*/ 138147 w 291647"/>
                <a:gd name="connsiteY9" fmla="*/ 209085 h 274491"/>
                <a:gd name="connsiteX10" fmla="*/ 173016 w 291647"/>
                <a:gd name="connsiteY10" fmla="*/ 180135 h 274491"/>
                <a:gd name="connsiteX11" fmla="*/ 173016 w 291647"/>
                <a:gd name="connsiteY11" fmla="*/ 76900 h 274491"/>
                <a:gd name="connsiteX12" fmla="*/ 285171 w 291647"/>
                <a:gd name="connsiteY12" fmla="*/ 76900 h 274491"/>
                <a:gd name="connsiteX13" fmla="*/ 285900 w 291647"/>
                <a:gd name="connsiteY13" fmla="*/ 21273 h 274491"/>
                <a:gd name="connsiteX14" fmla="*/ 261882 w 291647"/>
                <a:gd name="connsiteY14" fmla="*/ 6433 h 274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647" h="274491">
                  <a:moveTo>
                    <a:pt x="261882" y="6433"/>
                  </a:moveTo>
                  <a:lnTo>
                    <a:pt x="137718" y="6433"/>
                  </a:lnTo>
                  <a:cubicBezTo>
                    <a:pt x="133557" y="10937"/>
                    <a:pt x="130384" y="16169"/>
                    <a:pt x="127682" y="21488"/>
                  </a:cubicBezTo>
                  <a:cubicBezTo>
                    <a:pt x="120133" y="48679"/>
                    <a:pt x="108596" y="72097"/>
                    <a:pt x="90883" y="94528"/>
                  </a:cubicBezTo>
                  <a:cubicBezTo>
                    <a:pt x="85693" y="101047"/>
                    <a:pt x="80289" y="107309"/>
                    <a:pt x="74885" y="113571"/>
                  </a:cubicBezTo>
                  <a:cubicBezTo>
                    <a:pt x="72741" y="138833"/>
                    <a:pt x="39887" y="177605"/>
                    <a:pt x="17456" y="230401"/>
                  </a:cubicBezTo>
                  <a:cubicBezTo>
                    <a:pt x="13768" y="240995"/>
                    <a:pt x="10336" y="251717"/>
                    <a:pt x="7334" y="262483"/>
                  </a:cubicBezTo>
                  <a:cubicBezTo>
                    <a:pt x="6906" y="264970"/>
                    <a:pt x="6605" y="267329"/>
                    <a:pt x="6433" y="269517"/>
                  </a:cubicBezTo>
                  <a:lnTo>
                    <a:pt x="138147" y="269517"/>
                  </a:lnTo>
                  <a:cubicBezTo>
                    <a:pt x="138147" y="269517"/>
                    <a:pt x="138147" y="217878"/>
                    <a:pt x="138147" y="209085"/>
                  </a:cubicBezTo>
                  <a:cubicBezTo>
                    <a:pt x="138147" y="200250"/>
                    <a:pt x="173016" y="188970"/>
                    <a:pt x="173016" y="180135"/>
                  </a:cubicBezTo>
                  <a:cubicBezTo>
                    <a:pt x="173016" y="171343"/>
                    <a:pt x="173016" y="76900"/>
                    <a:pt x="173016" y="76900"/>
                  </a:cubicBezTo>
                  <a:cubicBezTo>
                    <a:pt x="173016" y="76900"/>
                    <a:pt x="281912" y="79431"/>
                    <a:pt x="285171" y="76900"/>
                  </a:cubicBezTo>
                  <a:cubicBezTo>
                    <a:pt x="286844" y="75614"/>
                    <a:pt x="286501" y="48208"/>
                    <a:pt x="285900" y="21273"/>
                  </a:cubicBezTo>
                  <a:cubicBezTo>
                    <a:pt x="281697" y="13124"/>
                    <a:pt x="287616" y="6433"/>
                    <a:pt x="261882" y="6433"/>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51" name="Freeform: Shape 107">
              <a:extLst>
                <a:ext uri="{FF2B5EF4-FFF2-40B4-BE49-F238E27FC236}">
                  <a16:creationId xmlns:a16="http://schemas.microsoft.com/office/drawing/2014/main" id="{F8F0F4D5-D524-ADFC-16EA-54F2ACBD31C3}"/>
                </a:ext>
              </a:extLst>
            </p:cNvPr>
            <p:cNvSpPr/>
            <p:nvPr/>
          </p:nvSpPr>
          <p:spPr>
            <a:xfrm>
              <a:off x="6560775" y="3604552"/>
              <a:ext cx="318193" cy="400202"/>
            </a:xfrm>
            <a:custGeom>
              <a:avLst/>
              <a:gdLst>
                <a:gd name="connsiteX0" fmla="*/ 36725 w 416026"/>
                <a:gd name="connsiteY0" fmla="*/ 450509 h 523249"/>
                <a:gd name="connsiteX1" fmla="*/ 67262 w 416026"/>
                <a:gd name="connsiteY1" fmla="*/ 450509 h 523249"/>
                <a:gd name="connsiteX2" fmla="*/ 93081 w 416026"/>
                <a:gd name="connsiteY2" fmla="*/ 447807 h 523249"/>
                <a:gd name="connsiteX3" fmla="*/ 111824 w 416026"/>
                <a:gd name="connsiteY3" fmla="*/ 466807 h 523249"/>
                <a:gd name="connsiteX4" fmla="*/ 123576 w 416026"/>
                <a:gd name="connsiteY4" fmla="*/ 466807 h 523249"/>
                <a:gd name="connsiteX5" fmla="*/ 147079 w 416026"/>
                <a:gd name="connsiteY5" fmla="*/ 502105 h 523249"/>
                <a:gd name="connsiteX6" fmla="*/ 162905 w 416026"/>
                <a:gd name="connsiteY6" fmla="*/ 520333 h 523249"/>
                <a:gd name="connsiteX7" fmla="*/ 180704 w 416026"/>
                <a:gd name="connsiteY7" fmla="*/ 507895 h 523249"/>
                <a:gd name="connsiteX8" fmla="*/ 200176 w 416026"/>
                <a:gd name="connsiteY8" fmla="*/ 499231 h 523249"/>
                <a:gd name="connsiteX9" fmla="*/ 218147 w 416026"/>
                <a:gd name="connsiteY9" fmla="*/ 495757 h 523249"/>
                <a:gd name="connsiteX10" fmla="*/ 240621 w 416026"/>
                <a:gd name="connsiteY10" fmla="*/ 497516 h 523249"/>
                <a:gd name="connsiteX11" fmla="*/ 261594 w 416026"/>
                <a:gd name="connsiteY11" fmla="*/ 490611 h 523249"/>
                <a:gd name="connsiteX12" fmla="*/ 391934 w 416026"/>
                <a:gd name="connsiteY12" fmla="*/ 488895 h 523249"/>
                <a:gd name="connsiteX13" fmla="*/ 396437 w 416026"/>
                <a:gd name="connsiteY13" fmla="*/ 455999 h 523249"/>
                <a:gd name="connsiteX14" fmla="*/ 385973 w 416026"/>
                <a:gd name="connsiteY14" fmla="*/ 443904 h 523249"/>
                <a:gd name="connsiteX15" fmla="*/ 354492 w 416026"/>
                <a:gd name="connsiteY15" fmla="*/ 102591 h 523249"/>
                <a:gd name="connsiteX16" fmla="*/ 410763 w 416026"/>
                <a:gd name="connsiteY16" fmla="*/ 102591 h 523249"/>
                <a:gd name="connsiteX17" fmla="*/ 292688 w 416026"/>
                <a:gd name="connsiteY17" fmla="*/ 13381 h 523249"/>
                <a:gd name="connsiteX18" fmla="*/ 286126 w 416026"/>
                <a:gd name="connsiteY18" fmla="*/ 6433 h 523249"/>
                <a:gd name="connsiteX19" fmla="*/ 285354 w 416026"/>
                <a:gd name="connsiteY19" fmla="*/ 62061 h 523249"/>
                <a:gd name="connsiteX20" fmla="*/ 173199 w 416026"/>
                <a:gd name="connsiteY20" fmla="*/ 62061 h 523249"/>
                <a:gd name="connsiteX21" fmla="*/ 173199 w 416026"/>
                <a:gd name="connsiteY21" fmla="*/ 165295 h 523249"/>
                <a:gd name="connsiteX22" fmla="*/ 138330 w 416026"/>
                <a:gd name="connsiteY22" fmla="*/ 194246 h 523249"/>
                <a:gd name="connsiteX23" fmla="*/ 138330 w 416026"/>
                <a:gd name="connsiteY23" fmla="*/ 254677 h 523249"/>
                <a:gd name="connsiteX24" fmla="*/ 6617 w 416026"/>
                <a:gd name="connsiteY24" fmla="*/ 254677 h 523249"/>
                <a:gd name="connsiteX25" fmla="*/ 25317 w 416026"/>
                <a:gd name="connsiteY25" fmla="*/ 298295 h 523249"/>
                <a:gd name="connsiteX26" fmla="*/ 32736 w 416026"/>
                <a:gd name="connsiteY26" fmla="*/ 360528 h 523249"/>
                <a:gd name="connsiteX27" fmla="*/ 21885 w 416026"/>
                <a:gd name="connsiteY27" fmla="*/ 436484 h 523249"/>
                <a:gd name="connsiteX28" fmla="*/ 16181 w 416026"/>
                <a:gd name="connsiteY28" fmla="*/ 470067 h 523249"/>
                <a:gd name="connsiteX29" fmla="*/ 17897 w 416026"/>
                <a:gd name="connsiteY29" fmla="*/ 469552 h 523249"/>
                <a:gd name="connsiteX30" fmla="*/ 36725 w 416026"/>
                <a:gd name="connsiteY30" fmla="*/ 450509 h 523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16026" h="523249">
                  <a:moveTo>
                    <a:pt x="36725" y="450509"/>
                  </a:moveTo>
                  <a:cubicBezTo>
                    <a:pt x="48477" y="453211"/>
                    <a:pt x="67262" y="450509"/>
                    <a:pt x="67262" y="450509"/>
                  </a:cubicBezTo>
                  <a:cubicBezTo>
                    <a:pt x="67262" y="450509"/>
                    <a:pt x="83689" y="442360"/>
                    <a:pt x="93081" y="447807"/>
                  </a:cubicBezTo>
                  <a:cubicBezTo>
                    <a:pt x="102431" y="453254"/>
                    <a:pt x="111824" y="466807"/>
                    <a:pt x="111824" y="466807"/>
                  </a:cubicBezTo>
                  <a:lnTo>
                    <a:pt x="123576" y="466807"/>
                  </a:lnTo>
                  <a:cubicBezTo>
                    <a:pt x="123576" y="466807"/>
                    <a:pt x="132969" y="496701"/>
                    <a:pt x="147079" y="502105"/>
                  </a:cubicBezTo>
                  <a:cubicBezTo>
                    <a:pt x="155185" y="505236"/>
                    <a:pt x="160117" y="513685"/>
                    <a:pt x="162905" y="520333"/>
                  </a:cubicBezTo>
                  <a:cubicBezTo>
                    <a:pt x="172941" y="520033"/>
                    <a:pt x="180704" y="516216"/>
                    <a:pt x="180704" y="507895"/>
                  </a:cubicBezTo>
                  <a:cubicBezTo>
                    <a:pt x="180704" y="497516"/>
                    <a:pt x="185207" y="483663"/>
                    <a:pt x="200176" y="499231"/>
                  </a:cubicBezTo>
                  <a:cubicBezTo>
                    <a:pt x="215145" y="514800"/>
                    <a:pt x="215145" y="500947"/>
                    <a:pt x="218147" y="495757"/>
                  </a:cubicBezTo>
                  <a:cubicBezTo>
                    <a:pt x="221149" y="490568"/>
                    <a:pt x="231657" y="497516"/>
                    <a:pt x="240621" y="497516"/>
                  </a:cubicBezTo>
                  <a:cubicBezTo>
                    <a:pt x="249627" y="497516"/>
                    <a:pt x="261594" y="490611"/>
                    <a:pt x="261594" y="490611"/>
                  </a:cubicBezTo>
                  <a:cubicBezTo>
                    <a:pt x="261594" y="490611"/>
                    <a:pt x="385930" y="492326"/>
                    <a:pt x="391934" y="488895"/>
                  </a:cubicBezTo>
                  <a:cubicBezTo>
                    <a:pt x="397896" y="485464"/>
                    <a:pt x="396437" y="455999"/>
                    <a:pt x="396437" y="455999"/>
                  </a:cubicBezTo>
                  <a:lnTo>
                    <a:pt x="385973" y="443904"/>
                  </a:lnTo>
                  <a:lnTo>
                    <a:pt x="354492" y="102591"/>
                  </a:lnTo>
                  <a:lnTo>
                    <a:pt x="410763" y="102591"/>
                  </a:lnTo>
                  <a:cubicBezTo>
                    <a:pt x="350718" y="56700"/>
                    <a:pt x="299251" y="17713"/>
                    <a:pt x="292688" y="13381"/>
                  </a:cubicBezTo>
                  <a:cubicBezTo>
                    <a:pt x="289129" y="11023"/>
                    <a:pt x="287284" y="8706"/>
                    <a:pt x="286126" y="6433"/>
                  </a:cubicBezTo>
                  <a:cubicBezTo>
                    <a:pt x="286727" y="33368"/>
                    <a:pt x="287070" y="60731"/>
                    <a:pt x="285354" y="62061"/>
                  </a:cubicBezTo>
                  <a:cubicBezTo>
                    <a:pt x="282095" y="64591"/>
                    <a:pt x="173199" y="62061"/>
                    <a:pt x="173199" y="62061"/>
                  </a:cubicBezTo>
                  <a:cubicBezTo>
                    <a:pt x="173199" y="62061"/>
                    <a:pt x="173199" y="156503"/>
                    <a:pt x="173199" y="165295"/>
                  </a:cubicBezTo>
                  <a:cubicBezTo>
                    <a:pt x="173199" y="174130"/>
                    <a:pt x="138330" y="185410"/>
                    <a:pt x="138330" y="194246"/>
                  </a:cubicBezTo>
                  <a:cubicBezTo>
                    <a:pt x="138330" y="203081"/>
                    <a:pt x="138330" y="254677"/>
                    <a:pt x="138330" y="254677"/>
                  </a:cubicBezTo>
                  <a:lnTo>
                    <a:pt x="6617" y="254677"/>
                  </a:lnTo>
                  <a:cubicBezTo>
                    <a:pt x="4729" y="279552"/>
                    <a:pt x="17854" y="288388"/>
                    <a:pt x="25317" y="298295"/>
                  </a:cubicBezTo>
                  <a:cubicBezTo>
                    <a:pt x="35695" y="311977"/>
                    <a:pt x="17425" y="335952"/>
                    <a:pt x="32736" y="360528"/>
                  </a:cubicBezTo>
                  <a:cubicBezTo>
                    <a:pt x="48048" y="385103"/>
                    <a:pt x="29305" y="422760"/>
                    <a:pt x="21885" y="436484"/>
                  </a:cubicBezTo>
                  <a:cubicBezTo>
                    <a:pt x="17854" y="443947"/>
                    <a:pt x="17425" y="456857"/>
                    <a:pt x="16181" y="470067"/>
                  </a:cubicBezTo>
                  <a:cubicBezTo>
                    <a:pt x="16782" y="469895"/>
                    <a:pt x="17510" y="469681"/>
                    <a:pt x="17897" y="469552"/>
                  </a:cubicBezTo>
                  <a:cubicBezTo>
                    <a:pt x="27332" y="466807"/>
                    <a:pt x="25016" y="447807"/>
                    <a:pt x="36725" y="450509"/>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52" name="Freeform: Shape 108">
              <a:extLst>
                <a:ext uri="{FF2B5EF4-FFF2-40B4-BE49-F238E27FC236}">
                  <a16:creationId xmlns:a16="http://schemas.microsoft.com/office/drawing/2014/main" id="{0FE0E87E-6458-D4E5-D27F-A710080BF38E}"/>
                </a:ext>
              </a:extLst>
            </p:cNvPr>
            <p:cNvSpPr/>
            <p:nvPr/>
          </p:nvSpPr>
          <p:spPr>
            <a:xfrm>
              <a:off x="6680418" y="3678032"/>
              <a:ext cx="436285" cy="465808"/>
            </a:xfrm>
            <a:custGeom>
              <a:avLst/>
              <a:gdLst>
                <a:gd name="connsiteX0" fmla="*/ 535388 w 570427"/>
                <a:gd name="connsiteY0" fmla="*/ 256693 h 609028"/>
                <a:gd name="connsiteX1" fmla="*/ 518961 w 570427"/>
                <a:gd name="connsiteY1" fmla="*/ 215948 h 609028"/>
                <a:gd name="connsiteX2" fmla="*/ 481390 w 570427"/>
                <a:gd name="connsiteY2" fmla="*/ 202352 h 609028"/>
                <a:gd name="connsiteX3" fmla="*/ 460245 w 570427"/>
                <a:gd name="connsiteY3" fmla="*/ 167054 h 609028"/>
                <a:gd name="connsiteX4" fmla="*/ 254291 w 570427"/>
                <a:gd name="connsiteY4" fmla="*/ 6433 h 609028"/>
                <a:gd name="connsiteX5" fmla="*/ 198020 w 570427"/>
                <a:gd name="connsiteY5" fmla="*/ 6433 h 609028"/>
                <a:gd name="connsiteX6" fmla="*/ 229501 w 570427"/>
                <a:gd name="connsiteY6" fmla="*/ 347747 h 609028"/>
                <a:gd name="connsiteX7" fmla="*/ 239966 w 570427"/>
                <a:gd name="connsiteY7" fmla="*/ 359841 h 609028"/>
                <a:gd name="connsiteX8" fmla="*/ 235462 w 570427"/>
                <a:gd name="connsiteY8" fmla="*/ 392737 h 609028"/>
                <a:gd name="connsiteX9" fmla="*/ 105122 w 570427"/>
                <a:gd name="connsiteY9" fmla="*/ 394453 h 609028"/>
                <a:gd name="connsiteX10" fmla="*/ 84149 w 570427"/>
                <a:gd name="connsiteY10" fmla="*/ 401358 h 609028"/>
                <a:gd name="connsiteX11" fmla="*/ 61675 w 570427"/>
                <a:gd name="connsiteY11" fmla="*/ 399600 h 609028"/>
                <a:gd name="connsiteX12" fmla="*/ 43704 w 570427"/>
                <a:gd name="connsiteY12" fmla="*/ 403074 h 609028"/>
                <a:gd name="connsiteX13" fmla="*/ 24233 w 570427"/>
                <a:gd name="connsiteY13" fmla="*/ 411737 h 609028"/>
                <a:gd name="connsiteX14" fmla="*/ 6433 w 570427"/>
                <a:gd name="connsiteY14" fmla="*/ 424175 h 609028"/>
                <a:gd name="connsiteX15" fmla="*/ 9436 w 570427"/>
                <a:gd name="connsiteY15" fmla="*/ 433096 h 609028"/>
                <a:gd name="connsiteX16" fmla="*/ 15569 w 570427"/>
                <a:gd name="connsiteY16" fmla="*/ 443604 h 609028"/>
                <a:gd name="connsiteX17" fmla="*/ 20501 w 570427"/>
                <a:gd name="connsiteY17" fmla="*/ 467579 h 609028"/>
                <a:gd name="connsiteX18" fmla="*/ 38257 w 570427"/>
                <a:gd name="connsiteY18" fmla="*/ 492712 h 609028"/>
                <a:gd name="connsiteX19" fmla="*/ 38257 w 570427"/>
                <a:gd name="connsiteY19" fmla="*/ 523550 h 609028"/>
                <a:gd name="connsiteX20" fmla="*/ 48122 w 570427"/>
                <a:gd name="connsiteY20" fmla="*/ 533843 h 609028"/>
                <a:gd name="connsiteX21" fmla="*/ 66907 w 570427"/>
                <a:gd name="connsiteY21" fmla="*/ 530369 h 609028"/>
                <a:gd name="connsiteX22" fmla="*/ 89596 w 570427"/>
                <a:gd name="connsiteY22" fmla="*/ 532642 h 609028"/>
                <a:gd name="connsiteX23" fmla="*/ 113314 w 570427"/>
                <a:gd name="connsiteY23" fmla="*/ 513214 h 609028"/>
                <a:gd name="connsiteX24" fmla="*/ 126138 w 570427"/>
                <a:gd name="connsiteY24" fmla="*/ 541778 h 609028"/>
                <a:gd name="connsiteX25" fmla="*/ 137975 w 570427"/>
                <a:gd name="connsiteY25" fmla="*/ 560049 h 609028"/>
                <a:gd name="connsiteX26" fmla="*/ 137975 w 570427"/>
                <a:gd name="connsiteY26" fmla="*/ 573773 h 609028"/>
                <a:gd name="connsiteX27" fmla="*/ 145867 w 570427"/>
                <a:gd name="connsiteY27" fmla="*/ 595475 h 609028"/>
                <a:gd name="connsiteX28" fmla="*/ 161693 w 570427"/>
                <a:gd name="connsiteY28" fmla="*/ 597748 h 609028"/>
                <a:gd name="connsiteX29" fmla="*/ 178462 w 570427"/>
                <a:gd name="connsiteY29" fmla="*/ 603453 h 609028"/>
                <a:gd name="connsiteX30" fmla="*/ 197248 w 570427"/>
                <a:gd name="connsiteY30" fmla="*/ 593159 h 609028"/>
                <a:gd name="connsiteX31" fmla="*/ 214018 w 570427"/>
                <a:gd name="connsiteY31" fmla="*/ 590886 h 609028"/>
                <a:gd name="connsiteX32" fmla="*/ 225855 w 570427"/>
                <a:gd name="connsiteY32" fmla="*/ 595475 h 609028"/>
                <a:gd name="connsiteX33" fmla="*/ 235291 w 570427"/>
                <a:gd name="connsiteY33" fmla="*/ 593245 h 609028"/>
                <a:gd name="connsiteX34" fmla="*/ 244598 w 570427"/>
                <a:gd name="connsiteY34" fmla="*/ 563523 h 609028"/>
                <a:gd name="connsiteX35" fmla="*/ 242625 w 570427"/>
                <a:gd name="connsiteY35" fmla="*/ 538390 h 609028"/>
                <a:gd name="connsiteX36" fmla="*/ 269302 w 570427"/>
                <a:gd name="connsiteY36" fmla="*/ 524665 h 609028"/>
                <a:gd name="connsiteX37" fmla="*/ 280196 w 570427"/>
                <a:gd name="connsiteY37" fmla="*/ 500690 h 609028"/>
                <a:gd name="connsiteX38" fmla="*/ 291047 w 570427"/>
                <a:gd name="connsiteY38" fmla="*/ 472168 h 609028"/>
                <a:gd name="connsiteX39" fmla="*/ 311806 w 570427"/>
                <a:gd name="connsiteY39" fmla="*/ 473284 h 609028"/>
                <a:gd name="connsiteX40" fmla="*/ 326602 w 570427"/>
                <a:gd name="connsiteY40" fmla="*/ 455013 h 609028"/>
                <a:gd name="connsiteX41" fmla="*/ 342386 w 570427"/>
                <a:gd name="connsiteY41" fmla="*/ 445834 h 609028"/>
                <a:gd name="connsiteX42" fmla="*/ 355210 w 570427"/>
                <a:gd name="connsiteY42" fmla="*/ 437857 h 609028"/>
                <a:gd name="connsiteX43" fmla="*/ 383859 w 570427"/>
                <a:gd name="connsiteY43" fmla="*/ 424175 h 609028"/>
                <a:gd name="connsiteX44" fmla="*/ 408521 w 570427"/>
                <a:gd name="connsiteY44" fmla="*/ 411609 h 609028"/>
                <a:gd name="connsiteX45" fmla="*/ 450981 w 570427"/>
                <a:gd name="connsiteY45" fmla="*/ 413925 h 609028"/>
                <a:gd name="connsiteX46" fmla="*/ 477658 w 570427"/>
                <a:gd name="connsiteY46" fmla="*/ 403631 h 609028"/>
                <a:gd name="connsiteX47" fmla="*/ 529983 w 570427"/>
                <a:gd name="connsiteY47" fmla="*/ 397927 h 609028"/>
                <a:gd name="connsiteX48" fmla="*/ 550742 w 570427"/>
                <a:gd name="connsiteY48" fmla="*/ 380814 h 609028"/>
                <a:gd name="connsiteX49" fmla="*/ 561636 w 570427"/>
                <a:gd name="connsiteY49" fmla="*/ 352293 h 609028"/>
                <a:gd name="connsiteX50" fmla="*/ 563780 w 570427"/>
                <a:gd name="connsiteY50" fmla="*/ 249530 h 609028"/>
                <a:gd name="connsiteX51" fmla="*/ 535388 w 570427"/>
                <a:gd name="connsiteY51" fmla="*/ 256693 h 60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70427" h="609028">
                  <a:moveTo>
                    <a:pt x="535388" y="256693"/>
                  </a:moveTo>
                  <a:cubicBezTo>
                    <a:pt x="535388" y="256693"/>
                    <a:pt x="535430" y="226842"/>
                    <a:pt x="518961" y="215948"/>
                  </a:cubicBezTo>
                  <a:cubicBezTo>
                    <a:pt x="502534" y="205097"/>
                    <a:pt x="481390" y="202352"/>
                    <a:pt x="481390" y="202352"/>
                  </a:cubicBezTo>
                  <a:cubicBezTo>
                    <a:pt x="481390" y="202352"/>
                    <a:pt x="469681" y="177905"/>
                    <a:pt x="460245" y="167054"/>
                  </a:cubicBezTo>
                  <a:cubicBezTo>
                    <a:pt x="454584" y="160535"/>
                    <a:pt x="344701" y="75571"/>
                    <a:pt x="254291" y="6433"/>
                  </a:cubicBezTo>
                  <a:lnTo>
                    <a:pt x="198020" y="6433"/>
                  </a:lnTo>
                  <a:lnTo>
                    <a:pt x="229501" y="347747"/>
                  </a:lnTo>
                  <a:lnTo>
                    <a:pt x="239966" y="359841"/>
                  </a:lnTo>
                  <a:cubicBezTo>
                    <a:pt x="239966" y="359841"/>
                    <a:pt x="241424" y="389306"/>
                    <a:pt x="235462" y="392737"/>
                  </a:cubicBezTo>
                  <a:cubicBezTo>
                    <a:pt x="229458" y="396211"/>
                    <a:pt x="105122" y="394453"/>
                    <a:pt x="105122" y="394453"/>
                  </a:cubicBezTo>
                  <a:cubicBezTo>
                    <a:pt x="105122" y="394453"/>
                    <a:pt x="93113" y="401358"/>
                    <a:pt x="84149" y="401358"/>
                  </a:cubicBezTo>
                  <a:cubicBezTo>
                    <a:pt x="75185" y="401358"/>
                    <a:pt x="64677" y="394453"/>
                    <a:pt x="61675" y="399600"/>
                  </a:cubicBezTo>
                  <a:cubicBezTo>
                    <a:pt x="58673" y="404789"/>
                    <a:pt x="58673" y="418643"/>
                    <a:pt x="43704" y="403074"/>
                  </a:cubicBezTo>
                  <a:cubicBezTo>
                    <a:pt x="28736" y="387462"/>
                    <a:pt x="24233" y="401315"/>
                    <a:pt x="24233" y="411737"/>
                  </a:cubicBezTo>
                  <a:cubicBezTo>
                    <a:pt x="24233" y="420101"/>
                    <a:pt x="16469" y="423918"/>
                    <a:pt x="6433" y="424175"/>
                  </a:cubicBezTo>
                  <a:cubicBezTo>
                    <a:pt x="8492" y="429150"/>
                    <a:pt x="9436" y="433096"/>
                    <a:pt x="9436" y="433096"/>
                  </a:cubicBezTo>
                  <a:lnTo>
                    <a:pt x="15569" y="443604"/>
                  </a:lnTo>
                  <a:cubicBezTo>
                    <a:pt x="15569" y="443604"/>
                    <a:pt x="14582" y="460717"/>
                    <a:pt x="20501" y="467579"/>
                  </a:cubicBezTo>
                  <a:cubicBezTo>
                    <a:pt x="26420" y="474441"/>
                    <a:pt x="37271" y="487008"/>
                    <a:pt x="38257" y="492712"/>
                  </a:cubicBezTo>
                  <a:cubicBezTo>
                    <a:pt x="39244" y="498417"/>
                    <a:pt x="38257" y="523550"/>
                    <a:pt x="38257" y="523550"/>
                  </a:cubicBezTo>
                  <a:cubicBezTo>
                    <a:pt x="38257" y="523550"/>
                    <a:pt x="42203" y="542936"/>
                    <a:pt x="48122" y="533843"/>
                  </a:cubicBezTo>
                  <a:cubicBezTo>
                    <a:pt x="54040" y="524665"/>
                    <a:pt x="62919" y="541821"/>
                    <a:pt x="66907" y="530369"/>
                  </a:cubicBezTo>
                  <a:cubicBezTo>
                    <a:pt x="70853" y="518961"/>
                    <a:pt x="83677" y="532642"/>
                    <a:pt x="89596" y="532642"/>
                  </a:cubicBezTo>
                  <a:cubicBezTo>
                    <a:pt x="95558" y="532642"/>
                    <a:pt x="109368" y="512056"/>
                    <a:pt x="113314" y="513214"/>
                  </a:cubicBezTo>
                  <a:cubicBezTo>
                    <a:pt x="117259" y="514329"/>
                    <a:pt x="126138" y="533800"/>
                    <a:pt x="126138" y="541778"/>
                  </a:cubicBezTo>
                  <a:cubicBezTo>
                    <a:pt x="126138" y="549755"/>
                    <a:pt x="143937" y="557776"/>
                    <a:pt x="137975" y="560049"/>
                  </a:cubicBezTo>
                  <a:cubicBezTo>
                    <a:pt x="132056" y="562322"/>
                    <a:pt x="131070" y="573773"/>
                    <a:pt x="137975" y="573773"/>
                  </a:cubicBezTo>
                  <a:cubicBezTo>
                    <a:pt x="144880" y="573773"/>
                    <a:pt x="141921" y="588656"/>
                    <a:pt x="145867" y="595475"/>
                  </a:cubicBezTo>
                  <a:cubicBezTo>
                    <a:pt x="149813" y="602337"/>
                    <a:pt x="157704" y="608042"/>
                    <a:pt x="161693" y="597748"/>
                  </a:cubicBezTo>
                  <a:cubicBezTo>
                    <a:pt x="165638" y="587455"/>
                    <a:pt x="174517" y="596590"/>
                    <a:pt x="178462" y="603453"/>
                  </a:cubicBezTo>
                  <a:cubicBezTo>
                    <a:pt x="182408" y="610315"/>
                    <a:pt x="195275" y="602295"/>
                    <a:pt x="197248" y="593159"/>
                  </a:cubicBezTo>
                  <a:cubicBezTo>
                    <a:pt x="199221" y="584024"/>
                    <a:pt x="215004" y="580593"/>
                    <a:pt x="214018" y="590886"/>
                  </a:cubicBezTo>
                  <a:cubicBezTo>
                    <a:pt x="213031" y="601180"/>
                    <a:pt x="215990" y="603453"/>
                    <a:pt x="225855" y="595475"/>
                  </a:cubicBezTo>
                  <a:cubicBezTo>
                    <a:pt x="228857" y="593031"/>
                    <a:pt x="232117" y="592644"/>
                    <a:pt x="235291" y="593245"/>
                  </a:cubicBezTo>
                  <a:cubicBezTo>
                    <a:pt x="238808" y="579949"/>
                    <a:pt x="242796" y="567683"/>
                    <a:pt x="244598" y="563523"/>
                  </a:cubicBezTo>
                  <a:cubicBezTo>
                    <a:pt x="247557" y="556660"/>
                    <a:pt x="237693" y="540706"/>
                    <a:pt x="242625" y="538390"/>
                  </a:cubicBezTo>
                  <a:cubicBezTo>
                    <a:pt x="247557" y="536116"/>
                    <a:pt x="264370" y="540706"/>
                    <a:pt x="269302" y="524665"/>
                  </a:cubicBezTo>
                  <a:cubicBezTo>
                    <a:pt x="274277" y="508710"/>
                    <a:pt x="280196" y="500690"/>
                    <a:pt x="280196" y="500690"/>
                  </a:cubicBezTo>
                  <a:cubicBezTo>
                    <a:pt x="280196" y="500690"/>
                    <a:pt x="282169" y="466464"/>
                    <a:pt x="291047" y="472168"/>
                  </a:cubicBezTo>
                  <a:cubicBezTo>
                    <a:pt x="299925" y="477873"/>
                    <a:pt x="310819" y="487008"/>
                    <a:pt x="311806" y="473284"/>
                  </a:cubicBezTo>
                  <a:cubicBezTo>
                    <a:pt x="312792" y="459559"/>
                    <a:pt x="323643" y="467579"/>
                    <a:pt x="326602" y="455013"/>
                  </a:cubicBezTo>
                  <a:cubicBezTo>
                    <a:pt x="329561" y="442403"/>
                    <a:pt x="335480" y="443561"/>
                    <a:pt x="342386" y="445834"/>
                  </a:cubicBezTo>
                  <a:cubicBezTo>
                    <a:pt x="349291" y="448150"/>
                    <a:pt x="355210" y="444719"/>
                    <a:pt x="355210" y="437857"/>
                  </a:cubicBezTo>
                  <a:cubicBezTo>
                    <a:pt x="355210" y="431038"/>
                    <a:pt x="370993" y="434426"/>
                    <a:pt x="383859" y="424175"/>
                  </a:cubicBezTo>
                  <a:cubicBezTo>
                    <a:pt x="396683" y="413882"/>
                    <a:pt x="403588" y="405904"/>
                    <a:pt x="408521" y="411609"/>
                  </a:cubicBezTo>
                  <a:cubicBezTo>
                    <a:pt x="413496" y="417356"/>
                    <a:pt x="446049" y="416198"/>
                    <a:pt x="450981" y="413925"/>
                  </a:cubicBezTo>
                  <a:cubicBezTo>
                    <a:pt x="455914" y="411609"/>
                    <a:pt x="465778" y="401358"/>
                    <a:pt x="477658" y="403631"/>
                  </a:cubicBezTo>
                  <a:cubicBezTo>
                    <a:pt x="489496" y="405904"/>
                    <a:pt x="518146" y="397927"/>
                    <a:pt x="529983" y="397927"/>
                  </a:cubicBezTo>
                  <a:cubicBezTo>
                    <a:pt x="541821" y="397927"/>
                    <a:pt x="546796" y="385361"/>
                    <a:pt x="550742" y="380814"/>
                  </a:cubicBezTo>
                  <a:cubicBezTo>
                    <a:pt x="554688" y="376268"/>
                    <a:pt x="557647" y="355724"/>
                    <a:pt x="561636" y="352293"/>
                  </a:cubicBezTo>
                  <a:cubicBezTo>
                    <a:pt x="564810" y="349548"/>
                    <a:pt x="564166" y="277794"/>
                    <a:pt x="563780" y="249530"/>
                  </a:cubicBezTo>
                  <a:cubicBezTo>
                    <a:pt x="551900" y="252447"/>
                    <a:pt x="535388" y="256693"/>
                    <a:pt x="535388" y="256693"/>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53" name="Freeform: Shape 109">
              <a:extLst>
                <a:ext uri="{FF2B5EF4-FFF2-40B4-BE49-F238E27FC236}">
                  <a16:creationId xmlns:a16="http://schemas.microsoft.com/office/drawing/2014/main" id="{6DC2D5DF-698E-DFC2-1F83-0FCF9BD58ECB}"/>
                </a:ext>
              </a:extLst>
            </p:cNvPr>
            <p:cNvSpPr/>
            <p:nvPr/>
          </p:nvSpPr>
          <p:spPr>
            <a:xfrm>
              <a:off x="6855522" y="3986540"/>
              <a:ext cx="216502" cy="173858"/>
            </a:xfrm>
            <a:custGeom>
              <a:avLst/>
              <a:gdLst>
                <a:gd name="connsiteX0" fmla="*/ 279381 w 283069"/>
                <a:gd name="connsiteY0" fmla="*/ 130137 h 227313"/>
                <a:gd name="connsiteX1" fmla="*/ 265828 w 283069"/>
                <a:gd name="connsiteY1" fmla="*/ 123103 h 227313"/>
                <a:gd name="connsiteX2" fmla="*/ 263598 w 283069"/>
                <a:gd name="connsiteY2" fmla="*/ 101701 h 227313"/>
                <a:gd name="connsiteX3" fmla="*/ 246571 w 283069"/>
                <a:gd name="connsiteY3" fmla="*/ 104275 h 227313"/>
                <a:gd name="connsiteX4" fmla="*/ 233232 w 283069"/>
                <a:gd name="connsiteY4" fmla="*/ 90550 h 227313"/>
                <a:gd name="connsiteX5" fmla="*/ 227313 w 283069"/>
                <a:gd name="connsiteY5" fmla="*/ 75968 h 227313"/>
                <a:gd name="connsiteX6" fmla="*/ 211744 w 283069"/>
                <a:gd name="connsiteY6" fmla="*/ 55424 h 227313"/>
                <a:gd name="connsiteX7" fmla="*/ 200636 w 283069"/>
                <a:gd name="connsiteY7" fmla="*/ 33164 h 227313"/>
                <a:gd name="connsiteX8" fmla="*/ 200422 w 283069"/>
                <a:gd name="connsiteY8" fmla="*/ 12448 h 227313"/>
                <a:gd name="connsiteX9" fmla="*/ 179663 w 283069"/>
                <a:gd name="connsiteY9" fmla="*/ 8331 h 227313"/>
                <a:gd name="connsiteX10" fmla="*/ 155002 w 283069"/>
                <a:gd name="connsiteY10" fmla="*/ 20898 h 227313"/>
                <a:gd name="connsiteX11" fmla="*/ 126352 w 283069"/>
                <a:gd name="connsiteY11" fmla="*/ 34580 h 227313"/>
                <a:gd name="connsiteX12" fmla="*/ 113528 w 283069"/>
                <a:gd name="connsiteY12" fmla="*/ 42557 h 227313"/>
                <a:gd name="connsiteX13" fmla="*/ 97745 w 283069"/>
                <a:gd name="connsiteY13" fmla="*/ 51735 h 227313"/>
                <a:gd name="connsiteX14" fmla="*/ 82948 w 283069"/>
                <a:gd name="connsiteY14" fmla="*/ 70006 h 227313"/>
                <a:gd name="connsiteX15" fmla="*/ 62189 w 283069"/>
                <a:gd name="connsiteY15" fmla="*/ 68891 h 227313"/>
                <a:gd name="connsiteX16" fmla="*/ 51338 w 283069"/>
                <a:gd name="connsiteY16" fmla="*/ 97412 h 227313"/>
                <a:gd name="connsiteX17" fmla="*/ 40445 w 283069"/>
                <a:gd name="connsiteY17" fmla="*/ 121387 h 227313"/>
                <a:gd name="connsiteX18" fmla="*/ 13767 w 283069"/>
                <a:gd name="connsiteY18" fmla="*/ 135112 h 227313"/>
                <a:gd name="connsiteX19" fmla="*/ 15741 w 283069"/>
                <a:gd name="connsiteY19" fmla="*/ 160245 h 227313"/>
                <a:gd name="connsiteX20" fmla="*/ 6433 w 283069"/>
                <a:gd name="connsiteY20" fmla="*/ 189967 h 227313"/>
                <a:gd name="connsiteX21" fmla="*/ 22689 w 283069"/>
                <a:gd name="connsiteY21" fmla="*/ 202534 h 227313"/>
                <a:gd name="connsiteX22" fmla="*/ 52325 w 283069"/>
                <a:gd name="connsiteY22" fmla="*/ 218489 h 227313"/>
                <a:gd name="connsiteX23" fmla="*/ 91826 w 283069"/>
                <a:gd name="connsiteY23" fmla="*/ 212785 h 227313"/>
                <a:gd name="connsiteX24" fmla="*/ 102677 w 283069"/>
                <a:gd name="connsiteY24" fmla="*/ 209353 h 227313"/>
                <a:gd name="connsiteX25" fmla="*/ 96759 w 283069"/>
                <a:gd name="connsiteY25" fmla="*/ 170496 h 227313"/>
                <a:gd name="connsiteX26" fmla="*/ 180693 w 283069"/>
                <a:gd name="connsiteY26" fmla="*/ 172769 h 227313"/>
                <a:gd name="connsiteX27" fmla="*/ 193517 w 283069"/>
                <a:gd name="connsiteY27" fmla="*/ 162475 h 227313"/>
                <a:gd name="connsiteX28" fmla="*/ 224140 w 283069"/>
                <a:gd name="connsiteY28" fmla="*/ 167064 h 227313"/>
                <a:gd name="connsiteX29" fmla="*/ 242882 w 283069"/>
                <a:gd name="connsiteY29" fmla="*/ 152182 h 227313"/>
                <a:gd name="connsiteX30" fmla="*/ 270546 w 283069"/>
                <a:gd name="connsiteY30" fmla="*/ 145362 h 227313"/>
                <a:gd name="connsiteX31" fmla="*/ 279424 w 283069"/>
                <a:gd name="connsiteY31" fmla="*/ 130523 h 227313"/>
                <a:gd name="connsiteX32" fmla="*/ 279381 w 283069"/>
                <a:gd name="connsiteY32" fmla="*/ 130137 h 22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83069" h="227313">
                  <a:moveTo>
                    <a:pt x="279381" y="130137"/>
                  </a:moveTo>
                  <a:cubicBezTo>
                    <a:pt x="274363" y="124776"/>
                    <a:pt x="267586" y="123103"/>
                    <a:pt x="265828" y="123103"/>
                  </a:cubicBezTo>
                  <a:cubicBezTo>
                    <a:pt x="262869" y="123103"/>
                    <a:pt x="265099" y="104275"/>
                    <a:pt x="263598" y="101701"/>
                  </a:cubicBezTo>
                  <a:cubicBezTo>
                    <a:pt x="262096" y="99128"/>
                    <a:pt x="252489" y="106848"/>
                    <a:pt x="246571" y="104275"/>
                  </a:cubicBezTo>
                  <a:cubicBezTo>
                    <a:pt x="240652" y="101701"/>
                    <a:pt x="238422" y="90550"/>
                    <a:pt x="233232" y="90550"/>
                  </a:cubicBezTo>
                  <a:cubicBezTo>
                    <a:pt x="228043" y="90550"/>
                    <a:pt x="227313" y="83688"/>
                    <a:pt x="227313" y="75968"/>
                  </a:cubicBezTo>
                  <a:cubicBezTo>
                    <a:pt x="227313" y="68248"/>
                    <a:pt x="217706" y="60570"/>
                    <a:pt x="211744" y="55424"/>
                  </a:cubicBezTo>
                  <a:cubicBezTo>
                    <a:pt x="205826" y="50277"/>
                    <a:pt x="204325" y="35737"/>
                    <a:pt x="200636" y="33164"/>
                  </a:cubicBezTo>
                  <a:cubicBezTo>
                    <a:pt x="198535" y="31663"/>
                    <a:pt x="199349" y="21155"/>
                    <a:pt x="200422" y="12448"/>
                  </a:cubicBezTo>
                  <a:cubicBezTo>
                    <a:pt x="191200" y="12277"/>
                    <a:pt x="182108" y="11162"/>
                    <a:pt x="179663" y="8331"/>
                  </a:cubicBezTo>
                  <a:cubicBezTo>
                    <a:pt x="174731" y="2627"/>
                    <a:pt x="167826" y="10647"/>
                    <a:pt x="155002" y="20898"/>
                  </a:cubicBezTo>
                  <a:cubicBezTo>
                    <a:pt x="142135" y="31191"/>
                    <a:pt x="126352" y="27760"/>
                    <a:pt x="126352" y="34580"/>
                  </a:cubicBezTo>
                  <a:cubicBezTo>
                    <a:pt x="126352" y="41442"/>
                    <a:pt x="120433" y="44873"/>
                    <a:pt x="113528" y="42557"/>
                  </a:cubicBezTo>
                  <a:cubicBezTo>
                    <a:pt x="106623" y="40284"/>
                    <a:pt x="100661" y="39126"/>
                    <a:pt x="97745" y="51735"/>
                  </a:cubicBezTo>
                  <a:cubicBezTo>
                    <a:pt x="94785" y="64302"/>
                    <a:pt x="83935" y="56281"/>
                    <a:pt x="82948" y="70006"/>
                  </a:cubicBezTo>
                  <a:cubicBezTo>
                    <a:pt x="81961" y="83730"/>
                    <a:pt x="71110" y="74595"/>
                    <a:pt x="62189" y="68891"/>
                  </a:cubicBezTo>
                  <a:cubicBezTo>
                    <a:pt x="53312" y="63187"/>
                    <a:pt x="51338" y="97412"/>
                    <a:pt x="51338" y="97412"/>
                  </a:cubicBezTo>
                  <a:cubicBezTo>
                    <a:pt x="51338" y="97412"/>
                    <a:pt x="45420" y="105432"/>
                    <a:pt x="40445" y="121387"/>
                  </a:cubicBezTo>
                  <a:cubicBezTo>
                    <a:pt x="35512" y="137428"/>
                    <a:pt x="18743" y="132839"/>
                    <a:pt x="13767" y="135112"/>
                  </a:cubicBezTo>
                  <a:cubicBezTo>
                    <a:pt x="8835" y="137428"/>
                    <a:pt x="18700" y="153383"/>
                    <a:pt x="15741" y="160245"/>
                  </a:cubicBezTo>
                  <a:cubicBezTo>
                    <a:pt x="13939" y="164405"/>
                    <a:pt x="9908" y="176672"/>
                    <a:pt x="6433" y="189967"/>
                  </a:cubicBezTo>
                  <a:cubicBezTo>
                    <a:pt x="13725" y="191340"/>
                    <a:pt x="20587" y="198502"/>
                    <a:pt x="22689" y="202534"/>
                  </a:cubicBezTo>
                  <a:cubicBezTo>
                    <a:pt x="25648" y="208195"/>
                    <a:pt x="43447" y="229940"/>
                    <a:pt x="52325" y="218489"/>
                  </a:cubicBezTo>
                  <a:cubicBezTo>
                    <a:pt x="61203" y="207080"/>
                    <a:pt x="85864" y="205922"/>
                    <a:pt x="91826" y="212785"/>
                  </a:cubicBezTo>
                  <a:cubicBezTo>
                    <a:pt x="97745" y="219647"/>
                    <a:pt x="101733" y="216216"/>
                    <a:pt x="102677" y="209353"/>
                  </a:cubicBezTo>
                  <a:cubicBezTo>
                    <a:pt x="103664" y="202491"/>
                    <a:pt x="92813" y="177358"/>
                    <a:pt x="96759" y="170496"/>
                  </a:cubicBezTo>
                  <a:cubicBezTo>
                    <a:pt x="100661" y="163633"/>
                    <a:pt x="177734" y="167064"/>
                    <a:pt x="180693" y="172769"/>
                  </a:cubicBezTo>
                  <a:cubicBezTo>
                    <a:pt x="183652" y="178473"/>
                    <a:pt x="183652" y="161360"/>
                    <a:pt x="193517" y="162475"/>
                  </a:cubicBezTo>
                  <a:cubicBezTo>
                    <a:pt x="203381" y="163633"/>
                    <a:pt x="218221" y="169338"/>
                    <a:pt x="224140" y="167064"/>
                  </a:cubicBezTo>
                  <a:cubicBezTo>
                    <a:pt x="230058" y="164791"/>
                    <a:pt x="236963" y="152182"/>
                    <a:pt x="242882" y="152182"/>
                  </a:cubicBezTo>
                  <a:cubicBezTo>
                    <a:pt x="248801" y="152182"/>
                    <a:pt x="266600" y="151067"/>
                    <a:pt x="270546" y="145362"/>
                  </a:cubicBezTo>
                  <a:cubicBezTo>
                    <a:pt x="274492" y="139658"/>
                    <a:pt x="281397" y="139658"/>
                    <a:pt x="279424" y="130523"/>
                  </a:cubicBezTo>
                  <a:cubicBezTo>
                    <a:pt x="279424" y="130437"/>
                    <a:pt x="279424" y="130308"/>
                    <a:pt x="279381" y="130137"/>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54" name="Freeform: Shape 110">
              <a:extLst>
                <a:ext uri="{FF2B5EF4-FFF2-40B4-BE49-F238E27FC236}">
                  <a16:creationId xmlns:a16="http://schemas.microsoft.com/office/drawing/2014/main" id="{B18F866A-B3CB-0EB2-B145-58EC1EFA4323}"/>
                </a:ext>
              </a:extLst>
            </p:cNvPr>
            <p:cNvSpPr/>
            <p:nvPr/>
          </p:nvSpPr>
          <p:spPr>
            <a:xfrm>
              <a:off x="7003023" y="3726122"/>
              <a:ext cx="403481" cy="364117"/>
            </a:xfrm>
            <a:custGeom>
              <a:avLst/>
              <a:gdLst>
                <a:gd name="connsiteX0" fmla="*/ 501311 w 527538"/>
                <a:gd name="connsiteY0" fmla="*/ 74756 h 476071"/>
                <a:gd name="connsiteX1" fmla="*/ 499338 w 527538"/>
                <a:gd name="connsiteY1" fmla="*/ 25133 h 476071"/>
                <a:gd name="connsiteX2" fmla="*/ 472833 w 527538"/>
                <a:gd name="connsiteY2" fmla="*/ 41731 h 476071"/>
                <a:gd name="connsiteX3" fmla="*/ 451689 w 527538"/>
                <a:gd name="connsiteY3" fmla="*/ 17284 h 476071"/>
                <a:gd name="connsiteX4" fmla="*/ 402409 w 527538"/>
                <a:gd name="connsiteY4" fmla="*/ 6433 h 476071"/>
                <a:gd name="connsiteX5" fmla="*/ 259158 w 527538"/>
                <a:gd name="connsiteY5" fmla="*/ 109668 h 476071"/>
                <a:gd name="connsiteX6" fmla="*/ 198127 w 527538"/>
                <a:gd name="connsiteY6" fmla="*/ 166668 h 476071"/>
                <a:gd name="connsiteX7" fmla="*/ 146488 w 527538"/>
                <a:gd name="connsiteY7" fmla="*/ 185668 h 476071"/>
                <a:gd name="connsiteX8" fmla="*/ 142027 w 527538"/>
                <a:gd name="connsiteY8" fmla="*/ 186740 h 476071"/>
                <a:gd name="connsiteX9" fmla="*/ 139883 w 527538"/>
                <a:gd name="connsiteY9" fmla="*/ 289503 h 476071"/>
                <a:gd name="connsiteX10" fmla="*/ 128989 w 527538"/>
                <a:gd name="connsiteY10" fmla="*/ 318024 h 476071"/>
                <a:gd name="connsiteX11" fmla="*/ 108231 w 527538"/>
                <a:gd name="connsiteY11" fmla="*/ 335137 h 476071"/>
                <a:gd name="connsiteX12" fmla="*/ 55906 w 527538"/>
                <a:gd name="connsiteY12" fmla="*/ 340841 h 476071"/>
                <a:gd name="connsiteX13" fmla="*/ 29229 w 527538"/>
                <a:gd name="connsiteY13" fmla="*/ 351135 h 476071"/>
                <a:gd name="connsiteX14" fmla="*/ 7527 w 527538"/>
                <a:gd name="connsiteY14" fmla="*/ 352936 h 476071"/>
                <a:gd name="connsiteX15" fmla="*/ 7741 w 527538"/>
                <a:gd name="connsiteY15" fmla="*/ 373652 h 476071"/>
                <a:gd name="connsiteX16" fmla="*/ 18849 w 527538"/>
                <a:gd name="connsiteY16" fmla="*/ 395911 h 476071"/>
                <a:gd name="connsiteX17" fmla="*/ 34418 w 527538"/>
                <a:gd name="connsiteY17" fmla="*/ 416455 h 476071"/>
                <a:gd name="connsiteX18" fmla="*/ 40337 w 527538"/>
                <a:gd name="connsiteY18" fmla="*/ 431038 h 476071"/>
                <a:gd name="connsiteX19" fmla="*/ 53676 w 527538"/>
                <a:gd name="connsiteY19" fmla="*/ 444762 h 476071"/>
                <a:gd name="connsiteX20" fmla="*/ 70703 w 527538"/>
                <a:gd name="connsiteY20" fmla="*/ 442189 h 476071"/>
                <a:gd name="connsiteX21" fmla="*/ 72933 w 527538"/>
                <a:gd name="connsiteY21" fmla="*/ 463590 h 476071"/>
                <a:gd name="connsiteX22" fmla="*/ 86486 w 527538"/>
                <a:gd name="connsiteY22" fmla="*/ 470624 h 476071"/>
                <a:gd name="connsiteX23" fmla="*/ 98409 w 527538"/>
                <a:gd name="connsiteY23" fmla="*/ 452782 h 476071"/>
                <a:gd name="connsiteX24" fmla="*/ 109260 w 527538"/>
                <a:gd name="connsiteY24" fmla="*/ 471053 h 476071"/>
                <a:gd name="connsiteX25" fmla="*/ 123114 w 527538"/>
                <a:gd name="connsiteY25" fmla="*/ 464191 h 476071"/>
                <a:gd name="connsiteX26" fmla="*/ 137910 w 527538"/>
                <a:gd name="connsiteY26" fmla="*/ 436785 h 476071"/>
                <a:gd name="connsiteX27" fmla="*/ 145802 w 527538"/>
                <a:gd name="connsiteY27" fmla="*/ 405947 h 476071"/>
                <a:gd name="connsiteX28" fmla="*/ 176425 w 527538"/>
                <a:gd name="connsiteY28" fmla="*/ 405947 h 476071"/>
                <a:gd name="connsiteX29" fmla="*/ 196154 w 527538"/>
                <a:gd name="connsiteY29" fmla="*/ 397970 h 476071"/>
                <a:gd name="connsiteX30" fmla="*/ 222831 w 527538"/>
                <a:gd name="connsiteY30" fmla="*/ 407105 h 476071"/>
                <a:gd name="connsiteX31" fmla="*/ 241574 w 527538"/>
                <a:gd name="connsiteY31" fmla="*/ 427649 h 476071"/>
                <a:gd name="connsiteX32" fmla="*/ 269194 w 527538"/>
                <a:gd name="connsiteY32" fmla="*/ 418514 h 476071"/>
                <a:gd name="connsiteX33" fmla="*/ 294885 w 527538"/>
                <a:gd name="connsiteY33" fmla="*/ 434469 h 476071"/>
                <a:gd name="connsiteX34" fmla="*/ 327481 w 527538"/>
                <a:gd name="connsiteY34" fmla="*/ 434469 h 476071"/>
                <a:gd name="connsiteX35" fmla="*/ 352143 w 527538"/>
                <a:gd name="connsiteY35" fmla="*/ 416241 h 476071"/>
                <a:gd name="connsiteX36" fmla="*/ 394603 w 527538"/>
                <a:gd name="connsiteY36" fmla="*/ 417356 h 476071"/>
                <a:gd name="connsiteX37" fmla="*/ 422267 w 527538"/>
                <a:gd name="connsiteY37" fmla="*/ 425333 h 476071"/>
                <a:gd name="connsiteX38" fmla="*/ 445941 w 527538"/>
                <a:gd name="connsiteY38" fmla="*/ 400200 h 476071"/>
                <a:gd name="connsiteX39" fmla="*/ 450702 w 527538"/>
                <a:gd name="connsiteY39" fmla="*/ 400071 h 476071"/>
                <a:gd name="connsiteX40" fmla="*/ 450873 w 527538"/>
                <a:gd name="connsiteY40" fmla="*/ 387634 h 476071"/>
                <a:gd name="connsiteX41" fmla="*/ 457821 w 527538"/>
                <a:gd name="connsiteY41" fmla="*/ 354523 h 476071"/>
                <a:gd name="connsiteX42" fmla="*/ 511133 w 527538"/>
                <a:gd name="connsiteY42" fmla="*/ 276850 h 476071"/>
                <a:gd name="connsiteX43" fmla="*/ 515079 w 527538"/>
                <a:gd name="connsiteY43" fmla="*/ 180950 h 476071"/>
                <a:gd name="connsiteX44" fmla="*/ 520998 w 527538"/>
                <a:gd name="connsiteY44" fmla="*/ 139862 h 476071"/>
                <a:gd name="connsiteX45" fmla="*/ 515079 w 527538"/>
                <a:gd name="connsiteY45" fmla="*/ 110183 h 476071"/>
                <a:gd name="connsiteX46" fmla="*/ 501311 w 527538"/>
                <a:gd name="connsiteY46" fmla="*/ 74756 h 476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27538" h="476071">
                  <a:moveTo>
                    <a:pt x="501311" y="74756"/>
                  </a:moveTo>
                  <a:cubicBezTo>
                    <a:pt x="501311" y="69180"/>
                    <a:pt x="500196" y="43919"/>
                    <a:pt x="499338" y="25133"/>
                  </a:cubicBezTo>
                  <a:lnTo>
                    <a:pt x="472833" y="41731"/>
                  </a:lnTo>
                  <a:cubicBezTo>
                    <a:pt x="472833" y="41731"/>
                    <a:pt x="465799" y="28178"/>
                    <a:pt x="451689" y="17284"/>
                  </a:cubicBezTo>
                  <a:cubicBezTo>
                    <a:pt x="437621" y="6433"/>
                    <a:pt x="402409" y="6433"/>
                    <a:pt x="402409" y="6433"/>
                  </a:cubicBezTo>
                  <a:lnTo>
                    <a:pt x="259158" y="109668"/>
                  </a:lnTo>
                  <a:lnTo>
                    <a:pt x="198127" y="166668"/>
                  </a:lnTo>
                  <a:cubicBezTo>
                    <a:pt x="198127" y="166668"/>
                    <a:pt x="158197" y="182966"/>
                    <a:pt x="146488" y="185668"/>
                  </a:cubicBezTo>
                  <a:cubicBezTo>
                    <a:pt x="145116" y="185968"/>
                    <a:pt x="143615" y="186311"/>
                    <a:pt x="142027" y="186740"/>
                  </a:cubicBezTo>
                  <a:cubicBezTo>
                    <a:pt x="142414" y="215047"/>
                    <a:pt x="143057" y="286758"/>
                    <a:pt x="139883" y="289503"/>
                  </a:cubicBezTo>
                  <a:cubicBezTo>
                    <a:pt x="135937" y="292934"/>
                    <a:pt x="132935" y="313478"/>
                    <a:pt x="128989" y="318024"/>
                  </a:cubicBezTo>
                  <a:cubicBezTo>
                    <a:pt x="125043" y="322613"/>
                    <a:pt x="120111" y="335137"/>
                    <a:pt x="108231" y="335137"/>
                  </a:cubicBezTo>
                  <a:cubicBezTo>
                    <a:pt x="96394" y="335137"/>
                    <a:pt x="67743" y="343157"/>
                    <a:pt x="55906" y="340841"/>
                  </a:cubicBezTo>
                  <a:cubicBezTo>
                    <a:pt x="44025" y="338568"/>
                    <a:pt x="34161" y="348819"/>
                    <a:pt x="29229" y="351135"/>
                  </a:cubicBezTo>
                  <a:cubicBezTo>
                    <a:pt x="26741" y="352293"/>
                    <a:pt x="17048" y="353150"/>
                    <a:pt x="7527" y="352936"/>
                  </a:cubicBezTo>
                  <a:cubicBezTo>
                    <a:pt x="6454" y="361685"/>
                    <a:pt x="5640" y="372193"/>
                    <a:pt x="7741" y="373652"/>
                  </a:cubicBezTo>
                  <a:cubicBezTo>
                    <a:pt x="11430" y="376225"/>
                    <a:pt x="12931" y="390764"/>
                    <a:pt x="18849" y="395911"/>
                  </a:cubicBezTo>
                  <a:cubicBezTo>
                    <a:pt x="24768" y="401058"/>
                    <a:pt x="34418" y="408735"/>
                    <a:pt x="34418" y="416455"/>
                  </a:cubicBezTo>
                  <a:cubicBezTo>
                    <a:pt x="34418" y="424175"/>
                    <a:pt x="35148" y="431038"/>
                    <a:pt x="40337" y="431038"/>
                  </a:cubicBezTo>
                  <a:cubicBezTo>
                    <a:pt x="45526" y="431038"/>
                    <a:pt x="47757" y="442189"/>
                    <a:pt x="53676" y="444762"/>
                  </a:cubicBezTo>
                  <a:cubicBezTo>
                    <a:pt x="59594" y="447335"/>
                    <a:pt x="69244" y="439615"/>
                    <a:pt x="70703" y="442189"/>
                  </a:cubicBezTo>
                  <a:cubicBezTo>
                    <a:pt x="72204" y="444762"/>
                    <a:pt x="69931" y="463590"/>
                    <a:pt x="72933" y="463590"/>
                  </a:cubicBezTo>
                  <a:cubicBezTo>
                    <a:pt x="74691" y="463590"/>
                    <a:pt x="81425" y="465263"/>
                    <a:pt x="86486" y="470624"/>
                  </a:cubicBezTo>
                  <a:cubicBezTo>
                    <a:pt x="84684" y="461532"/>
                    <a:pt x="88630" y="449394"/>
                    <a:pt x="98409" y="452782"/>
                  </a:cubicBezTo>
                  <a:cubicBezTo>
                    <a:pt x="108274" y="456171"/>
                    <a:pt x="100382" y="466464"/>
                    <a:pt x="109260" y="471053"/>
                  </a:cubicBezTo>
                  <a:cubicBezTo>
                    <a:pt x="118138" y="475600"/>
                    <a:pt x="123114" y="472168"/>
                    <a:pt x="123114" y="464191"/>
                  </a:cubicBezTo>
                  <a:cubicBezTo>
                    <a:pt x="123114" y="456171"/>
                    <a:pt x="134994" y="440216"/>
                    <a:pt x="137910" y="436785"/>
                  </a:cubicBezTo>
                  <a:cubicBezTo>
                    <a:pt x="140870" y="433353"/>
                    <a:pt x="139883" y="411651"/>
                    <a:pt x="145802" y="405947"/>
                  </a:cubicBezTo>
                  <a:cubicBezTo>
                    <a:pt x="151720" y="400243"/>
                    <a:pt x="169477" y="404789"/>
                    <a:pt x="176425" y="405947"/>
                  </a:cubicBezTo>
                  <a:cubicBezTo>
                    <a:pt x="183330" y="407105"/>
                    <a:pt x="188262" y="389950"/>
                    <a:pt x="196154" y="397970"/>
                  </a:cubicBezTo>
                  <a:cubicBezTo>
                    <a:pt x="204046" y="405947"/>
                    <a:pt x="216912" y="399128"/>
                    <a:pt x="222831" y="407105"/>
                  </a:cubicBezTo>
                  <a:cubicBezTo>
                    <a:pt x="228750" y="415083"/>
                    <a:pt x="231709" y="434512"/>
                    <a:pt x="241574" y="427649"/>
                  </a:cubicBezTo>
                  <a:cubicBezTo>
                    <a:pt x="251438" y="420787"/>
                    <a:pt x="263276" y="418514"/>
                    <a:pt x="269194" y="418514"/>
                  </a:cubicBezTo>
                  <a:cubicBezTo>
                    <a:pt x="275113" y="418514"/>
                    <a:pt x="288966" y="432195"/>
                    <a:pt x="294885" y="434469"/>
                  </a:cubicBezTo>
                  <a:cubicBezTo>
                    <a:pt x="300804" y="436785"/>
                    <a:pt x="320533" y="439058"/>
                    <a:pt x="327481" y="434469"/>
                  </a:cubicBezTo>
                  <a:cubicBezTo>
                    <a:pt x="334386" y="429922"/>
                    <a:pt x="343264" y="415083"/>
                    <a:pt x="352143" y="416241"/>
                  </a:cubicBezTo>
                  <a:cubicBezTo>
                    <a:pt x="361020" y="417356"/>
                    <a:pt x="388684" y="413925"/>
                    <a:pt x="394603" y="417356"/>
                  </a:cubicBezTo>
                  <a:cubicBezTo>
                    <a:pt x="400521" y="420787"/>
                    <a:pt x="413388" y="428807"/>
                    <a:pt x="422267" y="425333"/>
                  </a:cubicBezTo>
                  <a:cubicBezTo>
                    <a:pt x="431144" y="421902"/>
                    <a:pt x="439036" y="402516"/>
                    <a:pt x="445941" y="400200"/>
                  </a:cubicBezTo>
                  <a:cubicBezTo>
                    <a:pt x="448129" y="399471"/>
                    <a:pt x="449501" y="399643"/>
                    <a:pt x="450702" y="400071"/>
                  </a:cubicBezTo>
                  <a:cubicBezTo>
                    <a:pt x="450830" y="395611"/>
                    <a:pt x="450873" y="391408"/>
                    <a:pt x="450873" y="387634"/>
                  </a:cubicBezTo>
                  <a:cubicBezTo>
                    <a:pt x="450873" y="367089"/>
                    <a:pt x="454819" y="375067"/>
                    <a:pt x="457821" y="354523"/>
                  </a:cubicBezTo>
                  <a:cubicBezTo>
                    <a:pt x="460781" y="333979"/>
                    <a:pt x="507187" y="280282"/>
                    <a:pt x="511133" y="276850"/>
                  </a:cubicBezTo>
                  <a:cubicBezTo>
                    <a:pt x="515079" y="273462"/>
                    <a:pt x="515079" y="192358"/>
                    <a:pt x="515079" y="180950"/>
                  </a:cubicBezTo>
                  <a:cubicBezTo>
                    <a:pt x="515079" y="169541"/>
                    <a:pt x="517095" y="155860"/>
                    <a:pt x="520998" y="139862"/>
                  </a:cubicBezTo>
                  <a:cubicBezTo>
                    <a:pt x="524943" y="123864"/>
                    <a:pt x="514092" y="125022"/>
                    <a:pt x="515079" y="110183"/>
                  </a:cubicBezTo>
                  <a:cubicBezTo>
                    <a:pt x="516108" y="95343"/>
                    <a:pt x="501311" y="83891"/>
                    <a:pt x="501311" y="74756"/>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55" name="Freeform: Shape 111">
              <a:extLst>
                <a:ext uri="{FF2B5EF4-FFF2-40B4-BE49-F238E27FC236}">
                  <a16:creationId xmlns:a16="http://schemas.microsoft.com/office/drawing/2014/main" id="{A01AA7D3-4AA3-DF10-85A1-E57CAF66C0A9}"/>
                </a:ext>
              </a:extLst>
            </p:cNvPr>
            <p:cNvSpPr/>
            <p:nvPr/>
          </p:nvSpPr>
          <p:spPr>
            <a:xfrm>
              <a:off x="7342882" y="3726122"/>
              <a:ext cx="262427" cy="498611"/>
            </a:xfrm>
            <a:custGeom>
              <a:avLst/>
              <a:gdLst>
                <a:gd name="connsiteX0" fmla="*/ 339812 w 343114"/>
                <a:gd name="connsiteY0" fmla="*/ 164995 h 651917"/>
                <a:gd name="connsiteX1" fmla="*/ 84878 w 343114"/>
                <a:gd name="connsiteY1" fmla="*/ 6433 h 651917"/>
                <a:gd name="connsiteX2" fmla="*/ 55027 w 343114"/>
                <a:gd name="connsiteY2" fmla="*/ 25176 h 651917"/>
                <a:gd name="connsiteX3" fmla="*/ 57000 w 343114"/>
                <a:gd name="connsiteY3" fmla="*/ 74799 h 651917"/>
                <a:gd name="connsiteX4" fmla="*/ 70810 w 343114"/>
                <a:gd name="connsiteY4" fmla="*/ 110226 h 651917"/>
                <a:gd name="connsiteX5" fmla="*/ 76729 w 343114"/>
                <a:gd name="connsiteY5" fmla="*/ 139905 h 651917"/>
                <a:gd name="connsiteX6" fmla="*/ 70810 w 343114"/>
                <a:gd name="connsiteY6" fmla="*/ 180993 h 651917"/>
                <a:gd name="connsiteX7" fmla="*/ 66864 w 343114"/>
                <a:gd name="connsiteY7" fmla="*/ 276893 h 651917"/>
                <a:gd name="connsiteX8" fmla="*/ 13553 w 343114"/>
                <a:gd name="connsiteY8" fmla="*/ 354566 h 651917"/>
                <a:gd name="connsiteX9" fmla="*/ 6605 w 343114"/>
                <a:gd name="connsiteY9" fmla="*/ 387677 h 651917"/>
                <a:gd name="connsiteX10" fmla="*/ 6433 w 343114"/>
                <a:gd name="connsiteY10" fmla="*/ 400114 h 651917"/>
                <a:gd name="connsiteX11" fmla="*/ 13510 w 343114"/>
                <a:gd name="connsiteY11" fmla="*/ 408220 h 651917"/>
                <a:gd name="connsiteX12" fmla="*/ 28307 w 343114"/>
                <a:gd name="connsiteY12" fmla="*/ 424218 h 651917"/>
                <a:gd name="connsiteX13" fmla="*/ 49065 w 343114"/>
                <a:gd name="connsiteY13" fmla="*/ 460760 h 651917"/>
                <a:gd name="connsiteX14" fmla="*/ 53011 w 343114"/>
                <a:gd name="connsiteY14" fmla="*/ 495028 h 651917"/>
                <a:gd name="connsiteX15" fmla="*/ 66864 w 343114"/>
                <a:gd name="connsiteY15" fmla="*/ 543021 h 651917"/>
                <a:gd name="connsiteX16" fmla="*/ 53011 w 343114"/>
                <a:gd name="connsiteY16" fmla="*/ 548683 h 651917"/>
                <a:gd name="connsiteX17" fmla="*/ 24404 w 343114"/>
                <a:gd name="connsiteY17" fmla="*/ 553272 h 651917"/>
                <a:gd name="connsiteX18" fmla="*/ 32295 w 343114"/>
                <a:gd name="connsiteY18" fmla="*/ 580721 h 651917"/>
                <a:gd name="connsiteX19" fmla="*/ 59959 w 343114"/>
                <a:gd name="connsiteY19" fmla="*/ 613832 h 651917"/>
                <a:gd name="connsiteX20" fmla="*/ 72826 w 343114"/>
                <a:gd name="connsiteY20" fmla="*/ 645827 h 651917"/>
                <a:gd name="connsiteX21" fmla="*/ 91569 w 343114"/>
                <a:gd name="connsiteY21" fmla="*/ 636692 h 651917"/>
                <a:gd name="connsiteX22" fmla="*/ 113313 w 343114"/>
                <a:gd name="connsiteY22" fmla="*/ 636692 h 651917"/>
                <a:gd name="connsiteX23" fmla="*/ 149855 w 343114"/>
                <a:gd name="connsiteY23" fmla="*/ 624125 h 651917"/>
                <a:gd name="connsiteX24" fmla="*/ 179492 w 343114"/>
                <a:gd name="connsiteY24" fmla="*/ 605854 h 651917"/>
                <a:gd name="connsiteX25" fmla="*/ 181464 w 343114"/>
                <a:gd name="connsiteY25" fmla="*/ 585310 h 651917"/>
                <a:gd name="connsiteX26" fmla="*/ 228857 w 343114"/>
                <a:gd name="connsiteY26" fmla="*/ 573902 h 651917"/>
                <a:gd name="connsiteX27" fmla="*/ 261453 w 343114"/>
                <a:gd name="connsiteY27" fmla="*/ 535044 h 651917"/>
                <a:gd name="connsiteX28" fmla="*/ 268358 w 343114"/>
                <a:gd name="connsiteY28" fmla="*/ 516730 h 651917"/>
                <a:gd name="connsiteX29" fmla="*/ 295979 w 343114"/>
                <a:gd name="connsiteY29" fmla="*/ 504164 h 651917"/>
                <a:gd name="connsiteX30" fmla="*/ 301769 w 343114"/>
                <a:gd name="connsiteY30" fmla="*/ 505665 h 651917"/>
                <a:gd name="connsiteX31" fmla="*/ 300697 w 343114"/>
                <a:gd name="connsiteY31" fmla="*/ 504207 h 651917"/>
                <a:gd name="connsiteX32" fmla="*/ 304814 w 343114"/>
                <a:gd name="connsiteY32" fmla="*/ 487523 h 651917"/>
                <a:gd name="connsiteX33" fmla="*/ 288345 w 343114"/>
                <a:gd name="connsiteY33" fmla="*/ 463676 h 651917"/>
                <a:gd name="connsiteX34" fmla="*/ 282168 w 343114"/>
                <a:gd name="connsiteY34" fmla="*/ 435112 h 651917"/>
                <a:gd name="connsiteX35" fmla="*/ 278051 w 343114"/>
                <a:gd name="connsiteY35" fmla="*/ 413667 h 651917"/>
                <a:gd name="connsiteX36" fmla="*/ 280153 w 343114"/>
                <a:gd name="connsiteY36" fmla="*/ 385060 h 651917"/>
                <a:gd name="connsiteX37" fmla="*/ 294563 w 343114"/>
                <a:gd name="connsiteY37" fmla="*/ 356496 h 651917"/>
                <a:gd name="connsiteX38" fmla="*/ 306916 w 343114"/>
                <a:gd name="connsiteY38" fmla="*/ 332649 h 651917"/>
                <a:gd name="connsiteX39" fmla="*/ 335737 w 343114"/>
                <a:gd name="connsiteY39" fmla="*/ 311205 h 651917"/>
                <a:gd name="connsiteX40" fmla="*/ 339855 w 343114"/>
                <a:gd name="connsiteY40" fmla="*/ 270717 h 651917"/>
                <a:gd name="connsiteX41" fmla="*/ 339855 w 343114"/>
                <a:gd name="connsiteY41" fmla="*/ 164995 h 65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43114" h="651917">
                  <a:moveTo>
                    <a:pt x="339812" y="164995"/>
                  </a:moveTo>
                  <a:lnTo>
                    <a:pt x="84878" y="6433"/>
                  </a:lnTo>
                  <a:lnTo>
                    <a:pt x="55027" y="25176"/>
                  </a:lnTo>
                  <a:cubicBezTo>
                    <a:pt x="55884" y="43962"/>
                    <a:pt x="57000" y="69180"/>
                    <a:pt x="57000" y="74799"/>
                  </a:cubicBezTo>
                  <a:cubicBezTo>
                    <a:pt x="57000" y="83977"/>
                    <a:pt x="71797" y="95386"/>
                    <a:pt x="70810" y="110226"/>
                  </a:cubicBezTo>
                  <a:cubicBezTo>
                    <a:pt x="69823" y="125065"/>
                    <a:pt x="80675" y="123907"/>
                    <a:pt x="76729" y="139905"/>
                  </a:cubicBezTo>
                  <a:cubicBezTo>
                    <a:pt x="72826" y="155903"/>
                    <a:pt x="70810" y="169584"/>
                    <a:pt x="70810" y="180993"/>
                  </a:cubicBezTo>
                  <a:cubicBezTo>
                    <a:pt x="70810" y="192401"/>
                    <a:pt x="70853" y="273505"/>
                    <a:pt x="66864" y="276893"/>
                  </a:cubicBezTo>
                  <a:cubicBezTo>
                    <a:pt x="62918" y="280324"/>
                    <a:pt x="16469" y="334022"/>
                    <a:pt x="13553" y="354566"/>
                  </a:cubicBezTo>
                  <a:cubicBezTo>
                    <a:pt x="10594" y="375110"/>
                    <a:pt x="6605" y="367132"/>
                    <a:pt x="6605" y="387677"/>
                  </a:cubicBezTo>
                  <a:cubicBezTo>
                    <a:pt x="6605" y="391451"/>
                    <a:pt x="6562" y="395654"/>
                    <a:pt x="6433" y="400114"/>
                  </a:cubicBezTo>
                  <a:cubicBezTo>
                    <a:pt x="8964" y="401144"/>
                    <a:pt x="10122" y="404317"/>
                    <a:pt x="13510" y="408220"/>
                  </a:cubicBezTo>
                  <a:cubicBezTo>
                    <a:pt x="18485" y="413925"/>
                    <a:pt x="18485" y="424218"/>
                    <a:pt x="28307" y="424218"/>
                  </a:cubicBezTo>
                  <a:cubicBezTo>
                    <a:pt x="38171" y="424218"/>
                    <a:pt x="50051" y="450466"/>
                    <a:pt x="49065" y="460760"/>
                  </a:cubicBezTo>
                  <a:cubicBezTo>
                    <a:pt x="48079" y="471053"/>
                    <a:pt x="53997" y="476757"/>
                    <a:pt x="53011" y="495028"/>
                  </a:cubicBezTo>
                  <a:cubicBezTo>
                    <a:pt x="52025" y="513299"/>
                    <a:pt x="61889" y="539547"/>
                    <a:pt x="66864" y="543021"/>
                  </a:cubicBezTo>
                  <a:cubicBezTo>
                    <a:pt x="71797" y="546453"/>
                    <a:pt x="64849" y="549884"/>
                    <a:pt x="53011" y="548683"/>
                  </a:cubicBezTo>
                  <a:cubicBezTo>
                    <a:pt x="41174" y="547525"/>
                    <a:pt x="24404" y="547568"/>
                    <a:pt x="24404" y="553272"/>
                  </a:cubicBezTo>
                  <a:cubicBezTo>
                    <a:pt x="24404" y="558976"/>
                    <a:pt x="19471" y="566997"/>
                    <a:pt x="32295" y="580721"/>
                  </a:cubicBezTo>
                  <a:cubicBezTo>
                    <a:pt x="45162" y="594403"/>
                    <a:pt x="56013" y="598949"/>
                    <a:pt x="59959" y="613832"/>
                  </a:cubicBezTo>
                  <a:cubicBezTo>
                    <a:pt x="63905" y="628671"/>
                    <a:pt x="68837" y="642396"/>
                    <a:pt x="72826" y="645827"/>
                  </a:cubicBezTo>
                  <a:cubicBezTo>
                    <a:pt x="76729" y="649258"/>
                    <a:pt x="84663" y="648143"/>
                    <a:pt x="91569" y="636692"/>
                  </a:cubicBezTo>
                  <a:cubicBezTo>
                    <a:pt x="98517" y="625240"/>
                    <a:pt x="106408" y="646942"/>
                    <a:pt x="113313" y="636692"/>
                  </a:cubicBezTo>
                  <a:cubicBezTo>
                    <a:pt x="120218" y="626398"/>
                    <a:pt x="143936" y="627556"/>
                    <a:pt x="149855" y="624125"/>
                  </a:cubicBezTo>
                  <a:cubicBezTo>
                    <a:pt x="155774" y="620694"/>
                    <a:pt x="173573" y="611558"/>
                    <a:pt x="179492" y="605854"/>
                  </a:cubicBezTo>
                  <a:cubicBezTo>
                    <a:pt x="185410" y="600150"/>
                    <a:pt x="172587" y="591015"/>
                    <a:pt x="181464" y="585310"/>
                  </a:cubicBezTo>
                  <a:cubicBezTo>
                    <a:pt x="190343" y="579606"/>
                    <a:pt x="218006" y="589899"/>
                    <a:pt x="228857" y="573902"/>
                  </a:cubicBezTo>
                  <a:cubicBezTo>
                    <a:pt x="239708" y="557904"/>
                    <a:pt x="256478" y="540748"/>
                    <a:pt x="261453" y="535044"/>
                  </a:cubicBezTo>
                  <a:cubicBezTo>
                    <a:pt x="266385" y="529340"/>
                    <a:pt x="261453" y="524751"/>
                    <a:pt x="268358" y="516730"/>
                  </a:cubicBezTo>
                  <a:cubicBezTo>
                    <a:pt x="275263" y="508753"/>
                    <a:pt x="289074" y="499617"/>
                    <a:pt x="295979" y="504164"/>
                  </a:cubicBezTo>
                  <a:cubicBezTo>
                    <a:pt x="297523" y="505193"/>
                    <a:pt x="299582" y="505536"/>
                    <a:pt x="301769" y="505665"/>
                  </a:cubicBezTo>
                  <a:cubicBezTo>
                    <a:pt x="301126" y="504764"/>
                    <a:pt x="300697" y="504207"/>
                    <a:pt x="300697" y="504207"/>
                  </a:cubicBezTo>
                  <a:lnTo>
                    <a:pt x="304814" y="487523"/>
                  </a:lnTo>
                  <a:cubicBezTo>
                    <a:pt x="304814" y="487523"/>
                    <a:pt x="288345" y="478001"/>
                    <a:pt x="288345" y="463676"/>
                  </a:cubicBezTo>
                  <a:cubicBezTo>
                    <a:pt x="288345" y="449394"/>
                    <a:pt x="292462" y="435112"/>
                    <a:pt x="282168" y="435112"/>
                  </a:cubicBezTo>
                  <a:cubicBezTo>
                    <a:pt x="271875" y="435112"/>
                    <a:pt x="269816" y="423146"/>
                    <a:pt x="278051" y="413667"/>
                  </a:cubicBezTo>
                  <a:cubicBezTo>
                    <a:pt x="286329" y="404103"/>
                    <a:pt x="265699" y="385060"/>
                    <a:pt x="280153" y="385060"/>
                  </a:cubicBezTo>
                  <a:cubicBezTo>
                    <a:pt x="294563" y="385060"/>
                    <a:pt x="284270" y="358855"/>
                    <a:pt x="294563" y="356496"/>
                  </a:cubicBezTo>
                  <a:cubicBezTo>
                    <a:pt x="304857" y="354094"/>
                    <a:pt x="306916" y="344573"/>
                    <a:pt x="306916" y="332649"/>
                  </a:cubicBezTo>
                  <a:cubicBezTo>
                    <a:pt x="306916" y="320726"/>
                    <a:pt x="329561" y="313564"/>
                    <a:pt x="335737" y="311205"/>
                  </a:cubicBezTo>
                  <a:cubicBezTo>
                    <a:pt x="341956" y="308846"/>
                    <a:pt x="339855" y="270717"/>
                    <a:pt x="339855" y="270717"/>
                  </a:cubicBezTo>
                  <a:lnTo>
                    <a:pt x="339855" y="164995"/>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56" name="Freeform: Shape 112">
              <a:extLst>
                <a:ext uri="{FF2B5EF4-FFF2-40B4-BE49-F238E27FC236}">
                  <a16:creationId xmlns:a16="http://schemas.microsoft.com/office/drawing/2014/main" id="{3D8ABFF8-C6F5-8184-2301-3FE1DBDDBAC2}"/>
                </a:ext>
              </a:extLst>
            </p:cNvPr>
            <p:cNvSpPr/>
            <p:nvPr/>
          </p:nvSpPr>
          <p:spPr>
            <a:xfrm>
              <a:off x="7618015" y="3454510"/>
              <a:ext cx="282109" cy="331314"/>
            </a:xfrm>
            <a:custGeom>
              <a:avLst/>
              <a:gdLst>
                <a:gd name="connsiteX0" fmla="*/ 363816 w 368848"/>
                <a:gd name="connsiteY0" fmla="*/ 351092 h 433181"/>
                <a:gd name="connsiteX1" fmla="*/ 348505 w 368848"/>
                <a:gd name="connsiteY1" fmla="*/ 308245 h 433181"/>
                <a:gd name="connsiteX2" fmla="*/ 312949 w 368848"/>
                <a:gd name="connsiteY2" fmla="*/ 229415 h 433181"/>
                <a:gd name="connsiteX3" fmla="*/ 297123 w 368848"/>
                <a:gd name="connsiteY3" fmla="*/ 190000 h 433181"/>
                <a:gd name="connsiteX4" fmla="*/ 274435 w 368848"/>
                <a:gd name="connsiteY4" fmla="*/ 147153 h 433181"/>
                <a:gd name="connsiteX5" fmla="*/ 259123 w 368848"/>
                <a:gd name="connsiteY5" fmla="*/ 76343 h 433181"/>
                <a:gd name="connsiteX6" fmla="*/ 281340 w 368848"/>
                <a:gd name="connsiteY6" fmla="*/ 126009 h 433181"/>
                <a:gd name="connsiteX7" fmla="*/ 314965 w 368848"/>
                <a:gd name="connsiteY7" fmla="*/ 176833 h 433181"/>
                <a:gd name="connsiteX8" fmla="*/ 335208 w 368848"/>
                <a:gd name="connsiteY8" fmla="*/ 122020 h 433181"/>
                <a:gd name="connsiteX9" fmla="*/ 336024 w 368848"/>
                <a:gd name="connsiteY9" fmla="*/ 123693 h 433181"/>
                <a:gd name="connsiteX10" fmla="*/ 337310 w 368848"/>
                <a:gd name="connsiteY10" fmla="*/ 113228 h 433181"/>
                <a:gd name="connsiteX11" fmla="*/ 342199 w 368848"/>
                <a:gd name="connsiteY11" fmla="*/ 97702 h 433181"/>
                <a:gd name="connsiteX12" fmla="*/ 318224 w 368848"/>
                <a:gd name="connsiteY12" fmla="*/ 29679 h 433181"/>
                <a:gd name="connsiteX13" fmla="*/ 314493 w 368848"/>
                <a:gd name="connsiteY13" fmla="*/ 35770 h 433181"/>
                <a:gd name="connsiteX14" fmla="*/ 278938 w 368848"/>
                <a:gd name="connsiteY14" fmla="*/ 33497 h 433181"/>
                <a:gd name="connsiteX15" fmla="*/ 236949 w 368848"/>
                <a:gd name="connsiteY15" fmla="*/ 23246 h 433181"/>
                <a:gd name="connsiteX16" fmla="*/ 234719 w 368848"/>
                <a:gd name="connsiteY16" fmla="*/ 22260 h 433181"/>
                <a:gd name="connsiteX17" fmla="*/ 223096 w 368848"/>
                <a:gd name="connsiteY17" fmla="*/ 29165 h 433181"/>
                <a:gd name="connsiteX18" fmla="*/ 74956 w 368848"/>
                <a:gd name="connsiteY18" fmla="*/ 64162 h 433181"/>
                <a:gd name="connsiteX19" fmla="*/ 31124 w 368848"/>
                <a:gd name="connsiteY19" fmla="*/ 13724 h 433181"/>
                <a:gd name="connsiteX20" fmla="*/ 18171 w 368848"/>
                <a:gd name="connsiteY20" fmla="*/ 6433 h 433181"/>
                <a:gd name="connsiteX21" fmla="*/ 15126 w 368848"/>
                <a:gd name="connsiteY21" fmla="*/ 16041 h 433181"/>
                <a:gd name="connsiteX22" fmla="*/ 11008 w 368848"/>
                <a:gd name="connsiteY22" fmla="*/ 63691 h 433181"/>
                <a:gd name="connsiteX23" fmla="*/ 11008 w 368848"/>
                <a:gd name="connsiteY23" fmla="*/ 120862 h 433181"/>
                <a:gd name="connsiteX24" fmla="*/ 11008 w 368848"/>
                <a:gd name="connsiteY24" fmla="*/ 418385 h 433181"/>
                <a:gd name="connsiteX25" fmla="*/ 214733 w 368848"/>
                <a:gd name="connsiteY25" fmla="*/ 418385 h 433181"/>
                <a:gd name="connsiteX26" fmla="*/ 226570 w 368848"/>
                <a:gd name="connsiteY26" fmla="*/ 409250 h 433181"/>
                <a:gd name="connsiteX27" fmla="*/ 242396 w 368848"/>
                <a:gd name="connsiteY27" fmla="*/ 416112 h 433181"/>
                <a:gd name="connsiteX28" fmla="*/ 285843 w 368848"/>
                <a:gd name="connsiteY28" fmla="*/ 416112 h 433181"/>
                <a:gd name="connsiteX29" fmla="*/ 303642 w 368848"/>
                <a:gd name="connsiteY29" fmla="*/ 427564 h 433181"/>
                <a:gd name="connsiteX30" fmla="*/ 323414 w 368848"/>
                <a:gd name="connsiteY30" fmla="*/ 409293 h 433181"/>
                <a:gd name="connsiteX31" fmla="*/ 345116 w 368848"/>
                <a:gd name="connsiteY31" fmla="*/ 381843 h 433181"/>
                <a:gd name="connsiteX32" fmla="*/ 362915 w 368848"/>
                <a:gd name="connsiteY32" fmla="*/ 368162 h 433181"/>
                <a:gd name="connsiteX33" fmla="*/ 364030 w 368848"/>
                <a:gd name="connsiteY33" fmla="*/ 366532 h 433181"/>
                <a:gd name="connsiteX34" fmla="*/ 363816 w 368848"/>
                <a:gd name="connsiteY34" fmla="*/ 351092 h 43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68848" h="433181">
                  <a:moveTo>
                    <a:pt x="363816" y="351092"/>
                  </a:moveTo>
                  <a:cubicBezTo>
                    <a:pt x="366303" y="332821"/>
                    <a:pt x="355410" y="333936"/>
                    <a:pt x="348505" y="308245"/>
                  </a:cubicBezTo>
                  <a:cubicBezTo>
                    <a:pt x="341599" y="282555"/>
                    <a:pt x="313936" y="244297"/>
                    <a:pt x="312949" y="229415"/>
                  </a:cubicBezTo>
                  <a:cubicBezTo>
                    <a:pt x="311963" y="214575"/>
                    <a:pt x="296651" y="206040"/>
                    <a:pt x="297123" y="190000"/>
                  </a:cubicBezTo>
                  <a:cubicBezTo>
                    <a:pt x="297594" y="174002"/>
                    <a:pt x="289746" y="172329"/>
                    <a:pt x="274435" y="147153"/>
                  </a:cubicBezTo>
                  <a:cubicBezTo>
                    <a:pt x="259123" y="122063"/>
                    <a:pt x="254663" y="78058"/>
                    <a:pt x="259123" y="76343"/>
                  </a:cubicBezTo>
                  <a:cubicBezTo>
                    <a:pt x="263541" y="74627"/>
                    <a:pt x="276407" y="113485"/>
                    <a:pt x="281340" y="126009"/>
                  </a:cubicBezTo>
                  <a:cubicBezTo>
                    <a:pt x="286272" y="138575"/>
                    <a:pt x="303084" y="176833"/>
                    <a:pt x="314965" y="176833"/>
                  </a:cubicBezTo>
                  <a:cubicBezTo>
                    <a:pt x="326845" y="176833"/>
                    <a:pt x="331263" y="119146"/>
                    <a:pt x="335208" y="122020"/>
                  </a:cubicBezTo>
                  <a:cubicBezTo>
                    <a:pt x="335552" y="122235"/>
                    <a:pt x="335809" y="122878"/>
                    <a:pt x="336024" y="123693"/>
                  </a:cubicBezTo>
                  <a:lnTo>
                    <a:pt x="337310" y="113228"/>
                  </a:lnTo>
                  <a:lnTo>
                    <a:pt x="342199" y="97702"/>
                  </a:lnTo>
                  <a:lnTo>
                    <a:pt x="318224" y="29679"/>
                  </a:lnTo>
                  <a:cubicBezTo>
                    <a:pt x="316509" y="32767"/>
                    <a:pt x="315179" y="34955"/>
                    <a:pt x="314493" y="35770"/>
                  </a:cubicBezTo>
                  <a:cubicBezTo>
                    <a:pt x="310547" y="40359"/>
                    <a:pt x="294249" y="28907"/>
                    <a:pt x="278938" y="33497"/>
                  </a:cubicBezTo>
                  <a:cubicBezTo>
                    <a:pt x="263626" y="38085"/>
                    <a:pt x="251746" y="31781"/>
                    <a:pt x="236949" y="23246"/>
                  </a:cubicBezTo>
                  <a:cubicBezTo>
                    <a:pt x="236306" y="22860"/>
                    <a:pt x="235534" y="22560"/>
                    <a:pt x="234719" y="22260"/>
                  </a:cubicBezTo>
                  <a:cubicBezTo>
                    <a:pt x="231245" y="25004"/>
                    <a:pt x="227342" y="27363"/>
                    <a:pt x="223096" y="29165"/>
                  </a:cubicBezTo>
                  <a:cubicBezTo>
                    <a:pt x="175660" y="49751"/>
                    <a:pt x="124708" y="52711"/>
                    <a:pt x="74956" y="64162"/>
                  </a:cubicBezTo>
                  <a:cubicBezTo>
                    <a:pt x="42789" y="71582"/>
                    <a:pt x="23703" y="37957"/>
                    <a:pt x="31124" y="13724"/>
                  </a:cubicBezTo>
                  <a:cubicBezTo>
                    <a:pt x="24690" y="11709"/>
                    <a:pt x="20058" y="9307"/>
                    <a:pt x="18171" y="6433"/>
                  </a:cubicBezTo>
                  <a:cubicBezTo>
                    <a:pt x="17099" y="9736"/>
                    <a:pt x="16112" y="12952"/>
                    <a:pt x="15126" y="16041"/>
                  </a:cubicBezTo>
                  <a:cubicBezTo>
                    <a:pt x="6891" y="42246"/>
                    <a:pt x="21302" y="49408"/>
                    <a:pt x="11008" y="63691"/>
                  </a:cubicBezTo>
                  <a:cubicBezTo>
                    <a:pt x="715" y="77973"/>
                    <a:pt x="11008" y="94699"/>
                    <a:pt x="11008" y="120862"/>
                  </a:cubicBezTo>
                  <a:lnTo>
                    <a:pt x="11008" y="418385"/>
                  </a:lnTo>
                  <a:lnTo>
                    <a:pt x="214733" y="418385"/>
                  </a:lnTo>
                  <a:cubicBezTo>
                    <a:pt x="214733" y="418385"/>
                    <a:pt x="220651" y="413796"/>
                    <a:pt x="226570" y="409250"/>
                  </a:cubicBezTo>
                  <a:cubicBezTo>
                    <a:pt x="232489" y="404703"/>
                    <a:pt x="242396" y="416112"/>
                    <a:pt x="242396" y="416112"/>
                  </a:cubicBezTo>
                  <a:lnTo>
                    <a:pt x="285843" y="416112"/>
                  </a:lnTo>
                  <a:cubicBezTo>
                    <a:pt x="285843" y="416112"/>
                    <a:pt x="293778" y="427564"/>
                    <a:pt x="303642" y="427564"/>
                  </a:cubicBezTo>
                  <a:cubicBezTo>
                    <a:pt x="313507" y="427564"/>
                    <a:pt x="307588" y="409293"/>
                    <a:pt x="323414" y="409293"/>
                  </a:cubicBezTo>
                  <a:cubicBezTo>
                    <a:pt x="339197" y="409293"/>
                    <a:pt x="335251" y="381843"/>
                    <a:pt x="345116" y="381843"/>
                  </a:cubicBezTo>
                  <a:cubicBezTo>
                    <a:pt x="354980" y="381843"/>
                    <a:pt x="353051" y="384159"/>
                    <a:pt x="362915" y="368162"/>
                  </a:cubicBezTo>
                  <a:cubicBezTo>
                    <a:pt x="363215" y="367690"/>
                    <a:pt x="363687" y="367047"/>
                    <a:pt x="364030" y="366532"/>
                  </a:cubicBezTo>
                  <a:cubicBezTo>
                    <a:pt x="363172" y="361642"/>
                    <a:pt x="363086" y="356453"/>
                    <a:pt x="363816" y="351092"/>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57" name="Freeform: Shape 116">
              <a:extLst>
                <a:ext uri="{FF2B5EF4-FFF2-40B4-BE49-F238E27FC236}">
                  <a16:creationId xmlns:a16="http://schemas.microsoft.com/office/drawing/2014/main" id="{6F5AAA91-5FA2-E0DE-774F-6DBFBE4F3A5D}"/>
                </a:ext>
              </a:extLst>
            </p:cNvPr>
            <p:cNvSpPr/>
            <p:nvPr/>
          </p:nvSpPr>
          <p:spPr>
            <a:xfrm>
              <a:off x="7546707" y="3729862"/>
              <a:ext cx="426444" cy="610143"/>
            </a:xfrm>
            <a:custGeom>
              <a:avLst/>
              <a:gdLst>
                <a:gd name="connsiteX0" fmla="*/ 438306 w 557560"/>
                <a:gd name="connsiteY0" fmla="*/ 21873 h 797741"/>
                <a:gd name="connsiteX1" fmla="*/ 416604 w 557560"/>
                <a:gd name="connsiteY1" fmla="*/ 49323 h 797741"/>
                <a:gd name="connsiteX2" fmla="*/ 396832 w 557560"/>
                <a:gd name="connsiteY2" fmla="*/ 67593 h 797741"/>
                <a:gd name="connsiteX3" fmla="*/ 379033 w 557560"/>
                <a:gd name="connsiteY3" fmla="*/ 56142 h 797741"/>
                <a:gd name="connsiteX4" fmla="*/ 335586 w 557560"/>
                <a:gd name="connsiteY4" fmla="*/ 56142 h 797741"/>
                <a:gd name="connsiteX5" fmla="*/ 319760 w 557560"/>
                <a:gd name="connsiteY5" fmla="*/ 49280 h 797741"/>
                <a:gd name="connsiteX6" fmla="*/ 307923 w 557560"/>
                <a:gd name="connsiteY6" fmla="*/ 58415 h 797741"/>
                <a:gd name="connsiteX7" fmla="*/ 104198 w 557560"/>
                <a:gd name="connsiteY7" fmla="*/ 58415 h 797741"/>
                <a:gd name="connsiteX8" fmla="*/ 104198 w 557560"/>
                <a:gd name="connsiteY8" fmla="*/ 139605 h 797741"/>
                <a:gd name="connsiteX9" fmla="*/ 73318 w 557560"/>
                <a:gd name="connsiteY9" fmla="*/ 139605 h 797741"/>
                <a:gd name="connsiteX10" fmla="*/ 73318 w 557560"/>
                <a:gd name="connsiteY10" fmla="*/ 265871 h 797741"/>
                <a:gd name="connsiteX11" fmla="*/ 69201 w 557560"/>
                <a:gd name="connsiteY11" fmla="*/ 306358 h 797741"/>
                <a:gd name="connsiteX12" fmla="*/ 40379 w 557560"/>
                <a:gd name="connsiteY12" fmla="*/ 327803 h 797741"/>
                <a:gd name="connsiteX13" fmla="*/ 28027 w 557560"/>
                <a:gd name="connsiteY13" fmla="*/ 351649 h 797741"/>
                <a:gd name="connsiteX14" fmla="*/ 13616 w 557560"/>
                <a:gd name="connsiteY14" fmla="*/ 380214 h 797741"/>
                <a:gd name="connsiteX15" fmla="*/ 11515 w 557560"/>
                <a:gd name="connsiteY15" fmla="*/ 408821 h 797741"/>
                <a:gd name="connsiteX16" fmla="*/ 15632 w 557560"/>
                <a:gd name="connsiteY16" fmla="*/ 430265 h 797741"/>
                <a:gd name="connsiteX17" fmla="*/ 21808 w 557560"/>
                <a:gd name="connsiteY17" fmla="*/ 458830 h 797741"/>
                <a:gd name="connsiteX18" fmla="*/ 38278 w 557560"/>
                <a:gd name="connsiteY18" fmla="*/ 482676 h 797741"/>
                <a:gd name="connsiteX19" fmla="*/ 34160 w 557560"/>
                <a:gd name="connsiteY19" fmla="*/ 499360 h 797741"/>
                <a:gd name="connsiteX20" fmla="*/ 58908 w 557560"/>
                <a:gd name="connsiteY20" fmla="*/ 537446 h 797741"/>
                <a:gd name="connsiteX21" fmla="*/ 60966 w 557560"/>
                <a:gd name="connsiteY21" fmla="*/ 570814 h 797741"/>
                <a:gd name="connsiteX22" fmla="*/ 56848 w 557560"/>
                <a:gd name="connsiteY22" fmla="*/ 585096 h 797741"/>
                <a:gd name="connsiteX23" fmla="*/ 71260 w 557560"/>
                <a:gd name="connsiteY23" fmla="*/ 587498 h 797741"/>
                <a:gd name="connsiteX24" fmla="*/ 75420 w 557560"/>
                <a:gd name="connsiteY24" fmla="*/ 599378 h 797741"/>
                <a:gd name="connsiteX25" fmla="*/ 102183 w 557560"/>
                <a:gd name="connsiteY25" fmla="*/ 613660 h 797741"/>
                <a:gd name="connsiteX26" fmla="*/ 116593 w 557560"/>
                <a:gd name="connsiteY26" fmla="*/ 637464 h 797741"/>
                <a:gd name="connsiteX27" fmla="*/ 137181 w 557560"/>
                <a:gd name="connsiteY27" fmla="*/ 658908 h 797741"/>
                <a:gd name="connsiteX28" fmla="*/ 149490 w 557560"/>
                <a:gd name="connsiteY28" fmla="*/ 685114 h 797741"/>
                <a:gd name="connsiteX29" fmla="*/ 172135 w 557560"/>
                <a:gd name="connsiteY29" fmla="*/ 704157 h 797741"/>
                <a:gd name="connsiteX30" fmla="*/ 179855 w 557560"/>
                <a:gd name="connsiteY30" fmla="*/ 726416 h 797741"/>
                <a:gd name="connsiteX31" fmla="*/ 188519 w 557560"/>
                <a:gd name="connsiteY31" fmla="*/ 736495 h 797741"/>
                <a:gd name="connsiteX32" fmla="*/ 202973 w 557560"/>
                <a:gd name="connsiteY32" fmla="*/ 755624 h 797741"/>
                <a:gd name="connsiteX33" fmla="*/ 223602 w 557560"/>
                <a:gd name="connsiteY33" fmla="*/ 755624 h 797741"/>
                <a:gd name="connsiteX34" fmla="*/ 242173 w 557560"/>
                <a:gd name="connsiteY34" fmla="*/ 758026 h 797741"/>
                <a:gd name="connsiteX35" fmla="*/ 258686 w 557560"/>
                <a:gd name="connsiteY35" fmla="*/ 753222 h 797741"/>
                <a:gd name="connsiteX36" fmla="*/ 297286 w 557560"/>
                <a:gd name="connsiteY36" fmla="*/ 790879 h 797741"/>
                <a:gd name="connsiteX37" fmla="*/ 321990 w 557560"/>
                <a:gd name="connsiteY37" fmla="*/ 782515 h 797741"/>
                <a:gd name="connsiteX38" fmla="*/ 342706 w 557560"/>
                <a:gd name="connsiteY38" fmla="*/ 791050 h 797741"/>
                <a:gd name="connsiteX39" fmla="*/ 367153 w 557560"/>
                <a:gd name="connsiteY39" fmla="*/ 781615 h 797741"/>
                <a:gd name="connsiteX40" fmla="*/ 387868 w 557560"/>
                <a:gd name="connsiteY40" fmla="*/ 779899 h 797741"/>
                <a:gd name="connsiteX41" fmla="*/ 399148 w 557560"/>
                <a:gd name="connsiteY41" fmla="*/ 767375 h 797741"/>
                <a:gd name="connsiteX42" fmla="*/ 403437 w 557560"/>
                <a:gd name="connsiteY42" fmla="*/ 761071 h 797741"/>
                <a:gd name="connsiteX43" fmla="*/ 430071 w 557560"/>
                <a:gd name="connsiteY43" fmla="*/ 740484 h 797741"/>
                <a:gd name="connsiteX44" fmla="*/ 450101 w 557560"/>
                <a:gd name="connsiteY44" fmla="*/ 743057 h 797741"/>
                <a:gd name="connsiteX45" fmla="*/ 458421 w 557560"/>
                <a:gd name="connsiteY45" fmla="*/ 748890 h 797741"/>
                <a:gd name="connsiteX46" fmla="*/ 458979 w 557560"/>
                <a:gd name="connsiteY46" fmla="*/ 714965 h 797741"/>
                <a:gd name="connsiteX47" fmla="*/ 428013 w 557560"/>
                <a:gd name="connsiteY47" fmla="*/ 686315 h 797741"/>
                <a:gd name="connsiteX48" fmla="*/ 399105 w 557560"/>
                <a:gd name="connsiteY48" fmla="*/ 643297 h 797741"/>
                <a:gd name="connsiteX49" fmla="*/ 368139 w 557560"/>
                <a:gd name="connsiteY49" fmla="*/ 624211 h 797741"/>
                <a:gd name="connsiteX50" fmla="*/ 374358 w 557560"/>
                <a:gd name="connsiteY50" fmla="*/ 602723 h 797741"/>
                <a:gd name="connsiteX51" fmla="*/ 401164 w 557560"/>
                <a:gd name="connsiteY51" fmla="*/ 595518 h 797741"/>
                <a:gd name="connsiteX52" fmla="*/ 405324 w 557560"/>
                <a:gd name="connsiteY52" fmla="*/ 552543 h 797741"/>
                <a:gd name="connsiteX53" fmla="*/ 415618 w 557560"/>
                <a:gd name="connsiteY53" fmla="*/ 516730 h 797741"/>
                <a:gd name="connsiteX54" fmla="*/ 430071 w 557560"/>
                <a:gd name="connsiteY54" fmla="*/ 500003 h 797741"/>
                <a:gd name="connsiteX55" fmla="*/ 440408 w 557560"/>
                <a:gd name="connsiteY55" fmla="*/ 461789 h 797741"/>
                <a:gd name="connsiteX56" fmla="*/ 461038 w 557560"/>
                <a:gd name="connsiteY56" fmla="*/ 433139 h 797741"/>
                <a:gd name="connsiteX57" fmla="*/ 475448 w 557560"/>
                <a:gd name="connsiteY57" fmla="*/ 414053 h 797741"/>
                <a:gd name="connsiteX58" fmla="*/ 487886 w 557560"/>
                <a:gd name="connsiteY58" fmla="*/ 368676 h 797741"/>
                <a:gd name="connsiteX59" fmla="*/ 489945 w 557560"/>
                <a:gd name="connsiteY59" fmla="*/ 316137 h 797741"/>
                <a:gd name="connsiteX60" fmla="*/ 502340 w 557560"/>
                <a:gd name="connsiteY60" fmla="*/ 277923 h 797741"/>
                <a:gd name="connsiteX61" fmla="*/ 520911 w 557560"/>
                <a:gd name="connsiteY61" fmla="*/ 256435 h 797741"/>
                <a:gd name="connsiteX62" fmla="*/ 552820 w 557560"/>
                <a:gd name="connsiteY62" fmla="*/ 222038 h 797741"/>
                <a:gd name="connsiteX63" fmla="*/ 532062 w 557560"/>
                <a:gd name="connsiteY63" fmla="*/ 199907 h 797741"/>
                <a:gd name="connsiteX64" fmla="*/ 512290 w 557560"/>
                <a:gd name="connsiteY64" fmla="*/ 139390 h 797741"/>
                <a:gd name="connsiteX65" fmla="*/ 504870 w 557560"/>
                <a:gd name="connsiteY65" fmla="*/ 75442 h 797741"/>
                <a:gd name="connsiteX66" fmla="*/ 475748 w 557560"/>
                <a:gd name="connsiteY66" fmla="*/ 35426 h 797741"/>
                <a:gd name="connsiteX67" fmla="*/ 457092 w 557560"/>
                <a:gd name="connsiteY67" fmla="*/ 6433 h 797741"/>
                <a:gd name="connsiteX68" fmla="*/ 455977 w 557560"/>
                <a:gd name="connsiteY68" fmla="*/ 8063 h 797741"/>
                <a:gd name="connsiteX69" fmla="*/ 438306 w 557560"/>
                <a:gd name="connsiteY69" fmla="*/ 21873 h 797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57560" h="797741">
                  <a:moveTo>
                    <a:pt x="438306" y="21873"/>
                  </a:moveTo>
                  <a:cubicBezTo>
                    <a:pt x="428441" y="21873"/>
                    <a:pt x="432387" y="49323"/>
                    <a:pt x="416604" y="49323"/>
                  </a:cubicBezTo>
                  <a:cubicBezTo>
                    <a:pt x="400778" y="49323"/>
                    <a:pt x="406697" y="67593"/>
                    <a:pt x="396832" y="67593"/>
                  </a:cubicBezTo>
                  <a:cubicBezTo>
                    <a:pt x="386968" y="67593"/>
                    <a:pt x="379033" y="56142"/>
                    <a:pt x="379033" y="56142"/>
                  </a:cubicBezTo>
                  <a:lnTo>
                    <a:pt x="335586" y="56142"/>
                  </a:lnTo>
                  <a:cubicBezTo>
                    <a:pt x="335586" y="56142"/>
                    <a:pt x="325722" y="44734"/>
                    <a:pt x="319760" y="49280"/>
                  </a:cubicBezTo>
                  <a:cubicBezTo>
                    <a:pt x="313841" y="53869"/>
                    <a:pt x="307923" y="58415"/>
                    <a:pt x="307923" y="58415"/>
                  </a:cubicBezTo>
                  <a:lnTo>
                    <a:pt x="104198" y="58415"/>
                  </a:lnTo>
                  <a:cubicBezTo>
                    <a:pt x="104198" y="105808"/>
                    <a:pt x="104198" y="139605"/>
                    <a:pt x="104198" y="139605"/>
                  </a:cubicBezTo>
                  <a:lnTo>
                    <a:pt x="73318" y="139605"/>
                  </a:lnTo>
                  <a:lnTo>
                    <a:pt x="73318" y="265871"/>
                  </a:lnTo>
                  <a:cubicBezTo>
                    <a:pt x="73318" y="265871"/>
                    <a:pt x="75377" y="303999"/>
                    <a:pt x="69201" y="306358"/>
                  </a:cubicBezTo>
                  <a:cubicBezTo>
                    <a:pt x="63025" y="308717"/>
                    <a:pt x="40379" y="315880"/>
                    <a:pt x="40379" y="327803"/>
                  </a:cubicBezTo>
                  <a:cubicBezTo>
                    <a:pt x="40379" y="339726"/>
                    <a:pt x="38320" y="349248"/>
                    <a:pt x="28027" y="351649"/>
                  </a:cubicBezTo>
                  <a:cubicBezTo>
                    <a:pt x="17733" y="354051"/>
                    <a:pt x="28027" y="380214"/>
                    <a:pt x="13616" y="380214"/>
                  </a:cubicBezTo>
                  <a:cubicBezTo>
                    <a:pt x="-795" y="380214"/>
                    <a:pt x="19792" y="399299"/>
                    <a:pt x="11515" y="408821"/>
                  </a:cubicBezTo>
                  <a:cubicBezTo>
                    <a:pt x="3280" y="418299"/>
                    <a:pt x="5339" y="430265"/>
                    <a:pt x="15632" y="430265"/>
                  </a:cubicBezTo>
                  <a:cubicBezTo>
                    <a:pt x="25925" y="430265"/>
                    <a:pt x="21808" y="444505"/>
                    <a:pt x="21808" y="458830"/>
                  </a:cubicBezTo>
                  <a:cubicBezTo>
                    <a:pt x="21808" y="473112"/>
                    <a:pt x="38278" y="482676"/>
                    <a:pt x="38278" y="482676"/>
                  </a:cubicBezTo>
                  <a:lnTo>
                    <a:pt x="34160" y="499360"/>
                  </a:lnTo>
                  <a:cubicBezTo>
                    <a:pt x="34160" y="499360"/>
                    <a:pt x="56806" y="530326"/>
                    <a:pt x="58908" y="537446"/>
                  </a:cubicBezTo>
                  <a:cubicBezTo>
                    <a:pt x="60966" y="544608"/>
                    <a:pt x="73318" y="563651"/>
                    <a:pt x="60966" y="570814"/>
                  </a:cubicBezTo>
                  <a:cubicBezTo>
                    <a:pt x="48571" y="577976"/>
                    <a:pt x="56848" y="585096"/>
                    <a:pt x="56848" y="585096"/>
                  </a:cubicBezTo>
                  <a:lnTo>
                    <a:pt x="71260" y="587498"/>
                  </a:lnTo>
                  <a:lnTo>
                    <a:pt x="75420" y="599378"/>
                  </a:lnTo>
                  <a:cubicBezTo>
                    <a:pt x="75420" y="599378"/>
                    <a:pt x="91889" y="599378"/>
                    <a:pt x="102183" y="613660"/>
                  </a:cubicBezTo>
                  <a:cubicBezTo>
                    <a:pt x="112476" y="627942"/>
                    <a:pt x="116593" y="630301"/>
                    <a:pt x="116593" y="637464"/>
                  </a:cubicBezTo>
                  <a:cubicBezTo>
                    <a:pt x="116593" y="644626"/>
                    <a:pt x="124828" y="646985"/>
                    <a:pt x="137181" y="658908"/>
                  </a:cubicBezTo>
                  <a:cubicBezTo>
                    <a:pt x="149533" y="670832"/>
                    <a:pt x="149490" y="677951"/>
                    <a:pt x="149490" y="685114"/>
                  </a:cubicBezTo>
                  <a:cubicBezTo>
                    <a:pt x="149490" y="692233"/>
                    <a:pt x="172135" y="704157"/>
                    <a:pt x="172135" y="704157"/>
                  </a:cubicBezTo>
                  <a:lnTo>
                    <a:pt x="179855" y="726416"/>
                  </a:lnTo>
                  <a:cubicBezTo>
                    <a:pt x="183715" y="728775"/>
                    <a:pt x="186846" y="731649"/>
                    <a:pt x="188519" y="736495"/>
                  </a:cubicBezTo>
                  <a:cubicBezTo>
                    <a:pt x="192636" y="748461"/>
                    <a:pt x="202973" y="755624"/>
                    <a:pt x="202973" y="755624"/>
                  </a:cubicBezTo>
                  <a:cubicBezTo>
                    <a:pt x="202973" y="755624"/>
                    <a:pt x="215368" y="765188"/>
                    <a:pt x="223602" y="755624"/>
                  </a:cubicBezTo>
                  <a:cubicBezTo>
                    <a:pt x="231880" y="746059"/>
                    <a:pt x="242173" y="758026"/>
                    <a:pt x="242173" y="758026"/>
                  </a:cubicBezTo>
                  <a:cubicBezTo>
                    <a:pt x="242173" y="758026"/>
                    <a:pt x="252509" y="748461"/>
                    <a:pt x="258686" y="753222"/>
                  </a:cubicBezTo>
                  <a:cubicBezTo>
                    <a:pt x="262889" y="756481"/>
                    <a:pt x="281331" y="773980"/>
                    <a:pt x="297286" y="790879"/>
                  </a:cubicBezTo>
                  <a:cubicBezTo>
                    <a:pt x="299645" y="789849"/>
                    <a:pt x="315128" y="783287"/>
                    <a:pt x="321990" y="782515"/>
                  </a:cubicBezTo>
                  <a:cubicBezTo>
                    <a:pt x="329367" y="781658"/>
                    <a:pt x="339747" y="796197"/>
                    <a:pt x="342706" y="791050"/>
                  </a:cubicBezTo>
                  <a:cubicBezTo>
                    <a:pt x="345665" y="785904"/>
                    <a:pt x="361234" y="778183"/>
                    <a:pt x="367153" y="781615"/>
                  </a:cubicBezTo>
                  <a:cubicBezTo>
                    <a:pt x="373072" y="785046"/>
                    <a:pt x="387139" y="785904"/>
                    <a:pt x="387868" y="779899"/>
                  </a:cubicBezTo>
                  <a:cubicBezTo>
                    <a:pt x="388383" y="775824"/>
                    <a:pt x="394688" y="771707"/>
                    <a:pt x="399148" y="767375"/>
                  </a:cubicBezTo>
                  <a:cubicBezTo>
                    <a:pt x="401250" y="765359"/>
                    <a:pt x="402965" y="763258"/>
                    <a:pt x="403437" y="761071"/>
                  </a:cubicBezTo>
                  <a:cubicBezTo>
                    <a:pt x="404895" y="754208"/>
                    <a:pt x="422694" y="742199"/>
                    <a:pt x="430071" y="740484"/>
                  </a:cubicBezTo>
                  <a:cubicBezTo>
                    <a:pt x="437491" y="738768"/>
                    <a:pt x="446369" y="737910"/>
                    <a:pt x="450101" y="743057"/>
                  </a:cubicBezTo>
                  <a:cubicBezTo>
                    <a:pt x="451816" y="745459"/>
                    <a:pt x="455033" y="747260"/>
                    <a:pt x="458421" y="748890"/>
                  </a:cubicBezTo>
                  <a:cubicBezTo>
                    <a:pt x="460952" y="726974"/>
                    <a:pt x="465155" y="714965"/>
                    <a:pt x="458979" y="714965"/>
                  </a:cubicBezTo>
                  <a:cubicBezTo>
                    <a:pt x="450744" y="714965"/>
                    <a:pt x="434189" y="705443"/>
                    <a:pt x="428013" y="686315"/>
                  </a:cubicBezTo>
                  <a:cubicBezTo>
                    <a:pt x="421794" y="667229"/>
                    <a:pt x="403222" y="655306"/>
                    <a:pt x="399105" y="643297"/>
                  </a:cubicBezTo>
                  <a:cubicBezTo>
                    <a:pt x="394945" y="631373"/>
                    <a:pt x="372257" y="633775"/>
                    <a:pt x="368139" y="624211"/>
                  </a:cubicBezTo>
                  <a:cubicBezTo>
                    <a:pt x="363979" y="614689"/>
                    <a:pt x="374358" y="614689"/>
                    <a:pt x="374358" y="602723"/>
                  </a:cubicBezTo>
                  <a:cubicBezTo>
                    <a:pt x="374358" y="590800"/>
                    <a:pt x="399148" y="597920"/>
                    <a:pt x="401164" y="595518"/>
                  </a:cubicBezTo>
                  <a:cubicBezTo>
                    <a:pt x="403222" y="593116"/>
                    <a:pt x="405324" y="566911"/>
                    <a:pt x="405324" y="552543"/>
                  </a:cubicBezTo>
                  <a:cubicBezTo>
                    <a:pt x="405324" y="538218"/>
                    <a:pt x="421837" y="523893"/>
                    <a:pt x="415618" y="516730"/>
                  </a:cubicBezTo>
                  <a:cubicBezTo>
                    <a:pt x="409442" y="509568"/>
                    <a:pt x="421794" y="507209"/>
                    <a:pt x="430071" y="500003"/>
                  </a:cubicBezTo>
                  <a:cubicBezTo>
                    <a:pt x="438306" y="492841"/>
                    <a:pt x="432130" y="471353"/>
                    <a:pt x="440408" y="461789"/>
                  </a:cubicBezTo>
                  <a:cubicBezTo>
                    <a:pt x="448643" y="452268"/>
                    <a:pt x="454861" y="433139"/>
                    <a:pt x="461038" y="433139"/>
                  </a:cubicBezTo>
                  <a:cubicBezTo>
                    <a:pt x="467256" y="433139"/>
                    <a:pt x="475448" y="423575"/>
                    <a:pt x="475448" y="414053"/>
                  </a:cubicBezTo>
                  <a:cubicBezTo>
                    <a:pt x="475448" y="404532"/>
                    <a:pt x="489902" y="385403"/>
                    <a:pt x="487886" y="368676"/>
                  </a:cubicBezTo>
                  <a:cubicBezTo>
                    <a:pt x="485784" y="351950"/>
                    <a:pt x="479609" y="330462"/>
                    <a:pt x="489945" y="316137"/>
                  </a:cubicBezTo>
                  <a:cubicBezTo>
                    <a:pt x="500238" y="301812"/>
                    <a:pt x="504399" y="289889"/>
                    <a:pt x="502340" y="277923"/>
                  </a:cubicBezTo>
                  <a:cubicBezTo>
                    <a:pt x="500281" y="265999"/>
                    <a:pt x="514735" y="263598"/>
                    <a:pt x="520911" y="256435"/>
                  </a:cubicBezTo>
                  <a:cubicBezTo>
                    <a:pt x="525286" y="251331"/>
                    <a:pt x="541026" y="243783"/>
                    <a:pt x="552820" y="222038"/>
                  </a:cubicBezTo>
                  <a:cubicBezTo>
                    <a:pt x="545315" y="211401"/>
                    <a:pt x="537252" y="202652"/>
                    <a:pt x="532062" y="199907"/>
                  </a:cubicBezTo>
                  <a:cubicBezTo>
                    <a:pt x="520225" y="193645"/>
                    <a:pt x="512290" y="169670"/>
                    <a:pt x="512290" y="139390"/>
                  </a:cubicBezTo>
                  <a:cubicBezTo>
                    <a:pt x="512290" y="109110"/>
                    <a:pt x="505857" y="85092"/>
                    <a:pt x="504870" y="75442"/>
                  </a:cubicBezTo>
                  <a:cubicBezTo>
                    <a:pt x="503884" y="65706"/>
                    <a:pt x="491060" y="45162"/>
                    <a:pt x="475748" y="35426"/>
                  </a:cubicBezTo>
                  <a:cubicBezTo>
                    <a:pt x="464897" y="28564"/>
                    <a:pt x="458893" y="18314"/>
                    <a:pt x="457092" y="6433"/>
                  </a:cubicBezTo>
                  <a:cubicBezTo>
                    <a:pt x="456791" y="6948"/>
                    <a:pt x="456277" y="7548"/>
                    <a:pt x="455977" y="8063"/>
                  </a:cubicBezTo>
                  <a:cubicBezTo>
                    <a:pt x="446198" y="24189"/>
                    <a:pt x="448171" y="21873"/>
                    <a:pt x="438306" y="21873"/>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58" name="Freeform: Shape 118">
              <a:extLst>
                <a:ext uri="{FF2B5EF4-FFF2-40B4-BE49-F238E27FC236}">
                  <a16:creationId xmlns:a16="http://schemas.microsoft.com/office/drawing/2014/main" id="{EE3D1C8A-D18B-2FF7-E65D-0FB55BD3E925}"/>
                </a:ext>
              </a:extLst>
            </p:cNvPr>
            <p:cNvSpPr/>
            <p:nvPr/>
          </p:nvSpPr>
          <p:spPr>
            <a:xfrm>
              <a:off x="7912118" y="3894896"/>
              <a:ext cx="177138" cy="177138"/>
            </a:xfrm>
            <a:custGeom>
              <a:avLst/>
              <a:gdLst>
                <a:gd name="connsiteX0" fmla="*/ 43192 w 231602"/>
                <a:gd name="connsiteY0" fmla="*/ 40830 h 231602"/>
                <a:gd name="connsiteX1" fmla="*/ 24620 w 231602"/>
                <a:gd name="connsiteY1" fmla="*/ 62318 h 231602"/>
                <a:gd name="connsiteX2" fmla="*/ 12226 w 231602"/>
                <a:gd name="connsiteY2" fmla="*/ 100533 h 231602"/>
                <a:gd name="connsiteX3" fmla="*/ 10124 w 231602"/>
                <a:gd name="connsiteY3" fmla="*/ 152772 h 231602"/>
                <a:gd name="connsiteX4" fmla="*/ 38045 w 231602"/>
                <a:gd name="connsiteY4" fmla="*/ 154444 h 231602"/>
                <a:gd name="connsiteX5" fmla="*/ 48467 w 231602"/>
                <a:gd name="connsiteY5" fmla="*/ 142435 h 231602"/>
                <a:gd name="connsiteX6" fmla="*/ 64079 w 231602"/>
                <a:gd name="connsiteY6" fmla="*/ 137632 h 231602"/>
                <a:gd name="connsiteX7" fmla="*/ 84880 w 231602"/>
                <a:gd name="connsiteY7" fmla="*/ 147239 h 231602"/>
                <a:gd name="connsiteX8" fmla="*/ 99463 w 231602"/>
                <a:gd name="connsiteY8" fmla="*/ 147239 h 231602"/>
                <a:gd name="connsiteX9" fmla="*/ 132788 w 231602"/>
                <a:gd name="connsiteY9" fmla="*/ 147239 h 231602"/>
                <a:gd name="connsiteX10" fmla="*/ 203598 w 231602"/>
                <a:gd name="connsiteY10" fmla="*/ 226670 h 231602"/>
                <a:gd name="connsiteX11" fmla="*/ 203169 w 231602"/>
                <a:gd name="connsiteY11" fmla="*/ 227485 h 231602"/>
                <a:gd name="connsiteX12" fmla="*/ 219124 w 231602"/>
                <a:gd name="connsiteY12" fmla="*/ 226155 h 231602"/>
                <a:gd name="connsiteX13" fmla="*/ 228173 w 231602"/>
                <a:gd name="connsiteY13" fmla="*/ 218864 h 231602"/>
                <a:gd name="connsiteX14" fmla="*/ 192618 w 231602"/>
                <a:gd name="connsiteY14" fmla="*/ 172715 h 231602"/>
                <a:gd name="connsiteX15" fmla="*/ 139779 w 231602"/>
                <a:gd name="connsiteY15" fmla="*/ 130469 h 231602"/>
                <a:gd name="connsiteX16" fmla="*/ 118548 w 231602"/>
                <a:gd name="connsiteY16" fmla="*/ 105894 h 231602"/>
                <a:gd name="connsiteX17" fmla="*/ 93844 w 231602"/>
                <a:gd name="connsiteY17" fmla="*/ 49365 h 231602"/>
                <a:gd name="connsiteX18" fmla="*/ 75101 w 231602"/>
                <a:gd name="connsiteY18" fmla="*/ 6433 h 231602"/>
                <a:gd name="connsiteX19" fmla="*/ 43192 w 231602"/>
                <a:gd name="connsiteY19" fmla="*/ 40830 h 2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1602" h="231602">
                  <a:moveTo>
                    <a:pt x="43192" y="40830"/>
                  </a:moveTo>
                  <a:cubicBezTo>
                    <a:pt x="36973" y="47993"/>
                    <a:pt x="22519" y="50395"/>
                    <a:pt x="24620" y="62318"/>
                  </a:cubicBezTo>
                  <a:cubicBezTo>
                    <a:pt x="26680" y="74284"/>
                    <a:pt x="22562" y="86207"/>
                    <a:pt x="12226" y="100533"/>
                  </a:cubicBezTo>
                  <a:cubicBezTo>
                    <a:pt x="1975" y="114772"/>
                    <a:pt x="8022" y="136088"/>
                    <a:pt x="10124" y="152772"/>
                  </a:cubicBezTo>
                  <a:cubicBezTo>
                    <a:pt x="22562" y="151742"/>
                    <a:pt x="35472" y="151528"/>
                    <a:pt x="38045" y="154444"/>
                  </a:cubicBezTo>
                  <a:cubicBezTo>
                    <a:pt x="43235" y="160449"/>
                    <a:pt x="45336" y="154444"/>
                    <a:pt x="48467" y="142435"/>
                  </a:cubicBezTo>
                  <a:cubicBezTo>
                    <a:pt x="51598" y="130383"/>
                    <a:pt x="57817" y="131584"/>
                    <a:pt x="64079" y="137632"/>
                  </a:cubicBezTo>
                  <a:cubicBezTo>
                    <a:pt x="70298" y="143636"/>
                    <a:pt x="74458" y="153286"/>
                    <a:pt x="84880" y="147239"/>
                  </a:cubicBezTo>
                  <a:cubicBezTo>
                    <a:pt x="95302" y="141234"/>
                    <a:pt x="94273" y="144837"/>
                    <a:pt x="99463" y="147239"/>
                  </a:cubicBezTo>
                  <a:cubicBezTo>
                    <a:pt x="104652" y="149641"/>
                    <a:pt x="125496" y="146038"/>
                    <a:pt x="132788" y="147239"/>
                  </a:cubicBezTo>
                  <a:cubicBezTo>
                    <a:pt x="140079" y="148440"/>
                    <a:pt x="203598" y="226670"/>
                    <a:pt x="203598" y="226670"/>
                  </a:cubicBezTo>
                  <a:cubicBezTo>
                    <a:pt x="203598" y="226670"/>
                    <a:pt x="203426" y="226970"/>
                    <a:pt x="203169" y="227485"/>
                  </a:cubicBezTo>
                  <a:cubicBezTo>
                    <a:pt x="211189" y="228557"/>
                    <a:pt x="216679" y="229930"/>
                    <a:pt x="219124" y="226155"/>
                  </a:cubicBezTo>
                  <a:cubicBezTo>
                    <a:pt x="220153" y="224525"/>
                    <a:pt x="223756" y="221823"/>
                    <a:pt x="228173" y="218864"/>
                  </a:cubicBezTo>
                  <a:cubicBezTo>
                    <a:pt x="220067" y="210029"/>
                    <a:pt x="208273" y="195575"/>
                    <a:pt x="192618" y="172715"/>
                  </a:cubicBezTo>
                  <a:cubicBezTo>
                    <a:pt x="173833" y="145266"/>
                    <a:pt x="151616" y="130469"/>
                    <a:pt x="139779" y="130469"/>
                  </a:cubicBezTo>
                  <a:cubicBezTo>
                    <a:pt x="127898" y="130469"/>
                    <a:pt x="125968" y="107052"/>
                    <a:pt x="118548" y="105894"/>
                  </a:cubicBezTo>
                  <a:cubicBezTo>
                    <a:pt x="111128" y="104779"/>
                    <a:pt x="94359" y="71067"/>
                    <a:pt x="93844" y="49365"/>
                  </a:cubicBezTo>
                  <a:cubicBezTo>
                    <a:pt x="93587" y="37142"/>
                    <a:pt x="84794" y="20158"/>
                    <a:pt x="75101" y="6433"/>
                  </a:cubicBezTo>
                  <a:cubicBezTo>
                    <a:pt x="63350" y="28178"/>
                    <a:pt x="47567" y="35727"/>
                    <a:pt x="43192" y="40830"/>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59" name="Freeform: Shape 119">
              <a:extLst>
                <a:ext uri="{FF2B5EF4-FFF2-40B4-BE49-F238E27FC236}">
                  <a16:creationId xmlns:a16="http://schemas.microsoft.com/office/drawing/2014/main" id="{74F8E5D4-E470-DE6D-CED6-DFDC6D5E2BDA}"/>
                </a:ext>
              </a:extLst>
            </p:cNvPr>
            <p:cNvSpPr/>
            <p:nvPr/>
          </p:nvSpPr>
          <p:spPr>
            <a:xfrm>
              <a:off x="7822776" y="3991914"/>
              <a:ext cx="387080" cy="350997"/>
            </a:xfrm>
            <a:custGeom>
              <a:avLst/>
              <a:gdLst>
                <a:gd name="connsiteX0" fmla="*/ 38197 w 506093"/>
                <a:gd name="connsiteY0" fmla="*/ 300758 h 458915"/>
                <a:gd name="connsiteX1" fmla="*/ 67104 w 506093"/>
                <a:gd name="connsiteY1" fmla="*/ 343776 h 458915"/>
                <a:gd name="connsiteX2" fmla="*/ 98070 w 506093"/>
                <a:gd name="connsiteY2" fmla="*/ 372426 h 458915"/>
                <a:gd name="connsiteX3" fmla="*/ 97513 w 506093"/>
                <a:gd name="connsiteY3" fmla="*/ 406352 h 458915"/>
                <a:gd name="connsiteX4" fmla="*/ 108450 w 506093"/>
                <a:gd name="connsiteY4" fmla="*/ 411627 h 458915"/>
                <a:gd name="connsiteX5" fmla="*/ 142547 w 506093"/>
                <a:gd name="connsiteY5" fmla="*/ 419347 h 458915"/>
                <a:gd name="connsiteX6" fmla="*/ 181061 w 506093"/>
                <a:gd name="connsiteY6" fmla="*/ 445038 h 458915"/>
                <a:gd name="connsiteX7" fmla="*/ 219576 w 506093"/>
                <a:gd name="connsiteY7" fmla="*/ 452715 h 458915"/>
                <a:gd name="connsiteX8" fmla="*/ 241792 w 506093"/>
                <a:gd name="connsiteY8" fmla="*/ 432171 h 458915"/>
                <a:gd name="connsiteX9" fmla="*/ 270700 w 506093"/>
                <a:gd name="connsiteY9" fmla="*/ 425352 h 458915"/>
                <a:gd name="connsiteX10" fmla="*/ 286998 w 506093"/>
                <a:gd name="connsiteY10" fmla="*/ 433072 h 458915"/>
                <a:gd name="connsiteX11" fmla="*/ 303639 w 506093"/>
                <a:gd name="connsiteY11" fmla="*/ 427668 h 458915"/>
                <a:gd name="connsiteX12" fmla="*/ 330702 w 506093"/>
                <a:gd name="connsiteY12" fmla="*/ 422821 h 458915"/>
                <a:gd name="connsiteX13" fmla="*/ 374406 w 506093"/>
                <a:gd name="connsiteY13" fmla="*/ 396273 h 458915"/>
                <a:gd name="connsiteX14" fmla="*/ 411463 w 506093"/>
                <a:gd name="connsiteY14" fmla="*/ 388553 h 458915"/>
                <a:gd name="connsiteX15" fmla="*/ 500372 w 506093"/>
                <a:gd name="connsiteY15" fmla="*/ 285747 h 458915"/>
                <a:gd name="connsiteX16" fmla="*/ 488535 w 506093"/>
                <a:gd name="connsiteY16" fmla="*/ 277169 h 458915"/>
                <a:gd name="connsiteX17" fmla="*/ 442601 w 506093"/>
                <a:gd name="connsiteY17" fmla="*/ 265203 h 458915"/>
                <a:gd name="connsiteX18" fmla="*/ 375178 w 506093"/>
                <a:gd name="connsiteY18" fmla="*/ 237797 h 458915"/>
                <a:gd name="connsiteX19" fmla="*/ 352962 w 506093"/>
                <a:gd name="connsiteY19" fmla="*/ 214679 h 458915"/>
                <a:gd name="connsiteX20" fmla="*/ 332203 w 506093"/>
                <a:gd name="connsiteY20" fmla="*/ 179553 h 458915"/>
                <a:gd name="connsiteX21" fmla="*/ 337307 w 506093"/>
                <a:gd name="connsiteY21" fmla="*/ 165185 h 458915"/>
                <a:gd name="connsiteX22" fmla="*/ 321566 w 506093"/>
                <a:gd name="connsiteY22" fmla="*/ 158881 h 458915"/>
                <a:gd name="connsiteX23" fmla="*/ 302824 w 506093"/>
                <a:gd name="connsiteY23" fmla="*/ 160081 h 458915"/>
                <a:gd name="connsiteX24" fmla="*/ 303896 w 506093"/>
                <a:gd name="connsiteY24" fmla="*/ 127614 h 458915"/>
                <a:gd name="connsiteX25" fmla="*/ 320580 w 506093"/>
                <a:gd name="connsiteY25" fmla="*/ 99908 h 458915"/>
                <a:gd name="connsiteX26" fmla="*/ 249770 w 506093"/>
                <a:gd name="connsiteY26" fmla="*/ 20477 h 458915"/>
                <a:gd name="connsiteX27" fmla="*/ 216445 w 506093"/>
                <a:gd name="connsiteY27" fmla="*/ 20477 h 458915"/>
                <a:gd name="connsiteX28" fmla="*/ 201863 w 506093"/>
                <a:gd name="connsiteY28" fmla="*/ 20477 h 458915"/>
                <a:gd name="connsiteX29" fmla="*/ 181061 w 506093"/>
                <a:gd name="connsiteY29" fmla="*/ 10870 h 458915"/>
                <a:gd name="connsiteX30" fmla="*/ 165450 w 506093"/>
                <a:gd name="connsiteY30" fmla="*/ 15673 h 458915"/>
                <a:gd name="connsiteX31" fmla="*/ 155027 w 506093"/>
                <a:gd name="connsiteY31" fmla="*/ 27682 h 458915"/>
                <a:gd name="connsiteX32" fmla="*/ 127107 w 506093"/>
                <a:gd name="connsiteY32" fmla="*/ 26009 h 458915"/>
                <a:gd name="connsiteX33" fmla="*/ 127149 w 506093"/>
                <a:gd name="connsiteY33" fmla="*/ 26310 h 458915"/>
                <a:gd name="connsiteX34" fmla="*/ 114711 w 506093"/>
                <a:gd name="connsiteY34" fmla="*/ 71687 h 458915"/>
                <a:gd name="connsiteX35" fmla="*/ 100301 w 506093"/>
                <a:gd name="connsiteY35" fmla="*/ 90772 h 458915"/>
                <a:gd name="connsiteX36" fmla="*/ 79671 w 506093"/>
                <a:gd name="connsiteY36" fmla="*/ 119422 h 458915"/>
                <a:gd name="connsiteX37" fmla="*/ 69335 w 506093"/>
                <a:gd name="connsiteY37" fmla="*/ 157637 h 458915"/>
                <a:gd name="connsiteX38" fmla="*/ 54881 w 506093"/>
                <a:gd name="connsiteY38" fmla="*/ 174364 h 458915"/>
                <a:gd name="connsiteX39" fmla="*/ 44588 w 506093"/>
                <a:gd name="connsiteY39" fmla="*/ 210176 h 458915"/>
                <a:gd name="connsiteX40" fmla="*/ 40427 w 506093"/>
                <a:gd name="connsiteY40" fmla="*/ 253151 h 458915"/>
                <a:gd name="connsiteX41" fmla="*/ 13622 w 506093"/>
                <a:gd name="connsiteY41" fmla="*/ 260357 h 458915"/>
                <a:gd name="connsiteX42" fmla="*/ 7402 w 506093"/>
                <a:gd name="connsiteY42" fmla="*/ 281844 h 458915"/>
                <a:gd name="connsiteX43" fmla="*/ 38197 w 506093"/>
                <a:gd name="connsiteY43" fmla="*/ 300758 h 45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06093" h="458915">
                  <a:moveTo>
                    <a:pt x="38197" y="300758"/>
                  </a:moveTo>
                  <a:cubicBezTo>
                    <a:pt x="42314" y="312725"/>
                    <a:pt x="60886" y="324648"/>
                    <a:pt x="67104" y="343776"/>
                  </a:cubicBezTo>
                  <a:cubicBezTo>
                    <a:pt x="73281" y="362905"/>
                    <a:pt x="89793" y="372426"/>
                    <a:pt x="98070" y="372426"/>
                  </a:cubicBezTo>
                  <a:cubicBezTo>
                    <a:pt x="104247" y="372426"/>
                    <a:pt x="100044" y="384435"/>
                    <a:pt x="97513" y="406352"/>
                  </a:cubicBezTo>
                  <a:cubicBezTo>
                    <a:pt x="101459" y="408196"/>
                    <a:pt x="105662" y="409826"/>
                    <a:pt x="108450" y="411627"/>
                  </a:cubicBezTo>
                  <a:cubicBezTo>
                    <a:pt x="113639" y="415058"/>
                    <a:pt x="135127" y="411627"/>
                    <a:pt x="142547" y="419347"/>
                  </a:cubicBezTo>
                  <a:cubicBezTo>
                    <a:pt x="149924" y="427067"/>
                    <a:pt x="173641" y="445038"/>
                    <a:pt x="181061" y="445038"/>
                  </a:cubicBezTo>
                  <a:cubicBezTo>
                    <a:pt x="188481" y="445038"/>
                    <a:pt x="215158" y="449327"/>
                    <a:pt x="219576" y="452715"/>
                  </a:cubicBezTo>
                  <a:cubicBezTo>
                    <a:pt x="224036" y="456146"/>
                    <a:pt x="229955" y="439891"/>
                    <a:pt x="241792" y="432171"/>
                  </a:cubicBezTo>
                  <a:cubicBezTo>
                    <a:pt x="253630" y="424494"/>
                    <a:pt x="268470" y="419347"/>
                    <a:pt x="270700" y="425352"/>
                  </a:cubicBezTo>
                  <a:cubicBezTo>
                    <a:pt x="272887" y="431356"/>
                    <a:pt x="281079" y="436460"/>
                    <a:pt x="286998" y="433072"/>
                  </a:cubicBezTo>
                  <a:cubicBezTo>
                    <a:pt x="289400" y="431657"/>
                    <a:pt x="296133" y="429598"/>
                    <a:pt x="303639" y="427668"/>
                  </a:cubicBezTo>
                  <a:cubicBezTo>
                    <a:pt x="314533" y="424794"/>
                    <a:pt x="327185" y="422264"/>
                    <a:pt x="330702" y="422821"/>
                  </a:cubicBezTo>
                  <a:cubicBezTo>
                    <a:pt x="336621" y="423679"/>
                    <a:pt x="352919" y="396273"/>
                    <a:pt x="374406" y="396273"/>
                  </a:cubicBezTo>
                  <a:cubicBezTo>
                    <a:pt x="395894" y="396273"/>
                    <a:pt x="401813" y="400562"/>
                    <a:pt x="411463" y="388553"/>
                  </a:cubicBezTo>
                  <a:cubicBezTo>
                    <a:pt x="421113" y="376587"/>
                    <a:pt x="493681" y="291752"/>
                    <a:pt x="500372" y="285747"/>
                  </a:cubicBezTo>
                  <a:cubicBezTo>
                    <a:pt x="507063" y="279743"/>
                    <a:pt x="495955" y="277169"/>
                    <a:pt x="488535" y="277169"/>
                  </a:cubicBezTo>
                  <a:cubicBezTo>
                    <a:pt x="481115" y="277169"/>
                    <a:pt x="466318" y="276312"/>
                    <a:pt x="442601" y="265203"/>
                  </a:cubicBezTo>
                  <a:cubicBezTo>
                    <a:pt x="418883" y="254052"/>
                    <a:pt x="381869" y="239513"/>
                    <a:pt x="375178" y="237797"/>
                  </a:cubicBezTo>
                  <a:cubicBezTo>
                    <a:pt x="368531" y="236081"/>
                    <a:pt x="358880" y="218111"/>
                    <a:pt x="352962" y="214679"/>
                  </a:cubicBezTo>
                  <a:cubicBezTo>
                    <a:pt x="347043" y="211248"/>
                    <a:pt x="335206" y="187273"/>
                    <a:pt x="332203" y="179553"/>
                  </a:cubicBezTo>
                  <a:cubicBezTo>
                    <a:pt x="331217" y="176894"/>
                    <a:pt x="333533" y="171404"/>
                    <a:pt x="337307" y="165185"/>
                  </a:cubicBezTo>
                  <a:cubicBezTo>
                    <a:pt x="330059" y="157294"/>
                    <a:pt x="326413" y="155106"/>
                    <a:pt x="321566" y="158881"/>
                  </a:cubicBezTo>
                  <a:cubicBezTo>
                    <a:pt x="315305" y="163684"/>
                    <a:pt x="304925" y="164928"/>
                    <a:pt x="302824" y="160081"/>
                  </a:cubicBezTo>
                  <a:cubicBezTo>
                    <a:pt x="300765" y="155278"/>
                    <a:pt x="296562" y="137221"/>
                    <a:pt x="303896" y="127614"/>
                  </a:cubicBezTo>
                  <a:cubicBezTo>
                    <a:pt x="311188" y="117964"/>
                    <a:pt x="320580" y="99908"/>
                    <a:pt x="320580" y="99908"/>
                  </a:cubicBezTo>
                  <a:cubicBezTo>
                    <a:pt x="320580" y="99908"/>
                    <a:pt x="257061" y="21678"/>
                    <a:pt x="249770" y="20477"/>
                  </a:cubicBezTo>
                  <a:cubicBezTo>
                    <a:pt x="242479" y="19276"/>
                    <a:pt x="221678" y="22879"/>
                    <a:pt x="216445" y="20477"/>
                  </a:cubicBezTo>
                  <a:cubicBezTo>
                    <a:pt x="211255" y="18075"/>
                    <a:pt x="212285" y="14472"/>
                    <a:pt x="201863" y="20477"/>
                  </a:cubicBezTo>
                  <a:cubicBezTo>
                    <a:pt x="191440" y="26524"/>
                    <a:pt x="187280" y="16874"/>
                    <a:pt x="181061" y="10870"/>
                  </a:cubicBezTo>
                  <a:cubicBezTo>
                    <a:pt x="174799" y="4865"/>
                    <a:pt x="168581" y="3621"/>
                    <a:pt x="165450" y="15673"/>
                  </a:cubicBezTo>
                  <a:cubicBezTo>
                    <a:pt x="162318" y="27682"/>
                    <a:pt x="160260" y="33687"/>
                    <a:pt x="155027" y="27682"/>
                  </a:cubicBezTo>
                  <a:cubicBezTo>
                    <a:pt x="152454" y="24723"/>
                    <a:pt x="139545" y="24980"/>
                    <a:pt x="127107" y="26009"/>
                  </a:cubicBezTo>
                  <a:cubicBezTo>
                    <a:pt x="127107" y="26095"/>
                    <a:pt x="127107" y="26224"/>
                    <a:pt x="127149" y="26310"/>
                  </a:cubicBezTo>
                  <a:cubicBezTo>
                    <a:pt x="129208" y="43037"/>
                    <a:pt x="114711" y="62122"/>
                    <a:pt x="114711" y="71687"/>
                  </a:cubicBezTo>
                  <a:cubicBezTo>
                    <a:pt x="114711" y="81251"/>
                    <a:pt x="106477" y="90772"/>
                    <a:pt x="100301" y="90772"/>
                  </a:cubicBezTo>
                  <a:cubicBezTo>
                    <a:pt x="94082" y="90772"/>
                    <a:pt x="87906" y="109858"/>
                    <a:pt x="79671" y="119422"/>
                  </a:cubicBezTo>
                  <a:cubicBezTo>
                    <a:pt x="71393" y="128987"/>
                    <a:pt x="77612" y="150474"/>
                    <a:pt x="69335" y="157637"/>
                  </a:cubicBezTo>
                  <a:cubicBezTo>
                    <a:pt x="61057" y="164799"/>
                    <a:pt x="48662" y="167201"/>
                    <a:pt x="54881" y="174364"/>
                  </a:cubicBezTo>
                  <a:cubicBezTo>
                    <a:pt x="61057" y="181526"/>
                    <a:pt x="44588" y="195851"/>
                    <a:pt x="44588" y="210176"/>
                  </a:cubicBezTo>
                  <a:cubicBezTo>
                    <a:pt x="44588" y="224544"/>
                    <a:pt x="42486" y="250750"/>
                    <a:pt x="40427" y="253151"/>
                  </a:cubicBezTo>
                  <a:cubicBezTo>
                    <a:pt x="38369" y="255553"/>
                    <a:pt x="13622" y="248391"/>
                    <a:pt x="13622" y="260357"/>
                  </a:cubicBezTo>
                  <a:cubicBezTo>
                    <a:pt x="13622" y="272280"/>
                    <a:pt x="3285" y="272280"/>
                    <a:pt x="7402" y="281844"/>
                  </a:cubicBezTo>
                  <a:cubicBezTo>
                    <a:pt x="11348" y="291237"/>
                    <a:pt x="34037" y="288835"/>
                    <a:pt x="38197" y="300758"/>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60" name="Freeform: Shape 4">
              <a:extLst>
                <a:ext uri="{FF2B5EF4-FFF2-40B4-BE49-F238E27FC236}">
                  <a16:creationId xmlns:a16="http://schemas.microsoft.com/office/drawing/2014/main" id="{AC6F94AB-90C2-B0CA-8072-F536CF67DFB8}"/>
                </a:ext>
              </a:extLst>
            </p:cNvPr>
            <p:cNvSpPr/>
            <p:nvPr/>
          </p:nvSpPr>
          <p:spPr>
            <a:xfrm>
              <a:off x="7315983" y="4950607"/>
              <a:ext cx="314912" cy="380519"/>
            </a:xfrm>
            <a:custGeom>
              <a:avLst/>
              <a:gdLst>
                <a:gd name="connsiteX0" fmla="*/ 403245 w 411737"/>
                <a:gd name="connsiteY0" fmla="*/ 29121 h 497515"/>
                <a:gd name="connsiteX1" fmla="*/ 333079 w 411737"/>
                <a:gd name="connsiteY1" fmla="*/ 34869 h 497515"/>
                <a:gd name="connsiteX2" fmla="*/ 281311 w 411737"/>
                <a:gd name="connsiteY2" fmla="*/ 38729 h 497515"/>
                <a:gd name="connsiteX3" fmla="*/ 207841 w 411737"/>
                <a:gd name="connsiteY3" fmla="*/ 38729 h 497515"/>
                <a:gd name="connsiteX4" fmla="*/ 196133 w 411737"/>
                <a:gd name="connsiteY4" fmla="*/ 25219 h 497515"/>
                <a:gd name="connsiteX5" fmla="*/ 80889 w 411737"/>
                <a:gd name="connsiteY5" fmla="*/ 25219 h 497515"/>
                <a:gd name="connsiteX6" fmla="*/ 50824 w 411737"/>
                <a:gd name="connsiteY6" fmla="*/ 15612 h 497515"/>
                <a:gd name="connsiteX7" fmla="*/ 19086 w 411737"/>
                <a:gd name="connsiteY7" fmla="*/ 13639 h 497515"/>
                <a:gd name="connsiteX8" fmla="*/ 6433 w 411737"/>
                <a:gd name="connsiteY8" fmla="*/ 6433 h 497515"/>
                <a:gd name="connsiteX9" fmla="*/ 16899 w 411737"/>
                <a:gd name="connsiteY9" fmla="*/ 54984 h 497515"/>
                <a:gd name="connsiteX10" fmla="*/ 28436 w 411737"/>
                <a:gd name="connsiteY10" fmla="*/ 96157 h 497515"/>
                <a:gd name="connsiteX11" fmla="*/ 47650 w 411737"/>
                <a:gd name="connsiteY11" fmla="*/ 133643 h 497515"/>
                <a:gd name="connsiteX12" fmla="*/ 54126 w 411737"/>
                <a:gd name="connsiteY12" fmla="*/ 196947 h 497515"/>
                <a:gd name="connsiteX13" fmla="*/ 67422 w 411737"/>
                <a:gd name="connsiteY13" fmla="*/ 228557 h 497515"/>
                <a:gd name="connsiteX14" fmla="*/ 68923 w 411737"/>
                <a:gd name="connsiteY14" fmla="*/ 293663 h 497515"/>
                <a:gd name="connsiteX15" fmla="*/ 77415 w 411737"/>
                <a:gd name="connsiteY15" fmla="*/ 329990 h 497515"/>
                <a:gd name="connsiteX16" fmla="*/ 81361 w 411737"/>
                <a:gd name="connsiteY16" fmla="*/ 341313 h 497515"/>
                <a:gd name="connsiteX17" fmla="*/ 96244 w 411737"/>
                <a:gd name="connsiteY17" fmla="*/ 405475 h 497515"/>
                <a:gd name="connsiteX18" fmla="*/ 105851 w 411737"/>
                <a:gd name="connsiteY18" fmla="*/ 450724 h 497515"/>
                <a:gd name="connsiteX19" fmla="*/ 110655 w 411737"/>
                <a:gd name="connsiteY19" fmla="*/ 456942 h 497515"/>
                <a:gd name="connsiteX20" fmla="*/ 138018 w 411737"/>
                <a:gd name="connsiteY20" fmla="*/ 477015 h 497515"/>
                <a:gd name="connsiteX21" fmla="*/ 138533 w 411737"/>
                <a:gd name="connsiteY21" fmla="*/ 474656 h 497515"/>
                <a:gd name="connsiteX22" fmla="*/ 157318 w 411737"/>
                <a:gd name="connsiteY22" fmla="*/ 463247 h 497515"/>
                <a:gd name="connsiteX23" fmla="*/ 175117 w 411737"/>
                <a:gd name="connsiteY23" fmla="*/ 490696 h 497515"/>
                <a:gd name="connsiteX24" fmla="*/ 217577 w 411737"/>
                <a:gd name="connsiteY24" fmla="*/ 489539 h 497515"/>
                <a:gd name="connsiteX25" fmla="*/ 239280 w 411737"/>
                <a:gd name="connsiteY25" fmla="*/ 464405 h 497515"/>
                <a:gd name="connsiteX26" fmla="*/ 239280 w 411737"/>
                <a:gd name="connsiteY26" fmla="*/ 209728 h 497515"/>
                <a:gd name="connsiteX27" fmla="*/ 272862 w 411737"/>
                <a:gd name="connsiteY27" fmla="*/ 194889 h 497515"/>
                <a:gd name="connsiteX28" fmla="*/ 272862 w 411737"/>
                <a:gd name="connsiteY28" fmla="*/ 62447 h 497515"/>
                <a:gd name="connsiteX29" fmla="*/ 304471 w 411737"/>
                <a:gd name="connsiteY29" fmla="*/ 57901 h 497515"/>
                <a:gd name="connsiteX30" fmla="*/ 341999 w 411737"/>
                <a:gd name="connsiteY30" fmla="*/ 45334 h 497515"/>
                <a:gd name="connsiteX31" fmla="*/ 359756 w 411737"/>
                <a:gd name="connsiteY31" fmla="*/ 60173 h 497515"/>
                <a:gd name="connsiteX32" fmla="*/ 383473 w 411737"/>
                <a:gd name="connsiteY32" fmla="*/ 43061 h 497515"/>
                <a:gd name="connsiteX33" fmla="*/ 405904 w 411737"/>
                <a:gd name="connsiteY33" fmla="*/ 38086 h 497515"/>
                <a:gd name="connsiteX34" fmla="*/ 403245 w 411737"/>
                <a:gd name="connsiteY34" fmla="*/ 29121 h 497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11737" h="497515">
                  <a:moveTo>
                    <a:pt x="403245" y="29121"/>
                  </a:moveTo>
                  <a:cubicBezTo>
                    <a:pt x="403245" y="19428"/>
                    <a:pt x="343114" y="31052"/>
                    <a:pt x="333079" y="34869"/>
                  </a:cubicBezTo>
                  <a:cubicBezTo>
                    <a:pt x="323043" y="38729"/>
                    <a:pt x="291347" y="44519"/>
                    <a:pt x="281311" y="38729"/>
                  </a:cubicBezTo>
                  <a:cubicBezTo>
                    <a:pt x="271275" y="32939"/>
                    <a:pt x="207841" y="38729"/>
                    <a:pt x="207841" y="38729"/>
                  </a:cubicBezTo>
                  <a:lnTo>
                    <a:pt x="196133" y="25219"/>
                  </a:lnTo>
                  <a:cubicBezTo>
                    <a:pt x="196133" y="25219"/>
                    <a:pt x="92598" y="25219"/>
                    <a:pt x="80889" y="25219"/>
                  </a:cubicBezTo>
                  <a:cubicBezTo>
                    <a:pt x="69180" y="25219"/>
                    <a:pt x="60860" y="23289"/>
                    <a:pt x="50824" y="15612"/>
                  </a:cubicBezTo>
                  <a:cubicBezTo>
                    <a:pt x="40788" y="7891"/>
                    <a:pt x="30795" y="7891"/>
                    <a:pt x="19086" y="13639"/>
                  </a:cubicBezTo>
                  <a:cubicBezTo>
                    <a:pt x="8707" y="18786"/>
                    <a:pt x="11495" y="8792"/>
                    <a:pt x="6433" y="6433"/>
                  </a:cubicBezTo>
                  <a:cubicBezTo>
                    <a:pt x="10465" y="22517"/>
                    <a:pt x="14625" y="38214"/>
                    <a:pt x="16899" y="54984"/>
                  </a:cubicBezTo>
                  <a:cubicBezTo>
                    <a:pt x="21102" y="68623"/>
                    <a:pt x="23246" y="82862"/>
                    <a:pt x="28436" y="96157"/>
                  </a:cubicBezTo>
                  <a:cubicBezTo>
                    <a:pt x="33540" y="109282"/>
                    <a:pt x="42075" y="120691"/>
                    <a:pt x="47650" y="133643"/>
                  </a:cubicBezTo>
                  <a:cubicBezTo>
                    <a:pt x="56271" y="153758"/>
                    <a:pt x="54984" y="175289"/>
                    <a:pt x="54126" y="196947"/>
                  </a:cubicBezTo>
                  <a:cubicBezTo>
                    <a:pt x="59873" y="208614"/>
                    <a:pt x="65106" y="219550"/>
                    <a:pt x="67422" y="228557"/>
                  </a:cubicBezTo>
                  <a:cubicBezTo>
                    <a:pt x="72869" y="249701"/>
                    <a:pt x="63476" y="279981"/>
                    <a:pt x="68923" y="293663"/>
                  </a:cubicBezTo>
                  <a:cubicBezTo>
                    <a:pt x="72440" y="302584"/>
                    <a:pt x="75142" y="315579"/>
                    <a:pt x="77415" y="329990"/>
                  </a:cubicBezTo>
                  <a:cubicBezTo>
                    <a:pt x="78702" y="333807"/>
                    <a:pt x="80032" y="337582"/>
                    <a:pt x="81361" y="341313"/>
                  </a:cubicBezTo>
                  <a:cubicBezTo>
                    <a:pt x="89124" y="362972"/>
                    <a:pt x="92513" y="382830"/>
                    <a:pt x="96244" y="405475"/>
                  </a:cubicBezTo>
                  <a:cubicBezTo>
                    <a:pt x="98260" y="417613"/>
                    <a:pt x="99418" y="439358"/>
                    <a:pt x="105851" y="450724"/>
                  </a:cubicBezTo>
                  <a:cubicBezTo>
                    <a:pt x="107438" y="452653"/>
                    <a:pt x="109025" y="454712"/>
                    <a:pt x="110655" y="456942"/>
                  </a:cubicBezTo>
                  <a:cubicBezTo>
                    <a:pt x="118460" y="464362"/>
                    <a:pt x="129869" y="468394"/>
                    <a:pt x="138018" y="477015"/>
                  </a:cubicBezTo>
                  <a:cubicBezTo>
                    <a:pt x="138318" y="476371"/>
                    <a:pt x="138533" y="475642"/>
                    <a:pt x="138533" y="474656"/>
                  </a:cubicBezTo>
                  <a:cubicBezTo>
                    <a:pt x="138533" y="466678"/>
                    <a:pt x="150413" y="451839"/>
                    <a:pt x="157318" y="463247"/>
                  </a:cubicBezTo>
                  <a:cubicBezTo>
                    <a:pt x="164266" y="474656"/>
                    <a:pt x="161264" y="490696"/>
                    <a:pt x="175117" y="490696"/>
                  </a:cubicBezTo>
                  <a:cubicBezTo>
                    <a:pt x="188928" y="490696"/>
                    <a:pt x="213632" y="496358"/>
                    <a:pt x="217577" y="489539"/>
                  </a:cubicBezTo>
                  <a:cubicBezTo>
                    <a:pt x="221480" y="482676"/>
                    <a:pt x="239280" y="476972"/>
                    <a:pt x="239280" y="464405"/>
                  </a:cubicBezTo>
                  <a:lnTo>
                    <a:pt x="239280" y="209728"/>
                  </a:lnTo>
                  <a:cubicBezTo>
                    <a:pt x="239280" y="200593"/>
                    <a:pt x="272862" y="209728"/>
                    <a:pt x="272862" y="194889"/>
                  </a:cubicBezTo>
                  <a:cubicBezTo>
                    <a:pt x="272862" y="180049"/>
                    <a:pt x="272862" y="62447"/>
                    <a:pt x="272862" y="62447"/>
                  </a:cubicBezTo>
                  <a:cubicBezTo>
                    <a:pt x="272862" y="62447"/>
                    <a:pt x="297566" y="60173"/>
                    <a:pt x="304471" y="57901"/>
                  </a:cubicBezTo>
                  <a:cubicBezTo>
                    <a:pt x="311419" y="55627"/>
                    <a:pt x="336081" y="40745"/>
                    <a:pt x="341999" y="45334"/>
                  </a:cubicBezTo>
                  <a:cubicBezTo>
                    <a:pt x="347961" y="49880"/>
                    <a:pt x="355810" y="65921"/>
                    <a:pt x="359756" y="60173"/>
                  </a:cubicBezTo>
                  <a:cubicBezTo>
                    <a:pt x="363702" y="54469"/>
                    <a:pt x="373609" y="43061"/>
                    <a:pt x="383473" y="43061"/>
                  </a:cubicBezTo>
                  <a:cubicBezTo>
                    <a:pt x="388835" y="43061"/>
                    <a:pt x="397670" y="40358"/>
                    <a:pt x="405904" y="38086"/>
                  </a:cubicBezTo>
                  <a:cubicBezTo>
                    <a:pt x="404275" y="34654"/>
                    <a:pt x="403245" y="31524"/>
                    <a:pt x="403245" y="29121"/>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61" name="Freeform: Shape 60">
              <a:extLst>
                <a:ext uri="{FF2B5EF4-FFF2-40B4-BE49-F238E27FC236}">
                  <a16:creationId xmlns:a16="http://schemas.microsoft.com/office/drawing/2014/main" id="{FDB9FA01-5A20-3808-FD47-1F5973C44FB7}"/>
                </a:ext>
              </a:extLst>
            </p:cNvPr>
            <p:cNvSpPr/>
            <p:nvPr/>
          </p:nvSpPr>
          <p:spPr>
            <a:xfrm>
              <a:off x="7621514" y="4908717"/>
              <a:ext cx="209942" cy="213222"/>
            </a:xfrm>
            <a:custGeom>
              <a:avLst/>
              <a:gdLst>
                <a:gd name="connsiteX0" fmla="*/ 183438 w 274491"/>
                <a:gd name="connsiteY0" fmla="*/ 18914 h 278780"/>
                <a:gd name="connsiteX1" fmla="*/ 178548 w 274491"/>
                <a:gd name="connsiteY1" fmla="*/ 6433 h 278780"/>
                <a:gd name="connsiteX2" fmla="*/ 149898 w 274491"/>
                <a:gd name="connsiteY2" fmla="*/ 7506 h 278780"/>
                <a:gd name="connsiteX3" fmla="*/ 131155 w 274491"/>
                <a:gd name="connsiteY3" fmla="*/ 26935 h 278780"/>
                <a:gd name="connsiteX4" fmla="*/ 100533 w 274491"/>
                <a:gd name="connsiteY4" fmla="*/ 54340 h 278780"/>
                <a:gd name="connsiteX5" fmla="*/ 65964 w 274491"/>
                <a:gd name="connsiteY5" fmla="*/ 97744 h 278780"/>
                <a:gd name="connsiteX6" fmla="*/ 23503 w 274491"/>
                <a:gd name="connsiteY6" fmla="*/ 89767 h 278780"/>
                <a:gd name="connsiteX7" fmla="*/ 6433 w 274491"/>
                <a:gd name="connsiteY7" fmla="*/ 92770 h 278780"/>
                <a:gd name="connsiteX8" fmla="*/ 25477 w 274491"/>
                <a:gd name="connsiteY8" fmla="*/ 114729 h 278780"/>
                <a:gd name="connsiteX9" fmla="*/ 43833 w 274491"/>
                <a:gd name="connsiteY9" fmla="*/ 161092 h 278780"/>
                <a:gd name="connsiteX10" fmla="*/ 77244 w 274491"/>
                <a:gd name="connsiteY10" fmla="*/ 188112 h 278780"/>
                <a:gd name="connsiteX11" fmla="*/ 90625 w 274491"/>
                <a:gd name="connsiteY11" fmla="*/ 217106 h 278780"/>
                <a:gd name="connsiteX12" fmla="*/ 114000 w 274491"/>
                <a:gd name="connsiteY12" fmla="*/ 244126 h 278780"/>
                <a:gd name="connsiteX13" fmla="*/ 137546 w 274491"/>
                <a:gd name="connsiteY13" fmla="*/ 260467 h 278780"/>
                <a:gd name="connsiteX14" fmla="*/ 169370 w 274491"/>
                <a:gd name="connsiteY14" fmla="*/ 267329 h 278780"/>
                <a:gd name="connsiteX15" fmla="*/ 207327 w 274491"/>
                <a:gd name="connsiteY15" fmla="*/ 275521 h 278780"/>
                <a:gd name="connsiteX16" fmla="*/ 241209 w 274491"/>
                <a:gd name="connsiteY16" fmla="*/ 236492 h 278780"/>
                <a:gd name="connsiteX17" fmla="*/ 250088 w 274491"/>
                <a:gd name="connsiteY17" fmla="*/ 198835 h 278780"/>
                <a:gd name="connsiteX18" fmla="*/ 267886 w 274491"/>
                <a:gd name="connsiteY18" fmla="*/ 169713 h 278780"/>
                <a:gd name="connsiteX19" fmla="*/ 257508 w 274491"/>
                <a:gd name="connsiteY19" fmla="*/ 140591 h 278780"/>
                <a:gd name="connsiteX20" fmla="*/ 266385 w 274491"/>
                <a:gd name="connsiteY20" fmla="*/ 106322 h 278780"/>
                <a:gd name="connsiteX21" fmla="*/ 264927 w 274491"/>
                <a:gd name="connsiteY21" fmla="*/ 46363 h 278780"/>
                <a:gd name="connsiteX22" fmla="*/ 226413 w 274491"/>
                <a:gd name="connsiteY22" fmla="*/ 30923 h 278780"/>
                <a:gd name="connsiteX23" fmla="*/ 183438 w 274491"/>
                <a:gd name="connsiteY23" fmla="*/ 18914 h 278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4491" h="278780">
                  <a:moveTo>
                    <a:pt x="183438" y="18914"/>
                  </a:moveTo>
                  <a:lnTo>
                    <a:pt x="178548" y="6433"/>
                  </a:lnTo>
                  <a:lnTo>
                    <a:pt x="149898" y="7506"/>
                  </a:lnTo>
                  <a:cubicBezTo>
                    <a:pt x="131155" y="13210"/>
                    <a:pt x="131155" y="20072"/>
                    <a:pt x="131155" y="26935"/>
                  </a:cubicBezTo>
                  <a:cubicBezTo>
                    <a:pt x="131155" y="33797"/>
                    <a:pt x="113357" y="49751"/>
                    <a:pt x="100533" y="54340"/>
                  </a:cubicBezTo>
                  <a:cubicBezTo>
                    <a:pt x="87708" y="58930"/>
                    <a:pt x="73855" y="93198"/>
                    <a:pt x="65964" y="97744"/>
                  </a:cubicBezTo>
                  <a:cubicBezTo>
                    <a:pt x="58072" y="102334"/>
                    <a:pt x="31395" y="90882"/>
                    <a:pt x="23503" y="89767"/>
                  </a:cubicBezTo>
                  <a:cubicBezTo>
                    <a:pt x="19901" y="89252"/>
                    <a:pt x="13381" y="90882"/>
                    <a:pt x="6433" y="92770"/>
                  </a:cubicBezTo>
                  <a:cubicBezTo>
                    <a:pt x="11366" y="102806"/>
                    <a:pt x="21702" y="114729"/>
                    <a:pt x="25477" y="114729"/>
                  </a:cubicBezTo>
                  <a:cubicBezTo>
                    <a:pt x="30494" y="114729"/>
                    <a:pt x="32124" y="155302"/>
                    <a:pt x="43833" y="161092"/>
                  </a:cubicBezTo>
                  <a:cubicBezTo>
                    <a:pt x="55541" y="166882"/>
                    <a:pt x="77244" y="180392"/>
                    <a:pt x="77244" y="188112"/>
                  </a:cubicBezTo>
                  <a:cubicBezTo>
                    <a:pt x="77244" y="195875"/>
                    <a:pt x="90625" y="205525"/>
                    <a:pt x="90625" y="217106"/>
                  </a:cubicBezTo>
                  <a:cubicBezTo>
                    <a:pt x="90625" y="228686"/>
                    <a:pt x="103835" y="244555"/>
                    <a:pt x="114000" y="244126"/>
                  </a:cubicBezTo>
                  <a:cubicBezTo>
                    <a:pt x="135359" y="243311"/>
                    <a:pt x="137546" y="253604"/>
                    <a:pt x="137546" y="260467"/>
                  </a:cubicBezTo>
                  <a:cubicBezTo>
                    <a:pt x="137546" y="267329"/>
                    <a:pt x="165681" y="260467"/>
                    <a:pt x="169370" y="267329"/>
                  </a:cubicBezTo>
                  <a:cubicBezTo>
                    <a:pt x="172801" y="273633"/>
                    <a:pt x="200550" y="271275"/>
                    <a:pt x="207327" y="275521"/>
                  </a:cubicBezTo>
                  <a:cubicBezTo>
                    <a:pt x="218907" y="262482"/>
                    <a:pt x="235505" y="245284"/>
                    <a:pt x="241209" y="236492"/>
                  </a:cubicBezTo>
                  <a:cubicBezTo>
                    <a:pt x="250088" y="222810"/>
                    <a:pt x="242710" y="203981"/>
                    <a:pt x="250088" y="198835"/>
                  </a:cubicBezTo>
                  <a:cubicBezTo>
                    <a:pt x="257508" y="193688"/>
                    <a:pt x="273805" y="171428"/>
                    <a:pt x="267886" y="169713"/>
                  </a:cubicBezTo>
                  <a:cubicBezTo>
                    <a:pt x="261968" y="168040"/>
                    <a:pt x="266385" y="150884"/>
                    <a:pt x="257508" y="140591"/>
                  </a:cubicBezTo>
                  <a:cubicBezTo>
                    <a:pt x="248629" y="130298"/>
                    <a:pt x="267886" y="125194"/>
                    <a:pt x="266385" y="106322"/>
                  </a:cubicBezTo>
                  <a:cubicBezTo>
                    <a:pt x="264927" y="87494"/>
                    <a:pt x="269345" y="49794"/>
                    <a:pt x="264927" y="46363"/>
                  </a:cubicBezTo>
                  <a:cubicBezTo>
                    <a:pt x="260467" y="42932"/>
                    <a:pt x="239751" y="41217"/>
                    <a:pt x="226413" y="30923"/>
                  </a:cubicBezTo>
                  <a:cubicBezTo>
                    <a:pt x="213074" y="20629"/>
                    <a:pt x="183438" y="18914"/>
                    <a:pt x="183438" y="18914"/>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62" name="Freeform: Shape 61">
              <a:extLst>
                <a:ext uri="{FF2B5EF4-FFF2-40B4-BE49-F238E27FC236}">
                  <a16:creationId xmlns:a16="http://schemas.microsoft.com/office/drawing/2014/main" id="{813AF4AB-A3E5-6DD1-4097-93E6F2196EE4}"/>
                </a:ext>
              </a:extLst>
            </p:cNvPr>
            <p:cNvSpPr/>
            <p:nvPr/>
          </p:nvSpPr>
          <p:spPr>
            <a:xfrm>
              <a:off x="7494040" y="4974750"/>
              <a:ext cx="236184" cy="291950"/>
            </a:xfrm>
            <a:custGeom>
              <a:avLst/>
              <a:gdLst>
                <a:gd name="connsiteX0" fmla="*/ 280624 w 308802"/>
                <a:gd name="connsiteY0" fmla="*/ 157789 h 381714"/>
                <a:gd name="connsiteX1" fmla="*/ 257250 w 308802"/>
                <a:gd name="connsiteY1" fmla="*/ 130769 h 381714"/>
                <a:gd name="connsiteX2" fmla="*/ 243869 w 308802"/>
                <a:gd name="connsiteY2" fmla="*/ 101776 h 381714"/>
                <a:gd name="connsiteX3" fmla="*/ 210458 w 308802"/>
                <a:gd name="connsiteY3" fmla="*/ 74756 h 381714"/>
                <a:gd name="connsiteX4" fmla="*/ 192101 w 308802"/>
                <a:gd name="connsiteY4" fmla="*/ 28393 h 381714"/>
                <a:gd name="connsiteX5" fmla="*/ 173058 w 308802"/>
                <a:gd name="connsiteY5" fmla="*/ 6433 h 381714"/>
                <a:gd name="connsiteX6" fmla="*/ 150627 w 308802"/>
                <a:gd name="connsiteY6" fmla="*/ 11408 h 381714"/>
                <a:gd name="connsiteX7" fmla="*/ 126909 w 308802"/>
                <a:gd name="connsiteY7" fmla="*/ 28521 h 381714"/>
                <a:gd name="connsiteX8" fmla="*/ 109153 w 308802"/>
                <a:gd name="connsiteY8" fmla="*/ 13724 h 381714"/>
                <a:gd name="connsiteX9" fmla="*/ 71625 w 308802"/>
                <a:gd name="connsiteY9" fmla="*/ 26291 h 381714"/>
                <a:gd name="connsiteX10" fmla="*/ 40016 w 308802"/>
                <a:gd name="connsiteY10" fmla="*/ 30837 h 381714"/>
                <a:gd name="connsiteX11" fmla="*/ 40016 w 308802"/>
                <a:gd name="connsiteY11" fmla="*/ 163279 h 381714"/>
                <a:gd name="connsiteX12" fmla="*/ 6433 w 308802"/>
                <a:gd name="connsiteY12" fmla="*/ 178119 h 381714"/>
                <a:gd name="connsiteX13" fmla="*/ 6433 w 308802"/>
                <a:gd name="connsiteY13" fmla="*/ 291690 h 381714"/>
                <a:gd name="connsiteX14" fmla="*/ 22259 w 308802"/>
                <a:gd name="connsiteY14" fmla="*/ 303742 h 381714"/>
                <a:gd name="connsiteX15" fmla="*/ 33110 w 308802"/>
                <a:gd name="connsiteY15" fmla="*/ 347146 h 381714"/>
                <a:gd name="connsiteX16" fmla="*/ 26205 w 308802"/>
                <a:gd name="connsiteY16" fmla="*/ 356281 h 381714"/>
                <a:gd name="connsiteX17" fmla="*/ 32124 w 308802"/>
                <a:gd name="connsiteY17" fmla="*/ 373394 h 381714"/>
                <a:gd name="connsiteX18" fmla="*/ 65706 w 308802"/>
                <a:gd name="connsiteY18" fmla="*/ 371078 h 381714"/>
                <a:gd name="connsiteX19" fmla="*/ 96329 w 308802"/>
                <a:gd name="connsiteY19" fmla="*/ 331105 h 381714"/>
                <a:gd name="connsiteX20" fmla="*/ 119018 w 308802"/>
                <a:gd name="connsiteY20" fmla="*/ 310561 h 381714"/>
                <a:gd name="connsiteX21" fmla="*/ 158519 w 308802"/>
                <a:gd name="connsiteY21" fmla="*/ 325401 h 381714"/>
                <a:gd name="connsiteX22" fmla="*/ 190085 w 308802"/>
                <a:gd name="connsiteY22" fmla="*/ 308288 h 381714"/>
                <a:gd name="connsiteX23" fmla="*/ 202952 w 308802"/>
                <a:gd name="connsiteY23" fmla="*/ 279724 h 381714"/>
                <a:gd name="connsiteX24" fmla="*/ 231602 w 308802"/>
                <a:gd name="connsiteY24" fmla="*/ 255749 h 381714"/>
                <a:gd name="connsiteX25" fmla="*/ 245455 w 308802"/>
                <a:gd name="connsiteY25" fmla="*/ 229501 h 381714"/>
                <a:gd name="connsiteX26" fmla="*/ 272132 w 308802"/>
                <a:gd name="connsiteY26" fmla="*/ 206640 h 381714"/>
                <a:gd name="connsiteX27" fmla="*/ 292891 w 308802"/>
                <a:gd name="connsiteY27" fmla="*/ 192916 h 381714"/>
                <a:gd name="connsiteX28" fmla="*/ 304342 w 308802"/>
                <a:gd name="connsiteY28" fmla="*/ 174259 h 381714"/>
                <a:gd name="connsiteX29" fmla="*/ 304214 w 308802"/>
                <a:gd name="connsiteY29" fmla="*/ 174130 h 381714"/>
                <a:gd name="connsiteX30" fmla="*/ 280624 w 308802"/>
                <a:gd name="connsiteY30" fmla="*/ 157789 h 38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8802" h="381714">
                  <a:moveTo>
                    <a:pt x="280624" y="157789"/>
                  </a:moveTo>
                  <a:cubicBezTo>
                    <a:pt x="270503" y="158219"/>
                    <a:pt x="257250" y="142349"/>
                    <a:pt x="257250" y="130769"/>
                  </a:cubicBezTo>
                  <a:cubicBezTo>
                    <a:pt x="257250" y="119189"/>
                    <a:pt x="243869" y="109539"/>
                    <a:pt x="243869" y="101776"/>
                  </a:cubicBezTo>
                  <a:cubicBezTo>
                    <a:pt x="243869" y="94056"/>
                    <a:pt x="222167" y="80546"/>
                    <a:pt x="210458" y="74756"/>
                  </a:cubicBezTo>
                  <a:cubicBezTo>
                    <a:pt x="198749" y="68966"/>
                    <a:pt x="197119" y="28393"/>
                    <a:pt x="192101" y="28393"/>
                  </a:cubicBezTo>
                  <a:cubicBezTo>
                    <a:pt x="188327" y="28393"/>
                    <a:pt x="177991" y="16469"/>
                    <a:pt x="173058" y="6433"/>
                  </a:cubicBezTo>
                  <a:cubicBezTo>
                    <a:pt x="164823" y="8707"/>
                    <a:pt x="155988" y="11408"/>
                    <a:pt x="150627" y="11408"/>
                  </a:cubicBezTo>
                  <a:cubicBezTo>
                    <a:pt x="140762" y="11408"/>
                    <a:pt x="130855" y="22817"/>
                    <a:pt x="126909" y="28521"/>
                  </a:cubicBezTo>
                  <a:cubicBezTo>
                    <a:pt x="122964" y="34269"/>
                    <a:pt x="115115" y="18228"/>
                    <a:pt x="109153" y="13724"/>
                  </a:cubicBezTo>
                  <a:cubicBezTo>
                    <a:pt x="103234" y="9135"/>
                    <a:pt x="78530" y="24018"/>
                    <a:pt x="71625" y="26291"/>
                  </a:cubicBezTo>
                  <a:cubicBezTo>
                    <a:pt x="64720" y="28564"/>
                    <a:pt x="40016" y="30837"/>
                    <a:pt x="40016" y="30837"/>
                  </a:cubicBezTo>
                  <a:cubicBezTo>
                    <a:pt x="40016" y="30837"/>
                    <a:pt x="40016" y="148440"/>
                    <a:pt x="40016" y="163279"/>
                  </a:cubicBezTo>
                  <a:cubicBezTo>
                    <a:pt x="40016" y="178119"/>
                    <a:pt x="6433" y="168984"/>
                    <a:pt x="6433" y="178119"/>
                  </a:cubicBezTo>
                  <a:cubicBezTo>
                    <a:pt x="6433" y="182365"/>
                    <a:pt x="6433" y="235162"/>
                    <a:pt x="6433" y="291690"/>
                  </a:cubicBezTo>
                  <a:cubicBezTo>
                    <a:pt x="13681" y="294735"/>
                    <a:pt x="20544" y="298809"/>
                    <a:pt x="22259" y="303742"/>
                  </a:cubicBezTo>
                  <a:cubicBezTo>
                    <a:pt x="26205" y="315151"/>
                    <a:pt x="35083" y="340284"/>
                    <a:pt x="33110" y="347146"/>
                  </a:cubicBezTo>
                  <a:cubicBezTo>
                    <a:pt x="31138" y="354008"/>
                    <a:pt x="26205" y="349419"/>
                    <a:pt x="26205" y="356281"/>
                  </a:cubicBezTo>
                  <a:cubicBezTo>
                    <a:pt x="26205" y="363143"/>
                    <a:pt x="22259" y="373394"/>
                    <a:pt x="32124" y="373394"/>
                  </a:cubicBezTo>
                  <a:cubicBezTo>
                    <a:pt x="41989" y="373394"/>
                    <a:pt x="58758" y="380256"/>
                    <a:pt x="65706" y="371078"/>
                  </a:cubicBezTo>
                  <a:cubicBezTo>
                    <a:pt x="72611" y="361943"/>
                    <a:pt x="95343" y="341356"/>
                    <a:pt x="96329" y="331105"/>
                  </a:cubicBezTo>
                  <a:cubicBezTo>
                    <a:pt x="97316" y="320812"/>
                    <a:pt x="102248" y="297995"/>
                    <a:pt x="119018" y="310561"/>
                  </a:cubicBezTo>
                  <a:cubicBezTo>
                    <a:pt x="135831" y="323085"/>
                    <a:pt x="136817" y="325401"/>
                    <a:pt x="158519" y="325401"/>
                  </a:cubicBezTo>
                  <a:cubicBezTo>
                    <a:pt x="180221" y="325401"/>
                    <a:pt x="186183" y="324243"/>
                    <a:pt x="190085" y="308288"/>
                  </a:cubicBezTo>
                  <a:cubicBezTo>
                    <a:pt x="194031" y="292291"/>
                    <a:pt x="190128" y="279724"/>
                    <a:pt x="202952" y="279724"/>
                  </a:cubicBezTo>
                  <a:cubicBezTo>
                    <a:pt x="215776" y="279724"/>
                    <a:pt x="231602" y="266000"/>
                    <a:pt x="231602" y="255749"/>
                  </a:cubicBezTo>
                  <a:cubicBezTo>
                    <a:pt x="231602" y="245455"/>
                    <a:pt x="237521" y="229501"/>
                    <a:pt x="245455" y="229501"/>
                  </a:cubicBezTo>
                  <a:cubicBezTo>
                    <a:pt x="253347" y="229501"/>
                    <a:pt x="270117" y="218049"/>
                    <a:pt x="272132" y="206640"/>
                  </a:cubicBezTo>
                  <a:cubicBezTo>
                    <a:pt x="274106" y="195232"/>
                    <a:pt x="287916" y="199778"/>
                    <a:pt x="292891" y="192916"/>
                  </a:cubicBezTo>
                  <a:cubicBezTo>
                    <a:pt x="295293" y="189571"/>
                    <a:pt x="300096" y="181593"/>
                    <a:pt x="304342" y="174259"/>
                  </a:cubicBezTo>
                  <a:cubicBezTo>
                    <a:pt x="304342" y="174173"/>
                    <a:pt x="304214" y="174130"/>
                    <a:pt x="304214" y="174130"/>
                  </a:cubicBezTo>
                  <a:cubicBezTo>
                    <a:pt x="304214" y="167268"/>
                    <a:pt x="301984" y="157018"/>
                    <a:pt x="280624" y="157789"/>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63" name="Freeform: Shape 62">
              <a:extLst>
                <a:ext uri="{FF2B5EF4-FFF2-40B4-BE49-F238E27FC236}">
                  <a16:creationId xmlns:a16="http://schemas.microsoft.com/office/drawing/2014/main" id="{36C5D880-D1FD-87FF-E3DC-A505E17EE350}"/>
                </a:ext>
              </a:extLst>
            </p:cNvPr>
            <p:cNvSpPr/>
            <p:nvPr/>
          </p:nvSpPr>
          <p:spPr>
            <a:xfrm>
              <a:off x="7762503" y="5221070"/>
              <a:ext cx="42644" cy="55766"/>
            </a:xfrm>
            <a:custGeom>
              <a:avLst/>
              <a:gdLst>
                <a:gd name="connsiteX0" fmla="*/ 29122 w 55756"/>
                <a:gd name="connsiteY0" fmla="*/ 6433 h 72911"/>
                <a:gd name="connsiteX1" fmla="*/ 6433 w 55756"/>
                <a:gd name="connsiteY1" fmla="*/ 34269 h 72911"/>
                <a:gd name="connsiteX2" fmla="*/ 27063 w 55756"/>
                <a:gd name="connsiteY2" fmla="*/ 70081 h 72911"/>
                <a:gd name="connsiteX3" fmla="*/ 45677 w 55756"/>
                <a:gd name="connsiteY3" fmla="*/ 61332 h 72911"/>
                <a:gd name="connsiteX4" fmla="*/ 51296 w 55756"/>
                <a:gd name="connsiteY4" fmla="*/ 50995 h 72911"/>
                <a:gd name="connsiteX5" fmla="*/ 48165 w 55756"/>
                <a:gd name="connsiteY5" fmla="*/ 17756 h 72911"/>
                <a:gd name="connsiteX6" fmla="*/ 29122 w 55756"/>
                <a:gd name="connsiteY6" fmla="*/ 6433 h 7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756" h="72911">
                  <a:moveTo>
                    <a:pt x="29122" y="6433"/>
                  </a:moveTo>
                  <a:cubicBezTo>
                    <a:pt x="20887" y="6433"/>
                    <a:pt x="6433" y="29508"/>
                    <a:pt x="6433" y="34269"/>
                  </a:cubicBezTo>
                  <a:cubicBezTo>
                    <a:pt x="6433" y="39029"/>
                    <a:pt x="16770" y="69309"/>
                    <a:pt x="27063" y="70081"/>
                  </a:cubicBezTo>
                  <a:cubicBezTo>
                    <a:pt x="37399" y="70853"/>
                    <a:pt x="44948" y="70081"/>
                    <a:pt x="45677" y="61332"/>
                  </a:cubicBezTo>
                  <a:cubicBezTo>
                    <a:pt x="45977" y="57000"/>
                    <a:pt x="48679" y="53483"/>
                    <a:pt x="51296" y="50995"/>
                  </a:cubicBezTo>
                  <a:cubicBezTo>
                    <a:pt x="50481" y="43490"/>
                    <a:pt x="48765" y="27406"/>
                    <a:pt x="48165" y="17756"/>
                  </a:cubicBezTo>
                  <a:cubicBezTo>
                    <a:pt x="42075" y="13081"/>
                    <a:pt x="34440" y="6433"/>
                    <a:pt x="29122" y="6433"/>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64" name="Freeform: Shape 63">
              <a:extLst>
                <a:ext uri="{FF2B5EF4-FFF2-40B4-BE49-F238E27FC236}">
                  <a16:creationId xmlns:a16="http://schemas.microsoft.com/office/drawing/2014/main" id="{43917389-C9AA-32AD-A4EA-99F29A41A237}"/>
                </a:ext>
              </a:extLst>
            </p:cNvPr>
            <p:cNvSpPr/>
            <p:nvPr/>
          </p:nvSpPr>
          <p:spPr>
            <a:xfrm>
              <a:off x="7670063" y="5310146"/>
              <a:ext cx="65607" cy="75447"/>
            </a:xfrm>
            <a:custGeom>
              <a:avLst/>
              <a:gdLst>
                <a:gd name="connsiteX0" fmla="*/ 59745 w 85778"/>
                <a:gd name="connsiteY0" fmla="*/ 9160 h 98645"/>
                <a:gd name="connsiteX1" fmla="*/ 26162 w 85778"/>
                <a:gd name="connsiteY1" fmla="*/ 25158 h 98645"/>
                <a:gd name="connsiteX2" fmla="*/ 6433 w 85778"/>
                <a:gd name="connsiteY2" fmla="*/ 59426 h 98645"/>
                <a:gd name="connsiteX3" fmla="*/ 26162 w 85778"/>
                <a:gd name="connsiteY3" fmla="*/ 91421 h 98645"/>
                <a:gd name="connsiteX4" fmla="*/ 39973 w 85778"/>
                <a:gd name="connsiteY4" fmla="*/ 93695 h 98645"/>
                <a:gd name="connsiteX5" fmla="*/ 47907 w 85778"/>
                <a:gd name="connsiteY5" fmla="*/ 73150 h 98645"/>
                <a:gd name="connsiteX6" fmla="*/ 69609 w 85778"/>
                <a:gd name="connsiteY6" fmla="*/ 66331 h 98645"/>
                <a:gd name="connsiteX7" fmla="*/ 81447 w 85778"/>
                <a:gd name="connsiteY7" fmla="*/ 38882 h 98645"/>
                <a:gd name="connsiteX8" fmla="*/ 59745 w 85778"/>
                <a:gd name="connsiteY8" fmla="*/ 9160 h 98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778" h="98645">
                  <a:moveTo>
                    <a:pt x="59745" y="9160"/>
                  </a:moveTo>
                  <a:cubicBezTo>
                    <a:pt x="55799" y="24"/>
                    <a:pt x="30108" y="16022"/>
                    <a:pt x="26162" y="25158"/>
                  </a:cubicBezTo>
                  <a:cubicBezTo>
                    <a:pt x="22216" y="34293"/>
                    <a:pt x="6433" y="59426"/>
                    <a:pt x="6433" y="59426"/>
                  </a:cubicBezTo>
                  <a:lnTo>
                    <a:pt x="26162" y="91421"/>
                  </a:lnTo>
                  <a:lnTo>
                    <a:pt x="39973" y="93695"/>
                  </a:lnTo>
                  <a:cubicBezTo>
                    <a:pt x="39973" y="93695"/>
                    <a:pt x="43962" y="82286"/>
                    <a:pt x="47907" y="73150"/>
                  </a:cubicBezTo>
                  <a:cubicBezTo>
                    <a:pt x="51810" y="64015"/>
                    <a:pt x="69609" y="75467"/>
                    <a:pt x="69609" y="66331"/>
                  </a:cubicBezTo>
                  <a:cubicBezTo>
                    <a:pt x="69609" y="57196"/>
                    <a:pt x="81447" y="48060"/>
                    <a:pt x="81447" y="38882"/>
                  </a:cubicBezTo>
                  <a:cubicBezTo>
                    <a:pt x="81447" y="29704"/>
                    <a:pt x="63691" y="18295"/>
                    <a:pt x="59745" y="9160"/>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65" name="Freeform: Shape 64">
              <a:extLst>
                <a:ext uri="{FF2B5EF4-FFF2-40B4-BE49-F238E27FC236}">
                  <a16:creationId xmlns:a16="http://schemas.microsoft.com/office/drawing/2014/main" id="{B2B74B2F-5489-6ED1-766E-480E72172400}"/>
                </a:ext>
              </a:extLst>
            </p:cNvPr>
            <p:cNvSpPr/>
            <p:nvPr/>
          </p:nvSpPr>
          <p:spPr>
            <a:xfrm>
              <a:off x="7416558" y="5103176"/>
              <a:ext cx="406762" cy="423164"/>
            </a:xfrm>
            <a:custGeom>
              <a:avLst/>
              <a:gdLst>
                <a:gd name="connsiteX0" fmla="*/ 467065 w 531827"/>
                <a:gd name="connsiteY0" fmla="*/ 296279 h 553272"/>
                <a:gd name="connsiteX1" fmla="*/ 498760 w 531827"/>
                <a:gd name="connsiteY1" fmla="*/ 259094 h 553272"/>
                <a:gd name="connsiteX2" fmla="*/ 499146 w 531827"/>
                <a:gd name="connsiteY2" fmla="*/ 258150 h 553272"/>
                <a:gd name="connsiteX3" fmla="*/ 507252 w 531827"/>
                <a:gd name="connsiteY3" fmla="*/ 233747 h 553272"/>
                <a:gd name="connsiteX4" fmla="*/ 528654 w 531827"/>
                <a:gd name="connsiteY4" fmla="*/ 209471 h 553272"/>
                <a:gd name="connsiteX5" fmla="*/ 528911 w 531827"/>
                <a:gd name="connsiteY5" fmla="*/ 206983 h 553272"/>
                <a:gd name="connsiteX6" fmla="*/ 504035 w 531827"/>
                <a:gd name="connsiteY6" fmla="*/ 209171 h 553272"/>
                <a:gd name="connsiteX7" fmla="*/ 503606 w 531827"/>
                <a:gd name="connsiteY7" fmla="*/ 205139 h 553272"/>
                <a:gd name="connsiteX8" fmla="*/ 497988 w 531827"/>
                <a:gd name="connsiteY8" fmla="*/ 215476 h 553272"/>
                <a:gd name="connsiteX9" fmla="*/ 479374 w 531827"/>
                <a:gd name="connsiteY9" fmla="*/ 224225 h 553272"/>
                <a:gd name="connsiteX10" fmla="*/ 458744 w 531827"/>
                <a:gd name="connsiteY10" fmla="*/ 188412 h 553272"/>
                <a:gd name="connsiteX11" fmla="*/ 481432 w 531827"/>
                <a:gd name="connsiteY11" fmla="*/ 160577 h 553272"/>
                <a:gd name="connsiteX12" fmla="*/ 500475 w 531827"/>
                <a:gd name="connsiteY12" fmla="*/ 171943 h 553272"/>
                <a:gd name="connsiteX13" fmla="*/ 500304 w 531827"/>
                <a:gd name="connsiteY13" fmla="*/ 164695 h 553272"/>
                <a:gd name="connsiteX14" fmla="*/ 497344 w 531827"/>
                <a:gd name="connsiteY14" fmla="*/ 94442 h 553272"/>
                <a:gd name="connsiteX15" fmla="*/ 476629 w 531827"/>
                <a:gd name="connsiteY15" fmla="*/ 22474 h 553272"/>
                <a:gd name="connsiteX16" fmla="*/ 437342 w 531827"/>
                <a:gd name="connsiteY16" fmla="*/ 13081 h 553272"/>
                <a:gd name="connsiteX17" fmla="*/ 405604 w 531827"/>
                <a:gd name="connsiteY17" fmla="*/ 6433 h 553272"/>
                <a:gd name="connsiteX18" fmla="*/ 394153 w 531827"/>
                <a:gd name="connsiteY18" fmla="*/ 25090 h 553272"/>
                <a:gd name="connsiteX19" fmla="*/ 373394 w 531827"/>
                <a:gd name="connsiteY19" fmla="*/ 38815 h 553272"/>
                <a:gd name="connsiteX20" fmla="*/ 346717 w 531827"/>
                <a:gd name="connsiteY20" fmla="*/ 61675 h 553272"/>
                <a:gd name="connsiteX21" fmla="*/ 332864 w 531827"/>
                <a:gd name="connsiteY21" fmla="*/ 87923 h 553272"/>
                <a:gd name="connsiteX22" fmla="*/ 304214 w 531827"/>
                <a:gd name="connsiteY22" fmla="*/ 111898 h 553272"/>
                <a:gd name="connsiteX23" fmla="*/ 291347 w 531827"/>
                <a:gd name="connsiteY23" fmla="*/ 140462 h 553272"/>
                <a:gd name="connsiteX24" fmla="*/ 259780 w 531827"/>
                <a:gd name="connsiteY24" fmla="*/ 157575 h 553272"/>
                <a:gd name="connsiteX25" fmla="*/ 220279 w 531827"/>
                <a:gd name="connsiteY25" fmla="*/ 142735 h 553272"/>
                <a:gd name="connsiteX26" fmla="*/ 197591 w 531827"/>
                <a:gd name="connsiteY26" fmla="*/ 163279 h 553272"/>
                <a:gd name="connsiteX27" fmla="*/ 166968 w 531827"/>
                <a:gd name="connsiteY27" fmla="*/ 203252 h 553272"/>
                <a:gd name="connsiteX28" fmla="*/ 133386 w 531827"/>
                <a:gd name="connsiteY28" fmla="*/ 205568 h 553272"/>
                <a:gd name="connsiteX29" fmla="*/ 127467 w 531827"/>
                <a:gd name="connsiteY29" fmla="*/ 188455 h 553272"/>
                <a:gd name="connsiteX30" fmla="*/ 134372 w 531827"/>
                <a:gd name="connsiteY30" fmla="*/ 179320 h 553272"/>
                <a:gd name="connsiteX31" fmla="*/ 123521 w 531827"/>
                <a:gd name="connsiteY31" fmla="*/ 135916 h 553272"/>
                <a:gd name="connsiteX32" fmla="*/ 107695 w 531827"/>
                <a:gd name="connsiteY32" fmla="*/ 123864 h 553272"/>
                <a:gd name="connsiteX33" fmla="*/ 107695 w 531827"/>
                <a:gd name="connsiteY33" fmla="*/ 264970 h 553272"/>
                <a:gd name="connsiteX34" fmla="*/ 85993 w 531827"/>
                <a:gd name="connsiteY34" fmla="*/ 290103 h 553272"/>
                <a:gd name="connsiteX35" fmla="*/ 43533 w 531827"/>
                <a:gd name="connsiteY35" fmla="*/ 291261 h 553272"/>
                <a:gd name="connsiteX36" fmla="*/ 25734 w 531827"/>
                <a:gd name="connsiteY36" fmla="*/ 263812 h 553272"/>
                <a:gd name="connsiteX37" fmla="*/ 6948 w 531827"/>
                <a:gd name="connsiteY37" fmla="*/ 275220 h 553272"/>
                <a:gd name="connsiteX38" fmla="*/ 6433 w 531827"/>
                <a:gd name="connsiteY38" fmla="*/ 277579 h 553272"/>
                <a:gd name="connsiteX39" fmla="*/ 11280 w 531827"/>
                <a:gd name="connsiteY39" fmla="*/ 283884 h 553272"/>
                <a:gd name="connsiteX40" fmla="*/ 22903 w 531827"/>
                <a:gd name="connsiteY40" fmla="*/ 321069 h 553272"/>
                <a:gd name="connsiteX41" fmla="*/ 29551 w 531827"/>
                <a:gd name="connsiteY41" fmla="*/ 365888 h 553272"/>
                <a:gd name="connsiteX42" fmla="*/ 30923 w 531827"/>
                <a:gd name="connsiteY42" fmla="*/ 375239 h 553272"/>
                <a:gd name="connsiteX43" fmla="*/ 49966 w 531827"/>
                <a:gd name="connsiteY43" fmla="*/ 417356 h 553272"/>
                <a:gd name="connsiteX44" fmla="*/ 49966 w 531827"/>
                <a:gd name="connsiteY44" fmla="*/ 453340 h 553272"/>
                <a:gd name="connsiteX45" fmla="*/ 49280 w 531827"/>
                <a:gd name="connsiteY45" fmla="*/ 453511 h 553272"/>
                <a:gd name="connsiteX46" fmla="*/ 59102 w 531827"/>
                <a:gd name="connsiteY46" fmla="*/ 501419 h 553272"/>
                <a:gd name="connsiteX47" fmla="*/ 57000 w 531827"/>
                <a:gd name="connsiteY47" fmla="*/ 513685 h 553272"/>
                <a:gd name="connsiteX48" fmla="*/ 61331 w 531827"/>
                <a:gd name="connsiteY48" fmla="*/ 517888 h 553272"/>
                <a:gd name="connsiteX49" fmla="*/ 75142 w 531827"/>
                <a:gd name="connsiteY49" fmla="*/ 527581 h 553272"/>
                <a:gd name="connsiteX50" fmla="*/ 92941 w 531827"/>
                <a:gd name="connsiteY50" fmla="*/ 544137 h 553272"/>
                <a:gd name="connsiteX51" fmla="*/ 114643 w 531827"/>
                <a:gd name="connsiteY51" fmla="*/ 542421 h 553272"/>
                <a:gd name="connsiteX52" fmla="*/ 149555 w 531827"/>
                <a:gd name="connsiteY52" fmla="*/ 530541 h 553272"/>
                <a:gd name="connsiteX53" fmla="*/ 165981 w 531827"/>
                <a:gd name="connsiteY53" fmla="*/ 520247 h 553272"/>
                <a:gd name="connsiteX54" fmla="*/ 181679 w 531827"/>
                <a:gd name="connsiteY54" fmla="*/ 516430 h 553272"/>
                <a:gd name="connsiteX55" fmla="*/ 205440 w 531827"/>
                <a:gd name="connsiteY55" fmla="*/ 511970 h 553272"/>
                <a:gd name="connsiteX56" fmla="*/ 227527 w 531827"/>
                <a:gd name="connsiteY56" fmla="*/ 513127 h 553272"/>
                <a:gd name="connsiteX57" fmla="*/ 243654 w 531827"/>
                <a:gd name="connsiteY57" fmla="*/ 508881 h 553272"/>
                <a:gd name="connsiteX58" fmla="*/ 248329 w 531827"/>
                <a:gd name="connsiteY58" fmla="*/ 508710 h 553272"/>
                <a:gd name="connsiteX59" fmla="*/ 250173 w 531827"/>
                <a:gd name="connsiteY59" fmla="*/ 508238 h 553272"/>
                <a:gd name="connsiteX60" fmla="*/ 253304 w 531827"/>
                <a:gd name="connsiteY60" fmla="*/ 506308 h 553272"/>
                <a:gd name="connsiteX61" fmla="*/ 253904 w 531827"/>
                <a:gd name="connsiteY61" fmla="*/ 505707 h 553272"/>
                <a:gd name="connsiteX62" fmla="*/ 256735 w 531827"/>
                <a:gd name="connsiteY62" fmla="*/ 502320 h 553272"/>
                <a:gd name="connsiteX63" fmla="*/ 298338 w 531827"/>
                <a:gd name="connsiteY63" fmla="*/ 495629 h 553272"/>
                <a:gd name="connsiteX64" fmla="*/ 302670 w 531827"/>
                <a:gd name="connsiteY64" fmla="*/ 494985 h 553272"/>
                <a:gd name="connsiteX65" fmla="*/ 302841 w 531827"/>
                <a:gd name="connsiteY65" fmla="*/ 494814 h 553272"/>
                <a:gd name="connsiteX66" fmla="*/ 396683 w 531827"/>
                <a:gd name="connsiteY66" fmla="*/ 428293 h 553272"/>
                <a:gd name="connsiteX67" fmla="*/ 435712 w 531827"/>
                <a:gd name="connsiteY67" fmla="*/ 359713 h 553272"/>
                <a:gd name="connsiteX68" fmla="*/ 430566 w 531827"/>
                <a:gd name="connsiteY68" fmla="*/ 341270 h 553272"/>
                <a:gd name="connsiteX69" fmla="*/ 466979 w 531827"/>
                <a:gd name="connsiteY69" fmla="*/ 303742 h 553272"/>
                <a:gd name="connsiteX70" fmla="*/ 468008 w 531827"/>
                <a:gd name="connsiteY70" fmla="*/ 303828 h 553272"/>
                <a:gd name="connsiteX71" fmla="*/ 467065 w 531827"/>
                <a:gd name="connsiteY71" fmla="*/ 296279 h 553272"/>
                <a:gd name="connsiteX72" fmla="*/ 401058 w 531827"/>
                <a:gd name="connsiteY72" fmla="*/ 336852 h 553272"/>
                <a:gd name="connsiteX73" fmla="*/ 379356 w 531827"/>
                <a:gd name="connsiteY73" fmla="*/ 343672 h 553272"/>
                <a:gd name="connsiteX74" fmla="*/ 371421 w 531827"/>
                <a:gd name="connsiteY74" fmla="*/ 364216 h 553272"/>
                <a:gd name="connsiteX75" fmla="*/ 357611 w 531827"/>
                <a:gd name="connsiteY75" fmla="*/ 361942 h 553272"/>
                <a:gd name="connsiteX76" fmla="*/ 337882 w 531827"/>
                <a:gd name="connsiteY76" fmla="*/ 329947 h 553272"/>
                <a:gd name="connsiteX77" fmla="*/ 357611 w 531827"/>
                <a:gd name="connsiteY77" fmla="*/ 295679 h 553272"/>
                <a:gd name="connsiteX78" fmla="*/ 391193 w 531827"/>
                <a:gd name="connsiteY78" fmla="*/ 279681 h 553272"/>
                <a:gd name="connsiteX79" fmla="*/ 412895 w 531827"/>
                <a:gd name="connsiteY79" fmla="*/ 309361 h 553272"/>
                <a:gd name="connsiteX80" fmla="*/ 401058 w 531827"/>
                <a:gd name="connsiteY80" fmla="*/ 336852 h 55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531827" h="553272">
                  <a:moveTo>
                    <a:pt x="467065" y="296279"/>
                  </a:moveTo>
                  <a:cubicBezTo>
                    <a:pt x="466249" y="277879"/>
                    <a:pt x="481518" y="261496"/>
                    <a:pt x="498760" y="259094"/>
                  </a:cubicBezTo>
                  <a:cubicBezTo>
                    <a:pt x="498888" y="258794"/>
                    <a:pt x="499017" y="258493"/>
                    <a:pt x="499146" y="258150"/>
                  </a:cubicBezTo>
                  <a:cubicBezTo>
                    <a:pt x="502148" y="250130"/>
                    <a:pt x="504850" y="242024"/>
                    <a:pt x="507252" y="233747"/>
                  </a:cubicBezTo>
                  <a:cubicBezTo>
                    <a:pt x="510640" y="221995"/>
                    <a:pt x="518703" y="213631"/>
                    <a:pt x="528654" y="209471"/>
                  </a:cubicBezTo>
                  <a:cubicBezTo>
                    <a:pt x="528740" y="208656"/>
                    <a:pt x="528868" y="207798"/>
                    <a:pt x="528911" y="206983"/>
                  </a:cubicBezTo>
                  <a:cubicBezTo>
                    <a:pt x="517245" y="206812"/>
                    <a:pt x="504035" y="209171"/>
                    <a:pt x="504035" y="209171"/>
                  </a:cubicBezTo>
                  <a:cubicBezTo>
                    <a:pt x="504035" y="209171"/>
                    <a:pt x="503863" y="207627"/>
                    <a:pt x="503606" y="205139"/>
                  </a:cubicBezTo>
                  <a:cubicBezTo>
                    <a:pt x="500990" y="207627"/>
                    <a:pt x="498288" y="211144"/>
                    <a:pt x="497988" y="215476"/>
                  </a:cubicBezTo>
                  <a:cubicBezTo>
                    <a:pt x="497258" y="224225"/>
                    <a:pt x="489710" y="225040"/>
                    <a:pt x="479374" y="224225"/>
                  </a:cubicBezTo>
                  <a:cubicBezTo>
                    <a:pt x="469037" y="223453"/>
                    <a:pt x="458744" y="193173"/>
                    <a:pt x="458744" y="188412"/>
                  </a:cubicBezTo>
                  <a:cubicBezTo>
                    <a:pt x="458744" y="183652"/>
                    <a:pt x="473198" y="160577"/>
                    <a:pt x="481432" y="160577"/>
                  </a:cubicBezTo>
                  <a:cubicBezTo>
                    <a:pt x="486794" y="160577"/>
                    <a:pt x="494428" y="167225"/>
                    <a:pt x="500475" y="171943"/>
                  </a:cubicBezTo>
                  <a:cubicBezTo>
                    <a:pt x="500218" y="168469"/>
                    <a:pt x="500175" y="165810"/>
                    <a:pt x="500304" y="164695"/>
                  </a:cubicBezTo>
                  <a:cubicBezTo>
                    <a:pt x="501033" y="159548"/>
                    <a:pt x="506223" y="100446"/>
                    <a:pt x="497344" y="94442"/>
                  </a:cubicBezTo>
                  <a:cubicBezTo>
                    <a:pt x="488466" y="88438"/>
                    <a:pt x="479588" y="28478"/>
                    <a:pt x="476629" y="22474"/>
                  </a:cubicBezTo>
                  <a:cubicBezTo>
                    <a:pt x="473669" y="16512"/>
                    <a:pt x="441073" y="19900"/>
                    <a:pt x="437342" y="13081"/>
                  </a:cubicBezTo>
                  <a:cubicBezTo>
                    <a:pt x="433697" y="6305"/>
                    <a:pt x="406204" y="12909"/>
                    <a:pt x="405604" y="6433"/>
                  </a:cubicBezTo>
                  <a:cubicBezTo>
                    <a:pt x="401358" y="13767"/>
                    <a:pt x="396554" y="21745"/>
                    <a:pt x="394153" y="25090"/>
                  </a:cubicBezTo>
                  <a:cubicBezTo>
                    <a:pt x="389220" y="31952"/>
                    <a:pt x="375367" y="27406"/>
                    <a:pt x="373394" y="38815"/>
                  </a:cubicBezTo>
                  <a:cubicBezTo>
                    <a:pt x="371378" y="50223"/>
                    <a:pt x="354608" y="61675"/>
                    <a:pt x="346717" y="61675"/>
                  </a:cubicBezTo>
                  <a:cubicBezTo>
                    <a:pt x="338783" y="61675"/>
                    <a:pt x="332864" y="77630"/>
                    <a:pt x="332864" y="87923"/>
                  </a:cubicBezTo>
                  <a:cubicBezTo>
                    <a:pt x="332864" y="98216"/>
                    <a:pt x="317080" y="111898"/>
                    <a:pt x="304214" y="111898"/>
                  </a:cubicBezTo>
                  <a:cubicBezTo>
                    <a:pt x="291390" y="111898"/>
                    <a:pt x="295336" y="124464"/>
                    <a:pt x="291347" y="140462"/>
                  </a:cubicBezTo>
                  <a:cubicBezTo>
                    <a:pt x="287401" y="156417"/>
                    <a:pt x="281483" y="157575"/>
                    <a:pt x="259780" y="157575"/>
                  </a:cubicBezTo>
                  <a:cubicBezTo>
                    <a:pt x="238079" y="157575"/>
                    <a:pt x="237049" y="155259"/>
                    <a:pt x="220279" y="142735"/>
                  </a:cubicBezTo>
                  <a:cubicBezTo>
                    <a:pt x="203510" y="130169"/>
                    <a:pt x="198577" y="152986"/>
                    <a:pt x="197591" y="163279"/>
                  </a:cubicBezTo>
                  <a:cubicBezTo>
                    <a:pt x="196604" y="173530"/>
                    <a:pt x="173873" y="194117"/>
                    <a:pt x="166968" y="203252"/>
                  </a:cubicBezTo>
                  <a:cubicBezTo>
                    <a:pt x="160063" y="212387"/>
                    <a:pt x="143250" y="205568"/>
                    <a:pt x="133386" y="205568"/>
                  </a:cubicBezTo>
                  <a:cubicBezTo>
                    <a:pt x="123521" y="205568"/>
                    <a:pt x="127467" y="195275"/>
                    <a:pt x="127467" y="188455"/>
                  </a:cubicBezTo>
                  <a:cubicBezTo>
                    <a:pt x="127467" y="181593"/>
                    <a:pt x="132399" y="186139"/>
                    <a:pt x="134372" y="179320"/>
                  </a:cubicBezTo>
                  <a:cubicBezTo>
                    <a:pt x="136345" y="172458"/>
                    <a:pt x="127467" y="147368"/>
                    <a:pt x="123521" y="135916"/>
                  </a:cubicBezTo>
                  <a:cubicBezTo>
                    <a:pt x="121849" y="130984"/>
                    <a:pt x="114943" y="126909"/>
                    <a:pt x="107695" y="123864"/>
                  </a:cubicBezTo>
                  <a:lnTo>
                    <a:pt x="107695" y="264970"/>
                  </a:lnTo>
                  <a:cubicBezTo>
                    <a:pt x="107695" y="277537"/>
                    <a:pt x="89896" y="283241"/>
                    <a:pt x="85993" y="290103"/>
                  </a:cubicBezTo>
                  <a:cubicBezTo>
                    <a:pt x="82047" y="296966"/>
                    <a:pt x="57343" y="291261"/>
                    <a:pt x="43533" y="291261"/>
                  </a:cubicBezTo>
                  <a:cubicBezTo>
                    <a:pt x="29722" y="291261"/>
                    <a:pt x="32682" y="275220"/>
                    <a:pt x="25734" y="263812"/>
                  </a:cubicBezTo>
                  <a:cubicBezTo>
                    <a:pt x="18828" y="252403"/>
                    <a:pt x="6948" y="267243"/>
                    <a:pt x="6948" y="275220"/>
                  </a:cubicBezTo>
                  <a:cubicBezTo>
                    <a:pt x="6948" y="276207"/>
                    <a:pt x="6733" y="276936"/>
                    <a:pt x="6433" y="277579"/>
                  </a:cubicBezTo>
                  <a:cubicBezTo>
                    <a:pt x="8235" y="279466"/>
                    <a:pt x="9907" y="281483"/>
                    <a:pt x="11280" y="283884"/>
                  </a:cubicBezTo>
                  <a:cubicBezTo>
                    <a:pt x="16555" y="293020"/>
                    <a:pt x="16684" y="314035"/>
                    <a:pt x="22903" y="321069"/>
                  </a:cubicBezTo>
                  <a:cubicBezTo>
                    <a:pt x="33025" y="332563"/>
                    <a:pt x="36284" y="351778"/>
                    <a:pt x="29551" y="365888"/>
                  </a:cubicBezTo>
                  <a:cubicBezTo>
                    <a:pt x="30365" y="368933"/>
                    <a:pt x="30752" y="372065"/>
                    <a:pt x="30923" y="375239"/>
                  </a:cubicBezTo>
                  <a:cubicBezTo>
                    <a:pt x="38729" y="391880"/>
                    <a:pt x="46964" y="406633"/>
                    <a:pt x="49966" y="417356"/>
                  </a:cubicBezTo>
                  <a:cubicBezTo>
                    <a:pt x="54898" y="435069"/>
                    <a:pt x="60345" y="451624"/>
                    <a:pt x="49966" y="453340"/>
                  </a:cubicBezTo>
                  <a:cubicBezTo>
                    <a:pt x="49709" y="453383"/>
                    <a:pt x="49537" y="453469"/>
                    <a:pt x="49280" y="453511"/>
                  </a:cubicBezTo>
                  <a:cubicBezTo>
                    <a:pt x="55499" y="468823"/>
                    <a:pt x="58887" y="484477"/>
                    <a:pt x="59102" y="501419"/>
                  </a:cubicBezTo>
                  <a:cubicBezTo>
                    <a:pt x="59145" y="505793"/>
                    <a:pt x="58329" y="509868"/>
                    <a:pt x="57000" y="513685"/>
                  </a:cubicBezTo>
                  <a:cubicBezTo>
                    <a:pt x="57515" y="515829"/>
                    <a:pt x="58630" y="517245"/>
                    <a:pt x="61331" y="517888"/>
                  </a:cubicBezTo>
                  <a:cubicBezTo>
                    <a:pt x="70681" y="520161"/>
                    <a:pt x="67722" y="527024"/>
                    <a:pt x="75142" y="527581"/>
                  </a:cubicBezTo>
                  <a:cubicBezTo>
                    <a:pt x="82562" y="528138"/>
                    <a:pt x="88009" y="536716"/>
                    <a:pt x="92941" y="544137"/>
                  </a:cubicBezTo>
                  <a:cubicBezTo>
                    <a:pt x="97873" y="551599"/>
                    <a:pt x="109239" y="551599"/>
                    <a:pt x="114643" y="542421"/>
                  </a:cubicBezTo>
                  <a:cubicBezTo>
                    <a:pt x="119618" y="534100"/>
                    <a:pt x="133986" y="531012"/>
                    <a:pt x="149555" y="530541"/>
                  </a:cubicBezTo>
                  <a:cubicBezTo>
                    <a:pt x="154101" y="525780"/>
                    <a:pt x="159806" y="522220"/>
                    <a:pt x="165981" y="520247"/>
                  </a:cubicBezTo>
                  <a:cubicBezTo>
                    <a:pt x="171128" y="518617"/>
                    <a:pt x="176490" y="517888"/>
                    <a:pt x="181679" y="516430"/>
                  </a:cubicBezTo>
                  <a:cubicBezTo>
                    <a:pt x="189185" y="511712"/>
                    <a:pt x="197505" y="510511"/>
                    <a:pt x="205440" y="511970"/>
                  </a:cubicBezTo>
                  <a:cubicBezTo>
                    <a:pt x="213074" y="511369"/>
                    <a:pt x="220665" y="511669"/>
                    <a:pt x="227527" y="513127"/>
                  </a:cubicBezTo>
                  <a:cubicBezTo>
                    <a:pt x="232546" y="510511"/>
                    <a:pt x="238036" y="508967"/>
                    <a:pt x="243654" y="508881"/>
                  </a:cubicBezTo>
                  <a:cubicBezTo>
                    <a:pt x="245198" y="508838"/>
                    <a:pt x="246785" y="508753"/>
                    <a:pt x="248329" y="508710"/>
                  </a:cubicBezTo>
                  <a:cubicBezTo>
                    <a:pt x="248930" y="508538"/>
                    <a:pt x="249530" y="508409"/>
                    <a:pt x="250173" y="508238"/>
                  </a:cubicBezTo>
                  <a:cubicBezTo>
                    <a:pt x="251202" y="507552"/>
                    <a:pt x="252403" y="506866"/>
                    <a:pt x="253304" y="506308"/>
                  </a:cubicBezTo>
                  <a:cubicBezTo>
                    <a:pt x="253562" y="506051"/>
                    <a:pt x="253776" y="505879"/>
                    <a:pt x="253904" y="505707"/>
                  </a:cubicBezTo>
                  <a:cubicBezTo>
                    <a:pt x="254891" y="504635"/>
                    <a:pt x="255835" y="503477"/>
                    <a:pt x="256735" y="502320"/>
                  </a:cubicBezTo>
                  <a:cubicBezTo>
                    <a:pt x="266986" y="489624"/>
                    <a:pt x="284699" y="489066"/>
                    <a:pt x="298338" y="495629"/>
                  </a:cubicBezTo>
                  <a:cubicBezTo>
                    <a:pt x="299711" y="495286"/>
                    <a:pt x="301126" y="495071"/>
                    <a:pt x="302670" y="494985"/>
                  </a:cubicBezTo>
                  <a:cubicBezTo>
                    <a:pt x="302713" y="494942"/>
                    <a:pt x="302798" y="494857"/>
                    <a:pt x="302841" y="494814"/>
                  </a:cubicBezTo>
                  <a:cubicBezTo>
                    <a:pt x="332821" y="468351"/>
                    <a:pt x="372108" y="461317"/>
                    <a:pt x="396683" y="428293"/>
                  </a:cubicBezTo>
                  <a:cubicBezTo>
                    <a:pt x="412467" y="407105"/>
                    <a:pt x="422974" y="382701"/>
                    <a:pt x="435712" y="359713"/>
                  </a:cubicBezTo>
                  <a:cubicBezTo>
                    <a:pt x="432753" y="354566"/>
                    <a:pt x="430866" y="348518"/>
                    <a:pt x="430566" y="341270"/>
                  </a:cubicBezTo>
                  <a:cubicBezTo>
                    <a:pt x="429751" y="322870"/>
                    <a:pt x="448022" y="301169"/>
                    <a:pt x="466979" y="303742"/>
                  </a:cubicBezTo>
                  <a:cubicBezTo>
                    <a:pt x="467322" y="303785"/>
                    <a:pt x="467665" y="303828"/>
                    <a:pt x="468008" y="303828"/>
                  </a:cubicBezTo>
                  <a:cubicBezTo>
                    <a:pt x="467536" y="301426"/>
                    <a:pt x="467193" y="298895"/>
                    <a:pt x="467065" y="296279"/>
                  </a:cubicBezTo>
                  <a:close/>
                  <a:moveTo>
                    <a:pt x="401058" y="336852"/>
                  </a:moveTo>
                  <a:cubicBezTo>
                    <a:pt x="401058" y="345988"/>
                    <a:pt x="383259" y="334579"/>
                    <a:pt x="379356" y="343672"/>
                  </a:cubicBezTo>
                  <a:cubicBezTo>
                    <a:pt x="375410" y="352850"/>
                    <a:pt x="371421" y="364216"/>
                    <a:pt x="371421" y="364216"/>
                  </a:cubicBezTo>
                  <a:lnTo>
                    <a:pt x="357611" y="361942"/>
                  </a:lnTo>
                  <a:lnTo>
                    <a:pt x="337882" y="329947"/>
                  </a:lnTo>
                  <a:cubicBezTo>
                    <a:pt x="337882" y="329947"/>
                    <a:pt x="353708" y="304857"/>
                    <a:pt x="357611" y="295679"/>
                  </a:cubicBezTo>
                  <a:cubicBezTo>
                    <a:pt x="361557" y="286543"/>
                    <a:pt x="387248" y="270546"/>
                    <a:pt x="391193" y="279681"/>
                  </a:cubicBezTo>
                  <a:cubicBezTo>
                    <a:pt x="395139" y="288816"/>
                    <a:pt x="412895" y="300225"/>
                    <a:pt x="412895" y="309361"/>
                  </a:cubicBezTo>
                  <a:cubicBezTo>
                    <a:pt x="412895" y="318581"/>
                    <a:pt x="401058" y="327717"/>
                    <a:pt x="401058" y="336852"/>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66" name="Freeform: Shape 66">
              <a:extLst>
                <a:ext uri="{FF2B5EF4-FFF2-40B4-BE49-F238E27FC236}">
                  <a16:creationId xmlns:a16="http://schemas.microsoft.com/office/drawing/2014/main" id="{CF017D76-329F-33E5-2BCF-0B383E855E38}"/>
                </a:ext>
              </a:extLst>
            </p:cNvPr>
            <p:cNvSpPr/>
            <p:nvPr/>
          </p:nvSpPr>
          <p:spPr>
            <a:xfrm>
              <a:off x="7311850" y="4613724"/>
              <a:ext cx="291950" cy="370678"/>
            </a:xfrm>
            <a:custGeom>
              <a:avLst/>
              <a:gdLst>
                <a:gd name="connsiteX0" fmla="*/ 369106 w 381714"/>
                <a:gd name="connsiteY0" fmla="*/ 199040 h 484649"/>
                <a:gd name="connsiteX1" fmla="*/ 339469 w 381714"/>
                <a:gd name="connsiteY1" fmla="*/ 202471 h 484649"/>
                <a:gd name="connsiteX2" fmla="*/ 321670 w 381714"/>
                <a:gd name="connsiteY2" fmla="*/ 212764 h 484649"/>
                <a:gd name="connsiteX3" fmla="*/ 321670 w 381714"/>
                <a:gd name="connsiteY3" fmla="*/ 181927 h 484649"/>
                <a:gd name="connsiteX4" fmla="*/ 305372 w 381714"/>
                <a:gd name="connsiteY4" fmla="*/ 151089 h 484649"/>
                <a:gd name="connsiteX5" fmla="*/ 309832 w 381714"/>
                <a:gd name="connsiteY5" fmla="*/ 96277 h 484649"/>
                <a:gd name="connsiteX6" fmla="*/ 303914 w 381714"/>
                <a:gd name="connsiteY6" fmla="*/ 65439 h 484649"/>
                <a:gd name="connsiteX7" fmla="*/ 281697 w 381714"/>
                <a:gd name="connsiteY7" fmla="*/ 60293 h 484649"/>
                <a:gd name="connsiteX8" fmla="*/ 265399 w 381714"/>
                <a:gd name="connsiteY8" fmla="*/ 51715 h 484649"/>
                <a:gd name="connsiteX9" fmla="*/ 238722 w 381714"/>
                <a:gd name="connsiteY9" fmla="*/ 51715 h 484649"/>
                <a:gd name="connsiteX10" fmla="*/ 225426 w 381714"/>
                <a:gd name="connsiteY10" fmla="*/ 85984 h 484649"/>
                <a:gd name="connsiteX11" fmla="*/ 186912 w 381714"/>
                <a:gd name="connsiteY11" fmla="*/ 92846 h 484649"/>
                <a:gd name="connsiteX12" fmla="*/ 158776 w 381714"/>
                <a:gd name="connsiteY12" fmla="*/ 68871 h 484649"/>
                <a:gd name="connsiteX13" fmla="*/ 145438 w 381714"/>
                <a:gd name="connsiteY13" fmla="*/ 39749 h 484649"/>
                <a:gd name="connsiteX14" fmla="*/ 139519 w 381714"/>
                <a:gd name="connsiteY14" fmla="*/ 7196 h 484649"/>
                <a:gd name="connsiteX15" fmla="*/ 31395 w 381714"/>
                <a:gd name="connsiteY15" fmla="*/ 7196 h 484649"/>
                <a:gd name="connsiteX16" fmla="*/ 12524 w 381714"/>
                <a:gd name="connsiteY16" fmla="*/ 19076 h 484649"/>
                <a:gd name="connsiteX17" fmla="*/ 41774 w 381714"/>
                <a:gd name="connsiteY17" fmla="*/ 99708 h 484649"/>
                <a:gd name="connsiteX18" fmla="*/ 36327 w 381714"/>
                <a:gd name="connsiteY18" fmla="*/ 140239 h 484649"/>
                <a:gd name="connsiteX19" fmla="*/ 57086 w 381714"/>
                <a:gd name="connsiteY19" fmla="*/ 221299 h 484649"/>
                <a:gd name="connsiteX20" fmla="*/ 33368 w 381714"/>
                <a:gd name="connsiteY20" fmla="*/ 277270 h 484649"/>
                <a:gd name="connsiteX21" fmla="*/ 24190 w 381714"/>
                <a:gd name="connsiteY21" fmla="*/ 293396 h 484649"/>
                <a:gd name="connsiteX22" fmla="*/ 9994 w 381714"/>
                <a:gd name="connsiteY22" fmla="*/ 411599 h 484649"/>
                <a:gd name="connsiteX23" fmla="*/ 6433 w 381714"/>
                <a:gd name="connsiteY23" fmla="*/ 421121 h 484649"/>
                <a:gd name="connsiteX24" fmla="*/ 8278 w 381714"/>
                <a:gd name="connsiteY24" fmla="*/ 431671 h 484649"/>
                <a:gd name="connsiteX25" fmla="*/ 11923 w 381714"/>
                <a:gd name="connsiteY25" fmla="*/ 446854 h 484649"/>
                <a:gd name="connsiteX26" fmla="*/ 24575 w 381714"/>
                <a:gd name="connsiteY26" fmla="*/ 454059 h 484649"/>
                <a:gd name="connsiteX27" fmla="*/ 56314 w 381714"/>
                <a:gd name="connsiteY27" fmla="*/ 456033 h 484649"/>
                <a:gd name="connsiteX28" fmla="*/ 86379 w 381714"/>
                <a:gd name="connsiteY28" fmla="*/ 465640 h 484649"/>
                <a:gd name="connsiteX29" fmla="*/ 201623 w 381714"/>
                <a:gd name="connsiteY29" fmla="*/ 465640 h 484649"/>
                <a:gd name="connsiteX30" fmla="*/ 213331 w 381714"/>
                <a:gd name="connsiteY30" fmla="*/ 479149 h 484649"/>
                <a:gd name="connsiteX31" fmla="*/ 286801 w 381714"/>
                <a:gd name="connsiteY31" fmla="*/ 479149 h 484649"/>
                <a:gd name="connsiteX32" fmla="*/ 338568 w 381714"/>
                <a:gd name="connsiteY32" fmla="*/ 475290 h 484649"/>
                <a:gd name="connsiteX33" fmla="*/ 347704 w 381714"/>
                <a:gd name="connsiteY33" fmla="*/ 472759 h 484649"/>
                <a:gd name="connsiteX34" fmla="*/ 309618 w 381714"/>
                <a:gd name="connsiteY34" fmla="*/ 412543 h 484649"/>
                <a:gd name="connsiteX35" fmla="*/ 313049 w 381714"/>
                <a:gd name="connsiteY35" fmla="*/ 284046 h 484649"/>
                <a:gd name="connsiteX36" fmla="*/ 362629 w 381714"/>
                <a:gd name="connsiteY36" fmla="*/ 286062 h 484649"/>
                <a:gd name="connsiteX37" fmla="*/ 371164 w 381714"/>
                <a:gd name="connsiteY37" fmla="*/ 276155 h 484649"/>
                <a:gd name="connsiteX38" fmla="*/ 378198 w 381714"/>
                <a:gd name="connsiteY38" fmla="*/ 199426 h 484649"/>
                <a:gd name="connsiteX39" fmla="*/ 369106 w 381714"/>
                <a:gd name="connsiteY39" fmla="*/ 199040 h 48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1714" h="484649">
                  <a:moveTo>
                    <a:pt x="369106" y="199040"/>
                  </a:moveTo>
                  <a:cubicBezTo>
                    <a:pt x="358726" y="204186"/>
                    <a:pt x="349848" y="202471"/>
                    <a:pt x="339469" y="202471"/>
                  </a:cubicBezTo>
                  <a:cubicBezTo>
                    <a:pt x="329090" y="202471"/>
                    <a:pt x="327631" y="214480"/>
                    <a:pt x="321670" y="212764"/>
                  </a:cubicBezTo>
                  <a:cubicBezTo>
                    <a:pt x="315751" y="211049"/>
                    <a:pt x="320212" y="190505"/>
                    <a:pt x="321670" y="181927"/>
                  </a:cubicBezTo>
                  <a:cubicBezTo>
                    <a:pt x="323171" y="173349"/>
                    <a:pt x="312792" y="157952"/>
                    <a:pt x="305372" y="151089"/>
                  </a:cubicBezTo>
                  <a:cubicBezTo>
                    <a:pt x="297995" y="144227"/>
                    <a:pt x="314250" y="101424"/>
                    <a:pt x="309832" y="96277"/>
                  </a:cubicBezTo>
                  <a:cubicBezTo>
                    <a:pt x="305372" y="91130"/>
                    <a:pt x="303914" y="77449"/>
                    <a:pt x="303914" y="65439"/>
                  </a:cubicBezTo>
                  <a:cubicBezTo>
                    <a:pt x="303914" y="53431"/>
                    <a:pt x="296494" y="60293"/>
                    <a:pt x="281697" y="60293"/>
                  </a:cubicBezTo>
                  <a:cubicBezTo>
                    <a:pt x="266900" y="60293"/>
                    <a:pt x="265399" y="51715"/>
                    <a:pt x="265399" y="51715"/>
                  </a:cubicBezTo>
                  <a:cubicBezTo>
                    <a:pt x="265399" y="51715"/>
                    <a:pt x="247643" y="46568"/>
                    <a:pt x="238722" y="51715"/>
                  </a:cubicBezTo>
                  <a:cubicBezTo>
                    <a:pt x="229844" y="56862"/>
                    <a:pt x="231302" y="87699"/>
                    <a:pt x="225426" y="85984"/>
                  </a:cubicBezTo>
                  <a:cubicBezTo>
                    <a:pt x="219508" y="84268"/>
                    <a:pt x="201709" y="87699"/>
                    <a:pt x="186912" y="92846"/>
                  </a:cubicBezTo>
                  <a:cubicBezTo>
                    <a:pt x="172115" y="97992"/>
                    <a:pt x="166196" y="89414"/>
                    <a:pt x="158776" y="68871"/>
                  </a:cubicBezTo>
                  <a:cubicBezTo>
                    <a:pt x="151357" y="48327"/>
                    <a:pt x="142478" y="55146"/>
                    <a:pt x="145438" y="39749"/>
                  </a:cubicBezTo>
                  <a:cubicBezTo>
                    <a:pt x="148397" y="24309"/>
                    <a:pt x="139519" y="7196"/>
                    <a:pt x="139519" y="7196"/>
                  </a:cubicBezTo>
                  <a:cubicBezTo>
                    <a:pt x="139519" y="7196"/>
                    <a:pt x="41774" y="5480"/>
                    <a:pt x="31395" y="7196"/>
                  </a:cubicBezTo>
                  <a:cubicBezTo>
                    <a:pt x="27192" y="7882"/>
                    <a:pt x="19815" y="13115"/>
                    <a:pt x="12524" y="19076"/>
                  </a:cubicBezTo>
                  <a:cubicBezTo>
                    <a:pt x="18571" y="45453"/>
                    <a:pt x="37528" y="89372"/>
                    <a:pt x="41774" y="99708"/>
                  </a:cubicBezTo>
                  <a:cubicBezTo>
                    <a:pt x="46235" y="110559"/>
                    <a:pt x="36327" y="120252"/>
                    <a:pt x="36327" y="140239"/>
                  </a:cubicBezTo>
                  <a:cubicBezTo>
                    <a:pt x="36327" y="160225"/>
                    <a:pt x="55113" y="196766"/>
                    <a:pt x="57086" y="221299"/>
                  </a:cubicBezTo>
                  <a:cubicBezTo>
                    <a:pt x="59059" y="245875"/>
                    <a:pt x="45248" y="261272"/>
                    <a:pt x="33368" y="277270"/>
                  </a:cubicBezTo>
                  <a:cubicBezTo>
                    <a:pt x="30237" y="281473"/>
                    <a:pt x="27106" y="287049"/>
                    <a:pt x="24190" y="293396"/>
                  </a:cubicBezTo>
                  <a:cubicBezTo>
                    <a:pt x="30323" y="331010"/>
                    <a:pt x="24833" y="370168"/>
                    <a:pt x="9994" y="411599"/>
                  </a:cubicBezTo>
                  <a:cubicBezTo>
                    <a:pt x="8793" y="414901"/>
                    <a:pt x="7591" y="418032"/>
                    <a:pt x="6433" y="421121"/>
                  </a:cubicBezTo>
                  <a:cubicBezTo>
                    <a:pt x="6905" y="424637"/>
                    <a:pt x="7506" y="428198"/>
                    <a:pt x="8278" y="431671"/>
                  </a:cubicBezTo>
                  <a:cubicBezTo>
                    <a:pt x="9393" y="436818"/>
                    <a:pt x="10679" y="441836"/>
                    <a:pt x="11923" y="446854"/>
                  </a:cubicBezTo>
                  <a:cubicBezTo>
                    <a:pt x="16985" y="449213"/>
                    <a:pt x="14197" y="459206"/>
                    <a:pt x="24575" y="454059"/>
                  </a:cubicBezTo>
                  <a:cubicBezTo>
                    <a:pt x="36285" y="448312"/>
                    <a:pt x="46278" y="448312"/>
                    <a:pt x="56314" y="456033"/>
                  </a:cubicBezTo>
                  <a:cubicBezTo>
                    <a:pt x="66307" y="463709"/>
                    <a:pt x="74670" y="465640"/>
                    <a:pt x="86379" y="465640"/>
                  </a:cubicBezTo>
                  <a:cubicBezTo>
                    <a:pt x="98088" y="465640"/>
                    <a:pt x="201623" y="465640"/>
                    <a:pt x="201623" y="465640"/>
                  </a:cubicBezTo>
                  <a:lnTo>
                    <a:pt x="213331" y="479149"/>
                  </a:lnTo>
                  <a:cubicBezTo>
                    <a:pt x="213331" y="479149"/>
                    <a:pt x="276808" y="473360"/>
                    <a:pt x="286801" y="479149"/>
                  </a:cubicBezTo>
                  <a:cubicBezTo>
                    <a:pt x="296837" y="484940"/>
                    <a:pt x="328532" y="479149"/>
                    <a:pt x="338568" y="475290"/>
                  </a:cubicBezTo>
                  <a:cubicBezTo>
                    <a:pt x="340327" y="474604"/>
                    <a:pt x="343586" y="473746"/>
                    <a:pt x="347704" y="472759"/>
                  </a:cubicBezTo>
                  <a:lnTo>
                    <a:pt x="309618" y="412543"/>
                  </a:lnTo>
                  <a:lnTo>
                    <a:pt x="313049" y="284046"/>
                  </a:lnTo>
                  <a:lnTo>
                    <a:pt x="362629" y="286062"/>
                  </a:lnTo>
                  <a:lnTo>
                    <a:pt x="371164" y="276155"/>
                  </a:lnTo>
                  <a:lnTo>
                    <a:pt x="378198" y="199426"/>
                  </a:lnTo>
                  <a:cubicBezTo>
                    <a:pt x="375539" y="198010"/>
                    <a:pt x="372536" y="197367"/>
                    <a:pt x="369106" y="199040"/>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67" name="Freeform: Shape 86">
              <a:extLst>
                <a:ext uri="{FF2B5EF4-FFF2-40B4-BE49-F238E27FC236}">
                  <a16:creationId xmlns:a16="http://schemas.microsoft.com/office/drawing/2014/main" id="{2121225C-5889-D075-1787-02CB413EE143}"/>
                </a:ext>
              </a:extLst>
            </p:cNvPr>
            <p:cNvSpPr/>
            <p:nvPr/>
          </p:nvSpPr>
          <p:spPr>
            <a:xfrm>
              <a:off x="7543737" y="4682406"/>
              <a:ext cx="301791" cy="305072"/>
            </a:xfrm>
            <a:custGeom>
              <a:avLst/>
              <a:gdLst>
                <a:gd name="connsiteX0" fmla="*/ 302069 w 394581"/>
                <a:gd name="connsiteY0" fmla="*/ 22302 h 398870"/>
                <a:gd name="connsiteX1" fmla="*/ 277965 w 394581"/>
                <a:gd name="connsiteY1" fmla="*/ 6433 h 398870"/>
                <a:gd name="connsiteX2" fmla="*/ 237778 w 394581"/>
                <a:gd name="connsiteY2" fmla="*/ 13339 h 398870"/>
                <a:gd name="connsiteX3" fmla="*/ 228900 w 394581"/>
                <a:gd name="connsiteY3" fmla="*/ 39029 h 398870"/>
                <a:gd name="connsiteX4" fmla="*/ 224440 w 394581"/>
                <a:gd name="connsiteY4" fmla="*/ 59573 h 398870"/>
                <a:gd name="connsiteX5" fmla="*/ 222981 w 394581"/>
                <a:gd name="connsiteY5" fmla="*/ 102420 h 398870"/>
                <a:gd name="connsiteX6" fmla="*/ 215562 w 394581"/>
                <a:gd name="connsiteY6" fmla="*/ 138361 h 398870"/>
                <a:gd name="connsiteX7" fmla="*/ 237778 w 394581"/>
                <a:gd name="connsiteY7" fmla="*/ 169198 h 398870"/>
                <a:gd name="connsiteX8" fmla="*/ 259995 w 394581"/>
                <a:gd name="connsiteY8" fmla="*/ 160663 h 398870"/>
                <a:gd name="connsiteX9" fmla="*/ 264455 w 394581"/>
                <a:gd name="connsiteY9" fmla="*/ 188070 h 398870"/>
                <a:gd name="connsiteX10" fmla="*/ 258536 w 394581"/>
                <a:gd name="connsiteY10" fmla="*/ 205182 h 398870"/>
                <a:gd name="connsiteX11" fmla="*/ 234819 w 394581"/>
                <a:gd name="connsiteY11" fmla="*/ 205182 h 398870"/>
                <a:gd name="connsiteX12" fmla="*/ 221480 w 394581"/>
                <a:gd name="connsiteY12" fmla="*/ 172629 h 398870"/>
                <a:gd name="connsiteX13" fmla="*/ 196304 w 394581"/>
                <a:gd name="connsiteY13" fmla="*/ 165767 h 398870"/>
                <a:gd name="connsiteX14" fmla="*/ 178548 w 394581"/>
                <a:gd name="connsiteY14" fmla="*/ 143465 h 398870"/>
                <a:gd name="connsiteX15" fmla="*/ 166711 w 394581"/>
                <a:gd name="connsiteY15" fmla="*/ 150327 h 398870"/>
                <a:gd name="connsiteX16" fmla="*/ 151914 w 394581"/>
                <a:gd name="connsiteY16" fmla="*/ 155474 h 398870"/>
                <a:gd name="connsiteX17" fmla="*/ 123778 w 394581"/>
                <a:gd name="connsiteY17" fmla="*/ 145180 h 398870"/>
                <a:gd name="connsiteX18" fmla="*/ 113399 w 394581"/>
                <a:gd name="connsiteY18" fmla="*/ 126352 h 398870"/>
                <a:gd name="connsiteX19" fmla="*/ 92684 w 394581"/>
                <a:gd name="connsiteY19" fmla="*/ 128067 h 398870"/>
                <a:gd name="connsiteX20" fmla="*/ 83805 w 394581"/>
                <a:gd name="connsiteY20" fmla="*/ 119490 h 398870"/>
                <a:gd name="connsiteX21" fmla="*/ 75056 w 394581"/>
                <a:gd name="connsiteY21" fmla="*/ 109582 h 398870"/>
                <a:gd name="connsiteX22" fmla="*/ 67979 w 394581"/>
                <a:gd name="connsiteY22" fmla="*/ 186311 h 398870"/>
                <a:gd name="connsiteX23" fmla="*/ 59445 w 394581"/>
                <a:gd name="connsiteY23" fmla="*/ 196219 h 398870"/>
                <a:gd name="connsiteX24" fmla="*/ 9864 w 394581"/>
                <a:gd name="connsiteY24" fmla="*/ 194202 h 398870"/>
                <a:gd name="connsiteX25" fmla="*/ 6433 w 394581"/>
                <a:gd name="connsiteY25" fmla="*/ 322699 h 398870"/>
                <a:gd name="connsiteX26" fmla="*/ 44519 w 394581"/>
                <a:gd name="connsiteY26" fmla="*/ 382915 h 398870"/>
                <a:gd name="connsiteX27" fmla="*/ 105508 w 394581"/>
                <a:gd name="connsiteY27" fmla="*/ 379699 h 398870"/>
                <a:gd name="connsiteX28" fmla="*/ 108167 w 394581"/>
                <a:gd name="connsiteY28" fmla="*/ 388577 h 398870"/>
                <a:gd name="connsiteX29" fmla="*/ 125237 w 394581"/>
                <a:gd name="connsiteY29" fmla="*/ 385575 h 398870"/>
                <a:gd name="connsiteX30" fmla="*/ 167697 w 394581"/>
                <a:gd name="connsiteY30" fmla="*/ 393552 h 398870"/>
                <a:gd name="connsiteX31" fmla="*/ 202266 w 394581"/>
                <a:gd name="connsiteY31" fmla="*/ 350148 h 398870"/>
                <a:gd name="connsiteX32" fmla="*/ 232889 w 394581"/>
                <a:gd name="connsiteY32" fmla="*/ 322742 h 398870"/>
                <a:gd name="connsiteX33" fmla="*/ 251631 w 394581"/>
                <a:gd name="connsiteY33" fmla="*/ 303313 h 398870"/>
                <a:gd name="connsiteX34" fmla="*/ 280282 w 394581"/>
                <a:gd name="connsiteY34" fmla="*/ 302241 h 398870"/>
                <a:gd name="connsiteX35" fmla="*/ 282211 w 394581"/>
                <a:gd name="connsiteY35" fmla="*/ 302198 h 398870"/>
                <a:gd name="connsiteX36" fmla="*/ 275306 w 394581"/>
                <a:gd name="connsiteY36" fmla="*/ 273633 h 398870"/>
                <a:gd name="connsiteX37" fmla="*/ 367819 w 394581"/>
                <a:gd name="connsiteY37" fmla="*/ 234905 h 398870"/>
                <a:gd name="connsiteX38" fmla="*/ 361943 w 394581"/>
                <a:gd name="connsiteY38" fmla="*/ 217920 h 398870"/>
                <a:gd name="connsiteX39" fmla="*/ 367047 w 394581"/>
                <a:gd name="connsiteY39" fmla="*/ 180392 h 398870"/>
                <a:gd name="connsiteX40" fmla="*/ 380728 w 394581"/>
                <a:gd name="connsiteY40" fmla="*/ 170442 h 398870"/>
                <a:gd name="connsiteX41" fmla="*/ 379013 w 394581"/>
                <a:gd name="connsiteY41" fmla="*/ 107223 h 398870"/>
                <a:gd name="connsiteX42" fmla="*/ 390979 w 394581"/>
                <a:gd name="connsiteY42" fmla="*/ 99331 h 398870"/>
                <a:gd name="connsiteX43" fmla="*/ 375581 w 394581"/>
                <a:gd name="connsiteY43" fmla="*/ 57815 h 398870"/>
                <a:gd name="connsiteX44" fmla="*/ 332821 w 394581"/>
                <a:gd name="connsiteY44" fmla="*/ 36070 h 398870"/>
                <a:gd name="connsiteX45" fmla="*/ 302069 w 394581"/>
                <a:gd name="connsiteY45" fmla="*/ 22302 h 39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94581" h="398870">
                  <a:moveTo>
                    <a:pt x="302069" y="22302"/>
                  </a:moveTo>
                  <a:cubicBezTo>
                    <a:pt x="297609" y="22302"/>
                    <a:pt x="287015" y="14153"/>
                    <a:pt x="277965" y="6433"/>
                  </a:cubicBezTo>
                  <a:cubicBezTo>
                    <a:pt x="271532" y="14711"/>
                    <a:pt x="248886" y="13339"/>
                    <a:pt x="237778" y="13339"/>
                  </a:cubicBezTo>
                  <a:cubicBezTo>
                    <a:pt x="225941" y="13339"/>
                    <a:pt x="236320" y="32167"/>
                    <a:pt x="228900" y="39029"/>
                  </a:cubicBezTo>
                  <a:cubicBezTo>
                    <a:pt x="221480" y="45891"/>
                    <a:pt x="218521" y="56142"/>
                    <a:pt x="224440" y="59573"/>
                  </a:cubicBezTo>
                  <a:cubicBezTo>
                    <a:pt x="230401" y="63004"/>
                    <a:pt x="222981" y="92126"/>
                    <a:pt x="222981" y="102420"/>
                  </a:cubicBezTo>
                  <a:cubicBezTo>
                    <a:pt x="222981" y="112713"/>
                    <a:pt x="211101" y="134973"/>
                    <a:pt x="215562" y="138361"/>
                  </a:cubicBezTo>
                  <a:cubicBezTo>
                    <a:pt x="220022" y="141792"/>
                    <a:pt x="227399" y="165810"/>
                    <a:pt x="237778" y="169198"/>
                  </a:cubicBezTo>
                  <a:cubicBezTo>
                    <a:pt x="248157" y="172629"/>
                    <a:pt x="255577" y="160663"/>
                    <a:pt x="259995" y="160663"/>
                  </a:cubicBezTo>
                  <a:cubicBezTo>
                    <a:pt x="264455" y="160663"/>
                    <a:pt x="264455" y="176060"/>
                    <a:pt x="264455" y="188070"/>
                  </a:cubicBezTo>
                  <a:cubicBezTo>
                    <a:pt x="264455" y="200036"/>
                    <a:pt x="258536" y="205182"/>
                    <a:pt x="258536" y="205182"/>
                  </a:cubicBezTo>
                  <a:cubicBezTo>
                    <a:pt x="258536" y="205182"/>
                    <a:pt x="242239" y="212044"/>
                    <a:pt x="234819" y="205182"/>
                  </a:cubicBezTo>
                  <a:cubicBezTo>
                    <a:pt x="227399" y="198363"/>
                    <a:pt x="221480" y="179492"/>
                    <a:pt x="221480" y="172629"/>
                  </a:cubicBezTo>
                  <a:cubicBezTo>
                    <a:pt x="221480" y="165767"/>
                    <a:pt x="203724" y="165767"/>
                    <a:pt x="196304" y="165767"/>
                  </a:cubicBezTo>
                  <a:cubicBezTo>
                    <a:pt x="188927" y="165767"/>
                    <a:pt x="181507" y="150327"/>
                    <a:pt x="178548" y="143465"/>
                  </a:cubicBezTo>
                  <a:cubicBezTo>
                    <a:pt x="175546" y="136645"/>
                    <a:pt x="166711" y="145180"/>
                    <a:pt x="166711" y="150327"/>
                  </a:cubicBezTo>
                  <a:cubicBezTo>
                    <a:pt x="166711" y="155474"/>
                    <a:pt x="159291" y="155474"/>
                    <a:pt x="151914" y="155474"/>
                  </a:cubicBezTo>
                  <a:cubicBezTo>
                    <a:pt x="144494" y="155474"/>
                    <a:pt x="129697" y="141749"/>
                    <a:pt x="123778" y="145180"/>
                  </a:cubicBezTo>
                  <a:cubicBezTo>
                    <a:pt x="117860" y="148612"/>
                    <a:pt x="111898" y="133214"/>
                    <a:pt x="113399" y="126352"/>
                  </a:cubicBezTo>
                  <a:cubicBezTo>
                    <a:pt x="114900" y="119490"/>
                    <a:pt x="98602" y="124679"/>
                    <a:pt x="92684" y="128067"/>
                  </a:cubicBezTo>
                  <a:cubicBezTo>
                    <a:pt x="86765" y="131498"/>
                    <a:pt x="83805" y="119490"/>
                    <a:pt x="83805" y="119490"/>
                  </a:cubicBezTo>
                  <a:cubicBezTo>
                    <a:pt x="83805" y="119490"/>
                    <a:pt x="80375" y="112584"/>
                    <a:pt x="75056" y="109582"/>
                  </a:cubicBezTo>
                  <a:lnTo>
                    <a:pt x="67979" y="186311"/>
                  </a:lnTo>
                  <a:lnTo>
                    <a:pt x="59445" y="196219"/>
                  </a:lnTo>
                  <a:lnTo>
                    <a:pt x="9864" y="194202"/>
                  </a:lnTo>
                  <a:lnTo>
                    <a:pt x="6433" y="322699"/>
                  </a:lnTo>
                  <a:lnTo>
                    <a:pt x="44519" y="382915"/>
                  </a:lnTo>
                  <a:cubicBezTo>
                    <a:pt x="64377" y="378241"/>
                    <a:pt x="105508" y="371678"/>
                    <a:pt x="105508" y="379699"/>
                  </a:cubicBezTo>
                  <a:cubicBezTo>
                    <a:pt x="105508" y="382101"/>
                    <a:pt x="106537" y="385232"/>
                    <a:pt x="108167" y="388577"/>
                  </a:cubicBezTo>
                  <a:cubicBezTo>
                    <a:pt x="115115" y="386647"/>
                    <a:pt x="121634" y="385017"/>
                    <a:pt x="125237" y="385575"/>
                  </a:cubicBezTo>
                  <a:cubicBezTo>
                    <a:pt x="133171" y="386690"/>
                    <a:pt x="159806" y="398141"/>
                    <a:pt x="167697" y="393552"/>
                  </a:cubicBezTo>
                  <a:cubicBezTo>
                    <a:pt x="175589" y="389006"/>
                    <a:pt x="189442" y="354737"/>
                    <a:pt x="202266" y="350148"/>
                  </a:cubicBezTo>
                  <a:cubicBezTo>
                    <a:pt x="215132" y="345559"/>
                    <a:pt x="232889" y="329604"/>
                    <a:pt x="232889" y="322742"/>
                  </a:cubicBezTo>
                  <a:cubicBezTo>
                    <a:pt x="232889" y="315880"/>
                    <a:pt x="232889" y="309017"/>
                    <a:pt x="251631" y="303313"/>
                  </a:cubicBezTo>
                  <a:lnTo>
                    <a:pt x="280282" y="302241"/>
                  </a:lnTo>
                  <a:lnTo>
                    <a:pt x="282211" y="302198"/>
                  </a:lnTo>
                  <a:lnTo>
                    <a:pt x="275306" y="273633"/>
                  </a:lnTo>
                  <a:cubicBezTo>
                    <a:pt x="275306" y="273633"/>
                    <a:pt x="362801" y="235805"/>
                    <a:pt x="367819" y="234905"/>
                  </a:cubicBezTo>
                  <a:cubicBezTo>
                    <a:pt x="363959" y="225769"/>
                    <a:pt x="360013" y="219035"/>
                    <a:pt x="361943" y="217920"/>
                  </a:cubicBezTo>
                  <a:cubicBezTo>
                    <a:pt x="365374" y="215948"/>
                    <a:pt x="367047" y="188241"/>
                    <a:pt x="367047" y="180392"/>
                  </a:cubicBezTo>
                  <a:cubicBezTo>
                    <a:pt x="367047" y="172458"/>
                    <a:pt x="387548" y="178419"/>
                    <a:pt x="380728" y="170442"/>
                  </a:cubicBezTo>
                  <a:cubicBezTo>
                    <a:pt x="373909" y="162551"/>
                    <a:pt x="375624" y="117087"/>
                    <a:pt x="379013" y="107223"/>
                  </a:cubicBezTo>
                  <a:cubicBezTo>
                    <a:pt x="382444" y="97359"/>
                    <a:pt x="390979" y="107223"/>
                    <a:pt x="390979" y="99331"/>
                  </a:cubicBezTo>
                  <a:cubicBezTo>
                    <a:pt x="390979" y="91397"/>
                    <a:pt x="380728" y="65706"/>
                    <a:pt x="375581" y="57815"/>
                  </a:cubicBezTo>
                  <a:cubicBezTo>
                    <a:pt x="371893" y="52111"/>
                    <a:pt x="341356" y="38000"/>
                    <a:pt x="332821" y="36070"/>
                  </a:cubicBezTo>
                  <a:cubicBezTo>
                    <a:pt x="324286" y="34183"/>
                    <a:pt x="310604" y="22302"/>
                    <a:pt x="302069" y="22302"/>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68" name="Freeform: Shape 87">
              <a:extLst>
                <a:ext uri="{FF2B5EF4-FFF2-40B4-BE49-F238E27FC236}">
                  <a16:creationId xmlns:a16="http://schemas.microsoft.com/office/drawing/2014/main" id="{7A1EAB77-AE6D-676D-E960-102A31305EF3}"/>
                </a:ext>
              </a:extLst>
            </p:cNvPr>
            <p:cNvSpPr/>
            <p:nvPr/>
          </p:nvSpPr>
          <p:spPr>
            <a:xfrm>
              <a:off x="7718416" y="4469939"/>
              <a:ext cx="55766" cy="55766"/>
            </a:xfrm>
            <a:custGeom>
              <a:avLst/>
              <a:gdLst>
                <a:gd name="connsiteX0" fmla="*/ 59659 w 72911"/>
                <a:gd name="connsiteY0" fmla="*/ 6433 h 72911"/>
                <a:gd name="connsiteX1" fmla="*/ 41217 w 72911"/>
                <a:gd name="connsiteY1" fmla="*/ 13424 h 72911"/>
                <a:gd name="connsiteX2" fmla="*/ 24575 w 72911"/>
                <a:gd name="connsiteY2" fmla="*/ 16813 h 72911"/>
                <a:gd name="connsiteX3" fmla="*/ 20501 w 72911"/>
                <a:gd name="connsiteY3" fmla="*/ 20415 h 72911"/>
                <a:gd name="connsiteX4" fmla="*/ 13810 w 72911"/>
                <a:gd name="connsiteY4" fmla="*/ 45248 h 72911"/>
                <a:gd name="connsiteX5" fmla="*/ 6433 w 72911"/>
                <a:gd name="connsiteY5" fmla="*/ 56400 h 72911"/>
                <a:gd name="connsiteX6" fmla="*/ 13124 w 72911"/>
                <a:gd name="connsiteY6" fmla="*/ 67594 h 72911"/>
                <a:gd name="connsiteX7" fmla="*/ 24147 w 72911"/>
                <a:gd name="connsiteY7" fmla="*/ 68795 h 72911"/>
                <a:gd name="connsiteX8" fmla="*/ 41259 w 72911"/>
                <a:gd name="connsiteY8" fmla="*/ 56957 h 72911"/>
                <a:gd name="connsiteX9" fmla="*/ 70296 w 72911"/>
                <a:gd name="connsiteY9" fmla="*/ 49022 h 72911"/>
                <a:gd name="connsiteX10" fmla="*/ 65149 w 72911"/>
                <a:gd name="connsiteY10" fmla="*/ 23332 h 72911"/>
                <a:gd name="connsiteX11" fmla="*/ 59659 w 72911"/>
                <a:gd name="connsiteY11" fmla="*/ 6433 h 7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911" h="72911">
                  <a:moveTo>
                    <a:pt x="59659" y="6433"/>
                  </a:moveTo>
                  <a:cubicBezTo>
                    <a:pt x="52325" y="8835"/>
                    <a:pt x="44476" y="11580"/>
                    <a:pt x="41217" y="13424"/>
                  </a:cubicBezTo>
                  <a:cubicBezTo>
                    <a:pt x="36456" y="16212"/>
                    <a:pt x="34011" y="17927"/>
                    <a:pt x="24575" y="16813"/>
                  </a:cubicBezTo>
                  <a:cubicBezTo>
                    <a:pt x="23417" y="18400"/>
                    <a:pt x="22131" y="19772"/>
                    <a:pt x="20501" y="20415"/>
                  </a:cubicBezTo>
                  <a:cubicBezTo>
                    <a:pt x="12352" y="23846"/>
                    <a:pt x="13810" y="45248"/>
                    <a:pt x="13810" y="45248"/>
                  </a:cubicBezTo>
                  <a:cubicBezTo>
                    <a:pt x="13810" y="45248"/>
                    <a:pt x="6433" y="46106"/>
                    <a:pt x="6433" y="56400"/>
                  </a:cubicBezTo>
                  <a:cubicBezTo>
                    <a:pt x="6433" y="63391"/>
                    <a:pt x="10508" y="66393"/>
                    <a:pt x="13124" y="67594"/>
                  </a:cubicBezTo>
                  <a:cubicBezTo>
                    <a:pt x="17327" y="67765"/>
                    <a:pt x="21144" y="68194"/>
                    <a:pt x="24147" y="68795"/>
                  </a:cubicBezTo>
                  <a:cubicBezTo>
                    <a:pt x="42932" y="72740"/>
                    <a:pt x="41259" y="56957"/>
                    <a:pt x="41259" y="56957"/>
                  </a:cubicBezTo>
                  <a:cubicBezTo>
                    <a:pt x="41259" y="56957"/>
                    <a:pt x="68623" y="58930"/>
                    <a:pt x="70296" y="49022"/>
                  </a:cubicBezTo>
                  <a:cubicBezTo>
                    <a:pt x="72011" y="39158"/>
                    <a:pt x="65149" y="23332"/>
                    <a:pt x="65149" y="23332"/>
                  </a:cubicBezTo>
                  <a:lnTo>
                    <a:pt x="59659" y="6433"/>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69" name="Freeform: Shape 88">
              <a:extLst>
                <a:ext uri="{FF2B5EF4-FFF2-40B4-BE49-F238E27FC236}">
                  <a16:creationId xmlns:a16="http://schemas.microsoft.com/office/drawing/2014/main" id="{EE681F90-38DC-B752-D292-8B22102805DA}"/>
                </a:ext>
              </a:extLst>
            </p:cNvPr>
            <p:cNvSpPr/>
            <p:nvPr/>
          </p:nvSpPr>
          <p:spPr>
            <a:xfrm>
              <a:off x="8026078" y="4077283"/>
              <a:ext cx="268987" cy="416603"/>
            </a:xfrm>
            <a:custGeom>
              <a:avLst/>
              <a:gdLst>
                <a:gd name="connsiteX0" fmla="*/ 346889 w 351692"/>
                <a:gd name="connsiteY0" fmla="*/ 9864 h 544694"/>
                <a:gd name="connsiteX1" fmla="*/ 329562 w 351692"/>
                <a:gd name="connsiteY1" fmla="*/ 14753 h 544694"/>
                <a:gd name="connsiteX2" fmla="*/ 254506 w 351692"/>
                <a:gd name="connsiteY2" fmla="*/ 38128 h 544694"/>
                <a:gd name="connsiteX3" fmla="*/ 201194 w 351692"/>
                <a:gd name="connsiteY3" fmla="*/ 52410 h 544694"/>
                <a:gd name="connsiteX4" fmla="*/ 157747 w 351692"/>
                <a:gd name="connsiteY4" fmla="*/ 61545 h 544694"/>
                <a:gd name="connsiteX5" fmla="*/ 102463 w 351692"/>
                <a:gd name="connsiteY5" fmla="*/ 56399 h 544694"/>
                <a:gd name="connsiteX6" fmla="*/ 85307 w 351692"/>
                <a:gd name="connsiteY6" fmla="*/ 34396 h 544694"/>
                <a:gd name="connsiteX7" fmla="*/ 66350 w 351692"/>
                <a:gd name="connsiteY7" fmla="*/ 67807 h 544694"/>
                <a:gd name="connsiteX8" fmla="*/ 87108 w 351692"/>
                <a:gd name="connsiteY8" fmla="*/ 102933 h 544694"/>
                <a:gd name="connsiteX9" fmla="*/ 109325 w 351692"/>
                <a:gd name="connsiteY9" fmla="*/ 126051 h 544694"/>
                <a:gd name="connsiteX10" fmla="*/ 176747 w 351692"/>
                <a:gd name="connsiteY10" fmla="*/ 153457 h 544694"/>
                <a:gd name="connsiteX11" fmla="*/ 222681 w 351692"/>
                <a:gd name="connsiteY11" fmla="*/ 165423 h 544694"/>
                <a:gd name="connsiteX12" fmla="*/ 234519 w 351692"/>
                <a:gd name="connsiteY12" fmla="*/ 174001 h 544694"/>
                <a:gd name="connsiteX13" fmla="*/ 145610 w 351692"/>
                <a:gd name="connsiteY13" fmla="*/ 276807 h 544694"/>
                <a:gd name="connsiteX14" fmla="*/ 108553 w 351692"/>
                <a:gd name="connsiteY14" fmla="*/ 284527 h 544694"/>
                <a:gd name="connsiteX15" fmla="*/ 64849 w 351692"/>
                <a:gd name="connsiteY15" fmla="*/ 311075 h 544694"/>
                <a:gd name="connsiteX16" fmla="*/ 37786 w 351692"/>
                <a:gd name="connsiteY16" fmla="*/ 315922 h 544694"/>
                <a:gd name="connsiteX17" fmla="*/ 21831 w 351692"/>
                <a:gd name="connsiteY17" fmla="*/ 342942 h 544694"/>
                <a:gd name="connsiteX18" fmla="*/ 6433 w 351692"/>
                <a:gd name="connsiteY18" fmla="*/ 370605 h 544694"/>
                <a:gd name="connsiteX19" fmla="*/ 8149 w 351692"/>
                <a:gd name="connsiteY19" fmla="*/ 509009 h 544694"/>
                <a:gd name="connsiteX20" fmla="*/ 24704 w 351692"/>
                <a:gd name="connsiteY20" fmla="*/ 539332 h 544694"/>
                <a:gd name="connsiteX21" fmla="*/ 45806 w 351692"/>
                <a:gd name="connsiteY21" fmla="*/ 511668 h 544694"/>
                <a:gd name="connsiteX22" fmla="*/ 103278 w 351692"/>
                <a:gd name="connsiteY22" fmla="*/ 427906 h 544694"/>
                <a:gd name="connsiteX23" fmla="*/ 129354 w 351692"/>
                <a:gd name="connsiteY23" fmla="*/ 416369 h 544694"/>
                <a:gd name="connsiteX24" fmla="*/ 157146 w 351692"/>
                <a:gd name="connsiteY24" fmla="*/ 397326 h 544694"/>
                <a:gd name="connsiteX25" fmla="*/ 173830 w 351692"/>
                <a:gd name="connsiteY25" fmla="*/ 383472 h 544694"/>
                <a:gd name="connsiteX26" fmla="*/ 174560 w 351692"/>
                <a:gd name="connsiteY26" fmla="*/ 382143 h 544694"/>
                <a:gd name="connsiteX27" fmla="*/ 268787 w 351692"/>
                <a:gd name="connsiteY27" fmla="*/ 210371 h 544694"/>
                <a:gd name="connsiteX28" fmla="*/ 294435 w 351692"/>
                <a:gd name="connsiteY28" fmla="*/ 194073 h 544694"/>
                <a:gd name="connsiteX29" fmla="*/ 296280 w 351692"/>
                <a:gd name="connsiteY29" fmla="*/ 191114 h 544694"/>
                <a:gd name="connsiteX30" fmla="*/ 297909 w 351692"/>
                <a:gd name="connsiteY30" fmla="*/ 181764 h 544694"/>
                <a:gd name="connsiteX31" fmla="*/ 301212 w 351692"/>
                <a:gd name="connsiteY31" fmla="*/ 170141 h 544694"/>
                <a:gd name="connsiteX32" fmla="*/ 301555 w 351692"/>
                <a:gd name="connsiteY32" fmla="*/ 166796 h 544694"/>
                <a:gd name="connsiteX33" fmla="*/ 312492 w 351692"/>
                <a:gd name="connsiteY33" fmla="*/ 103019 h 544694"/>
                <a:gd name="connsiteX34" fmla="*/ 317124 w 351692"/>
                <a:gd name="connsiteY34" fmla="*/ 91696 h 544694"/>
                <a:gd name="connsiteX35" fmla="*/ 318496 w 351692"/>
                <a:gd name="connsiteY35" fmla="*/ 45505 h 544694"/>
                <a:gd name="connsiteX36" fmla="*/ 346889 w 351692"/>
                <a:gd name="connsiteY36" fmla="*/ 9864 h 54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1692" h="544694">
                  <a:moveTo>
                    <a:pt x="346889" y="9864"/>
                  </a:moveTo>
                  <a:cubicBezTo>
                    <a:pt x="341571" y="3816"/>
                    <a:pt x="333036" y="5961"/>
                    <a:pt x="329562" y="14753"/>
                  </a:cubicBezTo>
                  <a:cubicBezTo>
                    <a:pt x="324115" y="28435"/>
                    <a:pt x="281654" y="37570"/>
                    <a:pt x="254506" y="38128"/>
                  </a:cubicBezTo>
                  <a:cubicBezTo>
                    <a:pt x="227356" y="38728"/>
                    <a:pt x="211059" y="41559"/>
                    <a:pt x="201194" y="52410"/>
                  </a:cubicBezTo>
                  <a:cubicBezTo>
                    <a:pt x="191287" y="63261"/>
                    <a:pt x="166625" y="49579"/>
                    <a:pt x="157747" y="61545"/>
                  </a:cubicBezTo>
                  <a:cubicBezTo>
                    <a:pt x="148869" y="73511"/>
                    <a:pt x="113785" y="83848"/>
                    <a:pt x="102463" y="56399"/>
                  </a:cubicBezTo>
                  <a:cubicBezTo>
                    <a:pt x="97659" y="44861"/>
                    <a:pt x="91312" y="38428"/>
                    <a:pt x="85307" y="34396"/>
                  </a:cubicBezTo>
                  <a:cubicBezTo>
                    <a:pt x="75743" y="45676"/>
                    <a:pt x="64291" y="62446"/>
                    <a:pt x="66350" y="67807"/>
                  </a:cubicBezTo>
                  <a:cubicBezTo>
                    <a:pt x="69352" y="75527"/>
                    <a:pt x="81190" y="99502"/>
                    <a:pt x="87108" y="102933"/>
                  </a:cubicBezTo>
                  <a:cubicBezTo>
                    <a:pt x="93027" y="106364"/>
                    <a:pt x="102677" y="124335"/>
                    <a:pt x="109325" y="126051"/>
                  </a:cubicBezTo>
                  <a:cubicBezTo>
                    <a:pt x="116016" y="127766"/>
                    <a:pt x="153029" y="142306"/>
                    <a:pt x="176747" y="153457"/>
                  </a:cubicBezTo>
                  <a:cubicBezTo>
                    <a:pt x="200422" y="164565"/>
                    <a:pt x="215262" y="165423"/>
                    <a:pt x="222681" y="165423"/>
                  </a:cubicBezTo>
                  <a:cubicBezTo>
                    <a:pt x="230101" y="165423"/>
                    <a:pt x="241209" y="167996"/>
                    <a:pt x="234519" y="174001"/>
                  </a:cubicBezTo>
                  <a:cubicBezTo>
                    <a:pt x="227871" y="180005"/>
                    <a:pt x="155260" y="264798"/>
                    <a:pt x="145610" y="276807"/>
                  </a:cubicBezTo>
                  <a:cubicBezTo>
                    <a:pt x="135959" y="288816"/>
                    <a:pt x="130041" y="284527"/>
                    <a:pt x="108553" y="284527"/>
                  </a:cubicBezTo>
                  <a:cubicBezTo>
                    <a:pt x="87066" y="284527"/>
                    <a:pt x="70767" y="311933"/>
                    <a:pt x="64849" y="311075"/>
                  </a:cubicBezTo>
                  <a:cubicBezTo>
                    <a:pt x="61332" y="310560"/>
                    <a:pt x="48723" y="313091"/>
                    <a:pt x="37786" y="315922"/>
                  </a:cubicBezTo>
                  <a:lnTo>
                    <a:pt x="21831" y="342942"/>
                  </a:lnTo>
                  <a:lnTo>
                    <a:pt x="6433" y="370605"/>
                  </a:lnTo>
                  <a:lnTo>
                    <a:pt x="8149" y="509009"/>
                  </a:lnTo>
                  <a:lnTo>
                    <a:pt x="24704" y="539332"/>
                  </a:lnTo>
                  <a:cubicBezTo>
                    <a:pt x="29380" y="532127"/>
                    <a:pt x="36885" y="522477"/>
                    <a:pt x="45806" y="511668"/>
                  </a:cubicBezTo>
                  <a:cubicBezTo>
                    <a:pt x="63005" y="482375"/>
                    <a:pt x="80246" y="453081"/>
                    <a:pt x="103278" y="427906"/>
                  </a:cubicBezTo>
                  <a:cubicBezTo>
                    <a:pt x="111298" y="419113"/>
                    <a:pt x="120519" y="415811"/>
                    <a:pt x="129354" y="416369"/>
                  </a:cubicBezTo>
                  <a:cubicBezTo>
                    <a:pt x="139948" y="407190"/>
                    <a:pt x="148312" y="402430"/>
                    <a:pt x="157146" y="397326"/>
                  </a:cubicBezTo>
                  <a:cubicBezTo>
                    <a:pt x="161264" y="394924"/>
                    <a:pt x="167097" y="390077"/>
                    <a:pt x="173830" y="383472"/>
                  </a:cubicBezTo>
                  <a:cubicBezTo>
                    <a:pt x="174088" y="383043"/>
                    <a:pt x="174302" y="382572"/>
                    <a:pt x="174560" y="382143"/>
                  </a:cubicBezTo>
                  <a:cubicBezTo>
                    <a:pt x="205311" y="324328"/>
                    <a:pt x="231903" y="264497"/>
                    <a:pt x="268787" y="210371"/>
                  </a:cubicBezTo>
                  <a:cubicBezTo>
                    <a:pt x="275650" y="200292"/>
                    <a:pt x="284914" y="195317"/>
                    <a:pt x="294435" y="194073"/>
                  </a:cubicBezTo>
                  <a:cubicBezTo>
                    <a:pt x="295036" y="193087"/>
                    <a:pt x="295679" y="192100"/>
                    <a:pt x="296280" y="191114"/>
                  </a:cubicBezTo>
                  <a:cubicBezTo>
                    <a:pt x="296451" y="188154"/>
                    <a:pt x="296966" y="185024"/>
                    <a:pt x="297909" y="181764"/>
                  </a:cubicBezTo>
                  <a:cubicBezTo>
                    <a:pt x="299068" y="177861"/>
                    <a:pt x="300140" y="174001"/>
                    <a:pt x="301212" y="170141"/>
                  </a:cubicBezTo>
                  <a:cubicBezTo>
                    <a:pt x="301340" y="169026"/>
                    <a:pt x="301340" y="167911"/>
                    <a:pt x="301555" y="166796"/>
                  </a:cubicBezTo>
                  <a:cubicBezTo>
                    <a:pt x="305629" y="145608"/>
                    <a:pt x="309018" y="124292"/>
                    <a:pt x="312492" y="103019"/>
                  </a:cubicBezTo>
                  <a:cubicBezTo>
                    <a:pt x="313178" y="98816"/>
                    <a:pt x="314851" y="95042"/>
                    <a:pt x="317124" y="91696"/>
                  </a:cubicBezTo>
                  <a:cubicBezTo>
                    <a:pt x="318668" y="76599"/>
                    <a:pt x="319268" y="61245"/>
                    <a:pt x="318496" y="45505"/>
                  </a:cubicBezTo>
                  <a:cubicBezTo>
                    <a:pt x="317381" y="24103"/>
                    <a:pt x="331063" y="12265"/>
                    <a:pt x="346889" y="9864"/>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70" name="Freeform: Shape 96">
              <a:extLst>
                <a:ext uri="{FF2B5EF4-FFF2-40B4-BE49-F238E27FC236}">
                  <a16:creationId xmlns:a16="http://schemas.microsoft.com/office/drawing/2014/main" id="{0A28B13A-7E81-6F13-045F-ECB276786340}"/>
                </a:ext>
              </a:extLst>
            </p:cNvPr>
            <p:cNvSpPr/>
            <p:nvPr/>
          </p:nvSpPr>
          <p:spPr>
            <a:xfrm>
              <a:off x="7366074" y="4105899"/>
              <a:ext cx="321473" cy="262427"/>
            </a:xfrm>
            <a:custGeom>
              <a:avLst/>
              <a:gdLst>
                <a:gd name="connsiteX0" fmla="*/ 385661 w 420315"/>
                <a:gd name="connsiteY0" fmla="*/ 193458 h 343114"/>
                <a:gd name="connsiteX1" fmla="*/ 373352 w 420315"/>
                <a:gd name="connsiteY1" fmla="*/ 167253 h 343114"/>
                <a:gd name="connsiteX2" fmla="*/ 352765 w 420315"/>
                <a:gd name="connsiteY2" fmla="*/ 145808 h 343114"/>
                <a:gd name="connsiteX3" fmla="*/ 338354 w 420315"/>
                <a:gd name="connsiteY3" fmla="*/ 122004 h 343114"/>
                <a:gd name="connsiteX4" fmla="*/ 311591 w 420315"/>
                <a:gd name="connsiteY4" fmla="*/ 107722 h 343114"/>
                <a:gd name="connsiteX5" fmla="*/ 307431 w 420315"/>
                <a:gd name="connsiteY5" fmla="*/ 95842 h 343114"/>
                <a:gd name="connsiteX6" fmla="*/ 293020 w 420315"/>
                <a:gd name="connsiteY6" fmla="*/ 93440 h 343114"/>
                <a:gd name="connsiteX7" fmla="*/ 297137 w 420315"/>
                <a:gd name="connsiteY7" fmla="*/ 79158 h 343114"/>
                <a:gd name="connsiteX8" fmla="*/ 295079 w 420315"/>
                <a:gd name="connsiteY8" fmla="*/ 45790 h 343114"/>
                <a:gd name="connsiteX9" fmla="*/ 271404 w 420315"/>
                <a:gd name="connsiteY9" fmla="*/ 9163 h 343114"/>
                <a:gd name="connsiteX10" fmla="*/ 265614 w 420315"/>
                <a:gd name="connsiteY10" fmla="*/ 7662 h 343114"/>
                <a:gd name="connsiteX11" fmla="*/ 237993 w 420315"/>
                <a:gd name="connsiteY11" fmla="*/ 20228 h 343114"/>
                <a:gd name="connsiteX12" fmla="*/ 231088 w 420315"/>
                <a:gd name="connsiteY12" fmla="*/ 38542 h 343114"/>
                <a:gd name="connsiteX13" fmla="*/ 198492 w 420315"/>
                <a:gd name="connsiteY13" fmla="*/ 77400 h 343114"/>
                <a:gd name="connsiteX14" fmla="*/ 151099 w 420315"/>
                <a:gd name="connsiteY14" fmla="*/ 88808 h 343114"/>
                <a:gd name="connsiteX15" fmla="*/ 149126 w 420315"/>
                <a:gd name="connsiteY15" fmla="*/ 109352 h 343114"/>
                <a:gd name="connsiteX16" fmla="*/ 119490 w 420315"/>
                <a:gd name="connsiteY16" fmla="*/ 127623 h 343114"/>
                <a:gd name="connsiteX17" fmla="*/ 82948 w 420315"/>
                <a:gd name="connsiteY17" fmla="*/ 140189 h 343114"/>
                <a:gd name="connsiteX18" fmla="*/ 61203 w 420315"/>
                <a:gd name="connsiteY18" fmla="*/ 140189 h 343114"/>
                <a:gd name="connsiteX19" fmla="*/ 42461 w 420315"/>
                <a:gd name="connsiteY19" fmla="*/ 149325 h 343114"/>
                <a:gd name="connsiteX20" fmla="*/ 39544 w 420315"/>
                <a:gd name="connsiteY20" fmla="*/ 145293 h 343114"/>
                <a:gd name="connsiteX21" fmla="*/ 22732 w 420315"/>
                <a:gd name="connsiteY21" fmla="*/ 169354 h 343114"/>
                <a:gd name="connsiteX22" fmla="*/ 6433 w 420315"/>
                <a:gd name="connsiteY22" fmla="*/ 207869 h 343114"/>
                <a:gd name="connsiteX23" fmla="*/ 10894 w 420315"/>
                <a:gd name="connsiteY23" fmla="*/ 239564 h 343114"/>
                <a:gd name="connsiteX24" fmla="*/ 20501 w 420315"/>
                <a:gd name="connsiteY24" fmla="*/ 270402 h 343114"/>
                <a:gd name="connsiteX25" fmla="*/ 25691 w 420315"/>
                <a:gd name="connsiteY25" fmla="*/ 293519 h 343114"/>
                <a:gd name="connsiteX26" fmla="*/ 33067 w 420315"/>
                <a:gd name="connsiteY26" fmla="*/ 306343 h 343114"/>
                <a:gd name="connsiteX27" fmla="*/ 54512 w 420315"/>
                <a:gd name="connsiteY27" fmla="*/ 331219 h 343114"/>
                <a:gd name="connsiteX28" fmla="*/ 60303 w 420315"/>
                <a:gd name="connsiteY28" fmla="*/ 337695 h 343114"/>
                <a:gd name="connsiteX29" fmla="*/ 62318 w 420315"/>
                <a:gd name="connsiteY29" fmla="*/ 334049 h 343114"/>
                <a:gd name="connsiteX30" fmla="*/ 68494 w 420315"/>
                <a:gd name="connsiteY30" fmla="*/ 305442 h 343114"/>
                <a:gd name="connsiteX31" fmla="*/ 87023 w 420315"/>
                <a:gd name="connsiteY31" fmla="*/ 300681 h 343114"/>
                <a:gd name="connsiteX32" fmla="*/ 101433 w 420315"/>
                <a:gd name="connsiteY32" fmla="*/ 295963 h 343114"/>
                <a:gd name="connsiteX33" fmla="*/ 130298 w 420315"/>
                <a:gd name="connsiteY33" fmla="*/ 300681 h 343114"/>
                <a:gd name="connsiteX34" fmla="*/ 130298 w 420315"/>
                <a:gd name="connsiteY34" fmla="*/ 274519 h 343114"/>
                <a:gd name="connsiteX35" fmla="*/ 165296 w 420315"/>
                <a:gd name="connsiteY35" fmla="*/ 243510 h 343114"/>
                <a:gd name="connsiteX36" fmla="*/ 192101 w 420315"/>
                <a:gd name="connsiteY36" fmla="*/ 264955 h 343114"/>
                <a:gd name="connsiteX37" fmla="*/ 255921 w 420315"/>
                <a:gd name="connsiteY37" fmla="*/ 279237 h 343114"/>
                <a:gd name="connsiteX38" fmla="*/ 266214 w 420315"/>
                <a:gd name="connsiteY38" fmla="*/ 253031 h 343114"/>
                <a:gd name="connsiteX39" fmla="*/ 292977 w 420315"/>
                <a:gd name="connsiteY39" fmla="*/ 253031 h 343114"/>
                <a:gd name="connsiteX40" fmla="*/ 328017 w 420315"/>
                <a:gd name="connsiteY40" fmla="*/ 241151 h 343114"/>
                <a:gd name="connsiteX41" fmla="*/ 354780 w 420315"/>
                <a:gd name="connsiteY41" fmla="*/ 236347 h 343114"/>
                <a:gd name="connsiteX42" fmla="*/ 391837 w 420315"/>
                <a:gd name="connsiteY42" fmla="*/ 241151 h 343114"/>
                <a:gd name="connsiteX43" fmla="*/ 416541 w 420315"/>
                <a:gd name="connsiteY43" fmla="*/ 236347 h 343114"/>
                <a:gd name="connsiteX44" fmla="*/ 408306 w 420315"/>
                <a:gd name="connsiteY44" fmla="*/ 212544 h 343114"/>
                <a:gd name="connsiteX45" fmla="*/ 385661 w 420315"/>
                <a:gd name="connsiteY45" fmla="*/ 193458 h 343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20315" h="343114">
                  <a:moveTo>
                    <a:pt x="385661" y="193458"/>
                  </a:moveTo>
                  <a:cubicBezTo>
                    <a:pt x="385661" y="186295"/>
                    <a:pt x="385661" y="179176"/>
                    <a:pt x="373352" y="167253"/>
                  </a:cubicBezTo>
                  <a:cubicBezTo>
                    <a:pt x="360999" y="155329"/>
                    <a:pt x="352765" y="152971"/>
                    <a:pt x="352765" y="145808"/>
                  </a:cubicBezTo>
                  <a:cubicBezTo>
                    <a:pt x="352765" y="138645"/>
                    <a:pt x="348647" y="136287"/>
                    <a:pt x="338354" y="122004"/>
                  </a:cubicBezTo>
                  <a:cubicBezTo>
                    <a:pt x="328060" y="107722"/>
                    <a:pt x="311591" y="107722"/>
                    <a:pt x="311591" y="107722"/>
                  </a:cubicBezTo>
                  <a:lnTo>
                    <a:pt x="307431" y="95842"/>
                  </a:lnTo>
                  <a:lnTo>
                    <a:pt x="293020" y="93440"/>
                  </a:lnTo>
                  <a:cubicBezTo>
                    <a:pt x="293020" y="93440"/>
                    <a:pt x="284785" y="86278"/>
                    <a:pt x="297137" y="79158"/>
                  </a:cubicBezTo>
                  <a:cubicBezTo>
                    <a:pt x="309489" y="71996"/>
                    <a:pt x="297137" y="52953"/>
                    <a:pt x="295079" y="45790"/>
                  </a:cubicBezTo>
                  <a:cubicBezTo>
                    <a:pt x="293277" y="39571"/>
                    <a:pt x="275907" y="15296"/>
                    <a:pt x="271404" y="9163"/>
                  </a:cubicBezTo>
                  <a:cubicBezTo>
                    <a:pt x="269216" y="9034"/>
                    <a:pt x="267158" y="8691"/>
                    <a:pt x="265614" y="7662"/>
                  </a:cubicBezTo>
                  <a:cubicBezTo>
                    <a:pt x="258708" y="3072"/>
                    <a:pt x="244898" y="12251"/>
                    <a:pt x="237993" y="20228"/>
                  </a:cubicBezTo>
                  <a:cubicBezTo>
                    <a:pt x="231088" y="28248"/>
                    <a:pt x="236020" y="32838"/>
                    <a:pt x="231088" y="38542"/>
                  </a:cubicBezTo>
                  <a:cubicBezTo>
                    <a:pt x="226155" y="44246"/>
                    <a:pt x="209343" y="61359"/>
                    <a:pt x="198492" y="77400"/>
                  </a:cubicBezTo>
                  <a:cubicBezTo>
                    <a:pt x="187641" y="93397"/>
                    <a:pt x="159977" y="83104"/>
                    <a:pt x="151099" y="88808"/>
                  </a:cubicBezTo>
                  <a:cubicBezTo>
                    <a:pt x="142221" y="94512"/>
                    <a:pt x="155045" y="103648"/>
                    <a:pt x="149126" y="109352"/>
                  </a:cubicBezTo>
                  <a:cubicBezTo>
                    <a:pt x="143207" y="115056"/>
                    <a:pt x="125408" y="124192"/>
                    <a:pt x="119490" y="127623"/>
                  </a:cubicBezTo>
                  <a:cubicBezTo>
                    <a:pt x="113571" y="131054"/>
                    <a:pt x="89853" y="129896"/>
                    <a:pt x="82948" y="140189"/>
                  </a:cubicBezTo>
                  <a:cubicBezTo>
                    <a:pt x="76043" y="150440"/>
                    <a:pt x="68151" y="128738"/>
                    <a:pt x="61203" y="140189"/>
                  </a:cubicBezTo>
                  <a:cubicBezTo>
                    <a:pt x="54298" y="151598"/>
                    <a:pt x="46406" y="152756"/>
                    <a:pt x="42461" y="149325"/>
                  </a:cubicBezTo>
                  <a:cubicBezTo>
                    <a:pt x="41474" y="148510"/>
                    <a:pt x="40530" y="147137"/>
                    <a:pt x="39544" y="145293"/>
                  </a:cubicBezTo>
                  <a:cubicBezTo>
                    <a:pt x="33153" y="152156"/>
                    <a:pt x="25305" y="159833"/>
                    <a:pt x="22732" y="169354"/>
                  </a:cubicBezTo>
                  <a:cubicBezTo>
                    <a:pt x="18271" y="185609"/>
                    <a:pt x="6433" y="200149"/>
                    <a:pt x="6433" y="207869"/>
                  </a:cubicBezTo>
                  <a:cubicBezTo>
                    <a:pt x="6433" y="215589"/>
                    <a:pt x="10894" y="225882"/>
                    <a:pt x="10894" y="239564"/>
                  </a:cubicBezTo>
                  <a:cubicBezTo>
                    <a:pt x="10894" y="253288"/>
                    <a:pt x="13853" y="260108"/>
                    <a:pt x="20501" y="270402"/>
                  </a:cubicBezTo>
                  <a:cubicBezTo>
                    <a:pt x="27149" y="280652"/>
                    <a:pt x="25691" y="293519"/>
                    <a:pt x="25691" y="293519"/>
                  </a:cubicBezTo>
                  <a:cubicBezTo>
                    <a:pt x="25691" y="293519"/>
                    <a:pt x="27878" y="298665"/>
                    <a:pt x="33067" y="306343"/>
                  </a:cubicBezTo>
                  <a:cubicBezTo>
                    <a:pt x="38257" y="314063"/>
                    <a:pt x="53054" y="325214"/>
                    <a:pt x="54512" y="331219"/>
                  </a:cubicBezTo>
                  <a:cubicBezTo>
                    <a:pt x="55199" y="333964"/>
                    <a:pt x="57729" y="336151"/>
                    <a:pt x="60303" y="337695"/>
                  </a:cubicBezTo>
                  <a:cubicBezTo>
                    <a:pt x="60946" y="336451"/>
                    <a:pt x="61589" y="335121"/>
                    <a:pt x="62318" y="334049"/>
                  </a:cubicBezTo>
                  <a:cubicBezTo>
                    <a:pt x="70553" y="322126"/>
                    <a:pt x="68494" y="305442"/>
                    <a:pt x="68494" y="305442"/>
                  </a:cubicBezTo>
                  <a:lnTo>
                    <a:pt x="87023" y="300681"/>
                  </a:lnTo>
                  <a:lnTo>
                    <a:pt x="101433" y="295963"/>
                  </a:lnTo>
                  <a:lnTo>
                    <a:pt x="130298" y="300681"/>
                  </a:lnTo>
                  <a:lnTo>
                    <a:pt x="130298" y="274519"/>
                  </a:lnTo>
                  <a:cubicBezTo>
                    <a:pt x="130298" y="274519"/>
                    <a:pt x="150885" y="243510"/>
                    <a:pt x="165296" y="243510"/>
                  </a:cubicBezTo>
                  <a:cubicBezTo>
                    <a:pt x="179706" y="243510"/>
                    <a:pt x="192101" y="264955"/>
                    <a:pt x="192101" y="264955"/>
                  </a:cubicBezTo>
                  <a:lnTo>
                    <a:pt x="255921" y="279237"/>
                  </a:lnTo>
                  <a:cubicBezTo>
                    <a:pt x="255921" y="279237"/>
                    <a:pt x="260038" y="257792"/>
                    <a:pt x="266214" y="253031"/>
                  </a:cubicBezTo>
                  <a:cubicBezTo>
                    <a:pt x="272390" y="248270"/>
                    <a:pt x="284742" y="257792"/>
                    <a:pt x="292977" y="253031"/>
                  </a:cubicBezTo>
                  <a:cubicBezTo>
                    <a:pt x="301212" y="248270"/>
                    <a:pt x="313564" y="241151"/>
                    <a:pt x="328017" y="241151"/>
                  </a:cubicBezTo>
                  <a:cubicBezTo>
                    <a:pt x="342428" y="241151"/>
                    <a:pt x="348647" y="250672"/>
                    <a:pt x="354780" y="236347"/>
                  </a:cubicBezTo>
                  <a:cubicBezTo>
                    <a:pt x="360957" y="222065"/>
                    <a:pt x="391837" y="241151"/>
                    <a:pt x="391837" y="241151"/>
                  </a:cubicBezTo>
                  <a:lnTo>
                    <a:pt x="416541" y="236347"/>
                  </a:lnTo>
                  <a:lnTo>
                    <a:pt x="408306" y="212544"/>
                  </a:lnTo>
                  <a:cubicBezTo>
                    <a:pt x="408349" y="212501"/>
                    <a:pt x="385661" y="200578"/>
                    <a:pt x="385661" y="193458"/>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71" name="Freeform: Shape 98">
              <a:extLst>
                <a:ext uri="{FF2B5EF4-FFF2-40B4-BE49-F238E27FC236}">
                  <a16:creationId xmlns:a16="http://schemas.microsoft.com/office/drawing/2014/main" id="{001A7437-90BB-BA5B-8B5E-BCB20839C079}"/>
                </a:ext>
              </a:extLst>
            </p:cNvPr>
            <p:cNvSpPr/>
            <p:nvPr/>
          </p:nvSpPr>
          <p:spPr>
            <a:xfrm>
              <a:off x="7018030" y="4067030"/>
              <a:ext cx="82008" cy="186979"/>
            </a:xfrm>
            <a:custGeom>
              <a:avLst/>
              <a:gdLst>
                <a:gd name="connsiteX0" fmla="*/ 24490 w 107223"/>
                <a:gd name="connsiteY0" fmla="*/ 98411 h 244469"/>
                <a:gd name="connsiteX1" fmla="*/ 31181 w 107223"/>
                <a:gd name="connsiteY1" fmla="*/ 127532 h 244469"/>
                <a:gd name="connsiteX2" fmla="*/ 36370 w 107223"/>
                <a:gd name="connsiteY2" fmla="*/ 172909 h 244469"/>
                <a:gd name="connsiteX3" fmla="*/ 39029 w 107223"/>
                <a:gd name="connsiteY3" fmla="*/ 238273 h 244469"/>
                <a:gd name="connsiteX4" fmla="*/ 58973 w 107223"/>
                <a:gd name="connsiteY4" fmla="*/ 235013 h 244469"/>
                <a:gd name="connsiteX5" fmla="*/ 74198 w 107223"/>
                <a:gd name="connsiteY5" fmla="*/ 235056 h 244469"/>
                <a:gd name="connsiteX6" fmla="*/ 84363 w 107223"/>
                <a:gd name="connsiteY6" fmla="*/ 233340 h 244469"/>
                <a:gd name="connsiteX7" fmla="*/ 74155 w 107223"/>
                <a:gd name="connsiteY7" fmla="*/ 202889 h 244469"/>
                <a:gd name="connsiteX8" fmla="*/ 73426 w 107223"/>
                <a:gd name="connsiteY8" fmla="*/ 157469 h 244469"/>
                <a:gd name="connsiteX9" fmla="*/ 87494 w 107223"/>
                <a:gd name="connsiteY9" fmla="*/ 129205 h 244469"/>
                <a:gd name="connsiteX10" fmla="*/ 100061 w 107223"/>
                <a:gd name="connsiteY10" fmla="*/ 106903 h 244469"/>
                <a:gd name="connsiteX11" fmla="*/ 103792 w 107223"/>
                <a:gd name="connsiteY11" fmla="*/ 52090 h 244469"/>
                <a:gd name="connsiteX12" fmla="*/ 100404 w 107223"/>
                <a:gd name="connsiteY12" fmla="*/ 26056 h 244469"/>
                <a:gd name="connsiteX13" fmla="*/ 89724 w 107223"/>
                <a:gd name="connsiteY13" fmla="*/ 25284 h 244469"/>
                <a:gd name="connsiteX14" fmla="*/ 78873 w 107223"/>
                <a:gd name="connsiteY14" fmla="*/ 7013 h 244469"/>
                <a:gd name="connsiteX15" fmla="*/ 67036 w 107223"/>
                <a:gd name="connsiteY15" fmla="*/ 25284 h 244469"/>
                <a:gd name="connsiteX16" fmla="*/ 58158 w 107223"/>
                <a:gd name="connsiteY16" fmla="*/ 40124 h 244469"/>
                <a:gd name="connsiteX17" fmla="*/ 30494 w 107223"/>
                <a:gd name="connsiteY17" fmla="*/ 46943 h 244469"/>
                <a:gd name="connsiteX18" fmla="*/ 11752 w 107223"/>
                <a:gd name="connsiteY18" fmla="*/ 61826 h 244469"/>
                <a:gd name="connsiteX19" fmla="*/ 6433 w 107223"/>
                <a:gd name="connsiteY19" fmla="*/ 62255 h 244469"/>
                <a:gd name="connsiteX20" fmla="*/ 24490 w 107223"/>
                <a:gd name="connsiteY20" fmla="*/ 98411 h 244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7223" h="244469">
                  <a:moveTo>
                    <a:pt x="24490" y="98411"/>
                  </a:moveTo>
                  <a:cubicBezTo>
                    <a:pt x="38557" y="107846"/>
                    <a:pt x="25219" y="120670"/>
                    <a:pt x="31181" y="127532"/>
                  </a:cubicBezTo>
                  <a:cubicBezTo>
                    <a:pt x="37099" y="134395"/>
                    <a:pt x="34869" y="151551"/>
                    <a:pt x="36370" y="172909"/>
                  </a:cubicBezTo>
                  <a:cubicBezTo>
                    <a:pt x="37185" y="184875"/>
                    <a:pt x="38257" y="214469"/>
                    <a:pt x="39029" y="238273"/>
                  </a:cubicBezTo>
                  <a:cubicBezTo>
                    <a:pt x="45591" y="236686"/>
                    <a:pt x="52196" y="235485"/>
                    <a:pt x="58973" y="235013"/>
                  </a:cubicBezTo>
                  <a:cubicBezTo>
                    <a:pt x="64377" y="234627"/>
                    <a:pt x="69395" y="234670"/>
                    <a:pt x="74198" y="235056"/>
                  </a:cubicBezTo>
                  <a:cubicBezTo>
                    <a:pt x="78101" y="231753"/>
                    <a:pt x="81318" y="229223"/>
                    <a:pt x="84363" y="233340"/>
                  </a:cubicBezTo>
                  <a:cubicBezTo>
                    <a:pt x="80760" y="220559"/>
                    <a:pt x="74155" y="213182"/>
                    <a:pt x="74155" y="202889"/>
                  </a:cubicBezTo>
                  <a:cubicBezTo>
                    <a:pt x="74155" y="188306"/>
                    <a:pt x="71196" y="176340"/>
                    <a:pt x="73426" y="157469"/>
                  </a:cubicBezTo>
                  <a:cubicBezTo>
                    <a:pt x="75657" y="138641"/>
                    <a:pt x="87494" y="129205"/>
                    <a:pt x="87494" y="129205"/>
                  </a:cubicBezTo>
                  <a:cubicBezTo>
                    <a:pt x="87494" y="129205"/>
                    <a:pt x="92684" y="115480"/>
                    <a:pt x="100061" y="106903"/>
                  </a:cubicBezTo>
                  <a:cubicBezTo>
                    <a:pt x="107480" y="98368"/>
                    <a:pt x="104521" y="59810"/>
                    <a:pt x="103792" y="52090"/>
                  </a:cubicBezTo>
                  <a:cubicBezTo>
                    <a:pt x="103363" y="47630"/>
                    <a:pt x="101690" y="35535"/>
                    <a:pt x="100404" y="26056"/>
                  </a:cubicBezTo>
                  <a:cubicBezTo>
                    <a:pt x="98045" y="27686"/>
                    <a:pt x="94528" y="27729"/>
                    <a:pt x="89724" y="25284"/>
                  </a:cubicBezTo>
                  <a:cubicBezTo>
                    <a:pt x="80846" y="20695"/>
                    <a:pt x="88738" y="10402"/>
                    <a:pt x="78873" y="7013"/>
                  </a:cubicBezTo>
                  <a:cubicBezTo>
                    <a:pt x="68966" y="3582"/>
                    <a:pt x="65063" y="16106"/>
                    <a:pt x="67036" y="25284"/>
                  </a:cubicBezTo>
                  <a:cubicBezTo>
                    <a:pt x="69009" y="34377"/>
                    <a:pt x="62104" y="34377"/>
                    <a:pt x="58158" y="40124"/>
                  </a:cubicBezTo>
                  <a:cubicBezTo>
                    <a:pt x="54212" y="45828"/>
                    <a:pt x="36456" y="46943"/>
                    <a:pt x="30494" y="46943"/>
                  </a:cubicBezTo>
                  <a:cubicBezTo>
                    <a:pt x="24575" y="46943"/>
                    <a:pt x="17670" y="59510"/>
                    <a:pt x="11752" y="61826"/>
                  </a:cubicBezTo>
                  <a:cubicBezTo>
                    <a:pt x="10422" y="62341"/>
                    <a:pt x="8578" y="62426"/>
                    <a:pt x="6433" y="62255"/>
                  </a:cubicBezTo>
                  <a:cubicBezTo>
                    <a:pt x="7720" y="92406"/>
                    <a:pt x="12052" y="90090"/>
                    <a:pt x="24490" y="98411"/>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72" name="Freeform: Shape 99">
              <a:extLst>
                <a:ext uri="{FF2B5EF4-FFF2-40B4-BE49-F238E27FC236}">
                  <a16:creationId xmlns:a16="http://schemas.microsoft.com/office/drawing/2014/main" id="{76FDE93C-DB8A-6A88-3A29-73960B67FE6D}"/>
                </a:ext>
              </a:extLst>
            </p:cNvPr>
            <p:cNvSpPr/>
            <p:nvPr/>
          </p:nvSpPr>
          <p:spPr>
            <a:xfrm>
              <a:off x="6995560" y="4105909"/>
              <a:ext cx="55766" cy="154176"/>
            </a:xfrm>
            <a:custGeom>
              <a:avLst/>
              <a:gdLst>
                <a:gd name="connsiteX0" fmla="*/ 21273 w 72911"/>
                <a:gd name="connsiteY0" fmla="*/ 55297 h 201579"/>
                <a:gd name="connsiteX1" fmla="*/ 22002 w 72911"/>
                <a:gd name="connsiteY1" fmla="*/ 109252 h 201579"/>
                <a:gd name="connsiteX2" fmla="*/ 30880 w 72911"/>
                <a:gd name="connsiteY2" fmla="*/ 162349 h 201579"/>
                <a:gd name="connsiteX3" fmla="*/ 38943 w 72911"/>
                <a:gd name="connsiteY3" fmla="*/ 196661 h 201579"/>
                <a:gd name="connsiteX4" fmla="*/ 68365 w 72911"/>
                <a:gd name="connsiteY4" fmla="*/ 187439 h 201579"/>
                <a:gd name="connsiteX5" fmla="*/ 65706 w 72911"/>
                <a:gd name="connsiteY5" fmla="*/ 122076 h 201579"/>
                <a:gd name="connsiteX6" fmla="*/ 60517 w 72911"/>
                <a:gd name="connsiteY6" fmla="*/ 76699 h 201579"/>
                <a:gd name="connsiteX7" fmla="*/ 53826 w 72911"/>
                <a:gd name="connsiteY7" fmla="*/ 47577 h 201579"/>
                <a:gd name="connsiteX8" fmla="*/ 35727 w 72911"/>
                <a:gd name="connsiteY8" fmla="*/ 11465 h 201579"/>
                <a:gd name="connsiteX9" fmla="*/ 10422 w 72911"/>
                <a:gd name="connsiteY9" fmla="*/ 6489 h 201579"/>
                <a:gd name="connsiteX10" fmla="*/ 6433 w 72911"/>
                <a:gd name="connsiteY10" fmla="*/ 7304 h 201579"/>
                <a:gd name="connsiteX11" fmla="*/ 13167 w 72911"/>
                <a:gd name="connsiteY11" fmla="*/ 32180 h 201579"/>
                <a:gd name="connsiteX12" fmla="*/ 21273 w 72911"/>
                <a:gd name="connsiteY12" fmla="*/ 55297 h 201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911" h="201579">
                  <a:moveTo>
                    <a:pt x="21273" y="55297"/>
                  </a:moveTo>
                  <a:cubicBezTo>
                    <a:pt x="20544" y="68164"/>
                    <a:pt x="17585" y="96385"/>
                    <a:pt x="22002" y="109252"/>
                  </a:cubicBezTo>
                  <a:cubicBezTo>
                    <a:pt x="26462" y="122076"/>
                    <a:pt x="30880" y="142663"/>
                    <a:pt x="30880" y="162349"/>
                  </a:cubicBezTo>
                  <a:cubicBezTo>
                    <a:pt x="30880" y="171828"/>
                    <a:pt x="34483" y="184823"/>
                    <a:pt x="38943" y="196661"/>
                  </a:cubicBezTo>
                  <a:cubicBezTo>
                    <a:pt x="48636" y="193187"/>
                    <a:pt x="58372" y="189841"/>
                    <a:pt x="68365" y="187439"/>
                  </a:cubicBezTo>
                  <a:cubicBezTo>
                    <a:pt x="67594" y="163636"/>
                    <a:pt x="66521" y="134042"/>
                    <a:pt x="65706" y="122076"/>
                  </a:cubicBezTo>
                  <a:cubicBezTo>
                    <a:pt x="64205" y="100674"/>
                    <a:pt x="66435" y="83562"/>
                    <a:pt x="60517" y="76699"/>
                  </a:cubicBezTo>
                  <a:cubicBezTo>
                    <a:pt x="54598" y="69837"/>
                    <a:pt x="67937" y="57013"/>
                    <a:pt x="53826" y="47577"/>
                  </a:cubicBezTo>
                  <a:cubicBezTo>
                    <a:pt x="41388" y="39257"/>
                    <a:pt x="37056" y="41573"/>
                    <a:pt x="35727" y="11465"/>
                  </a:cubicBezTo>
                  <a:cubicBezTo>
                    <a:pt x="28564" y="10950"/>
                    <a:pt x="18056" y="7347"/>
                    <a:pt x="10422" y="6489"/>
                  </a:cubicBezTo>
                  <a:cubicBezTo>
                    <a:pt x="8835" y="6275"/>
                    <a:pt x="7549" y="6704"/>
                    <a:pt x="6433" y="7304"/>
                  </a:cubicBezTo>
                  <a:cubicBezTo>
                    <a:pt x="8020" y="18198"/>
                    <a:pt x="10379" y="30379"/>
                    <a:pt x="13167" y="32180"/>
                  </a:cubicBezTo>
                  <a:cubicBezTo>
                    <a:pt x="18313" y="35568"/>
                    <a:pt x="22002" y="42474"/>
                    <a:pt x="21273" y="55297"/>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73" name="Freeform: Shape 100">
              <a:extLst>
                <a:ext uri="{FF2B5EF4-FFF2-40B4-BE49-F238E27FC236}">
                  <a16:creationId xmlns:a16="http://schemas.microsoft.com/office/drawing/2014/main" id="{94A2F806-FC79-7205-4F4B-E531E5FC1A6F}"/>
                </a:ext>
              </a:extLst>
            </p:cNvPr>
            <p:cNvSpPr/>
            <p:nvPr/>
          </p:nvSpPr>
          <p:spPr>
            <a:xfrm>
              <a:off x="7217901" y="4045496"/>
              <a:ext cx="196820" cy="347716"/>
            </a:xfrm>
            <a:custGeom>
              <a:avLst/>
              <a:gdLst>
                <a:gd name="connsiteX0" fmla="*/ 248243 w 257335"/>
                <a:gd name="connsiteY0" fmla="*/ 410108 h 454626"/>
                <a:gd name="connsiteX1" fmla="*/ 226799 w 257335"/>
                <a:gd name="connsiteY1" fmla="*/ 385232 h 454626"/>
                <a:gd name="connsiteX2" fmla="*/ 219422 w 257335"/>
                <a:gd name="connsiteY2" fmla="*/ 372408 h 454626"/>
                <a:gd name="connsiteX3" fmla="*/ 214232 w 257335"/>
                <a:gd name="connsiteY3" fmla="*/ 349291 h 454626"/>
                <a:gd name="connsiteX4" fmla="*/ 204625 w 257335"/>
                <a:gd name="connsiteY4" fmla="*/ 318453 h 454626"/>
                <a:gd name="connsiteX5" fmla="*/ 200165 w 257335"/>
                <a:gd name="connsiteY5" fmla="*/ 286758 h 454626"/>
                <a:gd name="connsiteX6" fmla="*/ 216463 w 257335"/>
                <a:gd name="connsiteY6" fmla="*/ 248243 h 454626"/>
                <a:gd name="connsiteX7" fmla="*/ 233275 w 257335"/>
                <a:gd name="connsiteY7" fmla="*/ 224225 h 454626"/>
                <a:gd name="connsiteX8" fmla="*/ 223368 w 257335"/>
                <a:gd name="connsiteY8" fmla="*/ 196304 h 454626"/>
                <a:gd name="connsiteX9" fmla="*/ 195704 w 257335"/>
                <a:gd name="connsiteY9" fmla="*/ 163194 h 454626"/>
                <a:gd name="connsiteX10" fmla="*/ 187812 w 257335"/>
                <a:gd name="connsiteY10" fmla="*/ 135745 h 454626"/>
                <a:gd name="connsiteX11" fmla="*/ 216420 w 257335"/>
                <a:gd name="connsiteY11" fmla="*/ 131156 h 454626"/>
                <a:gd name="connsiteX12" fmla="*/ 230273 w 257335"/>
                <a:gd name="connsiteY12" fmla="*/ 125494 h 454626"/>
                <a:gd name="connsiteX13" fmla="*/ 216420 w 257335"/>
                <a:gd name="connsiteY13" fmla="*/ 77501 h 454626"/>
                <a:gd name="connsiteX14" fmla="*/ 212474 w 257335"/>
                <a:gd name="connsiteY14" fmla="*/ 43232 h 454626"/>
                <a:gd name="connsiteX15" fmla="*/ 191716 w 257335"/>
                <a:gd name="connsiteY15" fmla="*/ 6691 h 454626"/>
                <a:gd name="connsiteX16" fmla="*/ 189828 w 257335"/>
                <a:gd name="connsiteY16" fmla="*/ 6433 h 454626"/>
                <a:gd name="connsiteX17" fmla="*/ 187770 w 257335"/>
                <a:gd name="connsiteY17" fmla="*/ 27235 h 454626"/>
                <a:gd name="connsiteX18" fmla="*/ 201580 w 257335"/>
                <a:gd name="connsiteY18" fmla="*/ 43232 h 454626"/>
                <a:gd name="connsiteX19" fmla="*/ 203596 w 257335"/>
                <a:gd name="connsiteY19" fmla="*/ 67207 h 454626"/>
                <a:gd name="connsiteX20" fmla="*/ 183824 w 257335"/>
                <a:gd name="connsiteY20" fmla="*/ 79774 h 454626"/>
                <a:gd name="connsiteX21" fmla="*/ 164095 w 257335"/>
                <a:gd name="connsiteY21" fmla="*/ 122063 h 454626"/>
                <a:gd name="connsiteX22" fmla="*/ 156203 w 257335"/>
                <a:gd name="connsiteY22" fmla="*/ 147196 h 454626"/>
                <a:gd name="connsiteX23" fmla="*/ 152257 w 257335"/>
                <a:gd name="connsiteY23" fmla="*/ 167740 h 454626"/>
                <a:gd name="connsiteX24" fmla="*/ 136431 w 257335"/>
                <a:gd name="connsiteY24" fmla="*/ 190600 h 454626"/>
                <a:gd name="connsiteX25" fmla="*/ 111770 w 257335"/>
                <a:gd name="connsiteY25" fmla="*/ 249959 h 454626"/>
                <a:gd name="connsiteX26" fmla="*/ 97917 w 257335"/>
                <a:gd name="connsiteY26" fmla="*/ 267072 h 454626"/>
                <a:gd name="connsiteX27" fmla="*/ 74199 w 257335"/>
                <a:gd name="connsiteY27" fmla="*/ 247686 h 454626"/>
                <a:gd name="connsiteX28" fmla="*/ 54427 w 257335"/>
                <a:gd name="connsiteY28" fmla="*/ 251117 h 454626"/>
                <a:gd name="connsiteX29" fmla="*/ 16169 w 257335"/>
                <a:gd name="connsiteY29" fmla="*/ 293320 h 454626"/>
                <a:gd name="connsiteX30" fmla="*/ 6433 w 257335"/>
                <a:gd name="connsiteY30" fmla="*/ 334751 h 454626"/>
                <a:gd name="connsiteX31" fmla="*/ 13081 w 257335"/>
                <a:gd name="connsiteY31" fmla="*/ 343458 h 454626"/>
                <a:gd name="connsiteX32" fmla="*/ 21959 w 257335"/>
                <a:gd name="connsiteY32" fmla="*/ 342300 h 454626"/>
                <a:gd name="connsiteX33" fmla="*/ 62533 w 257335"/>
                <a:gd name="connsiteY33" fmla="*/ 366489 h 454626"/>
                <a:gd name="connsiteX34" fmla="*/ 66607 w 257335"/>
                <a:gd name="connsiteY34" fmla="*/ 392609 h 454626"/>
                <a:gd name="connsiteX35" fmla="*/ 67508 w 257335"/>
                <a:gd name="connsiteY35" fmla="*/ 400415 h 454626"/>
                <a:gd name="connsiteX36" fmla="*/ 64377 w 257335"/>
                <a:gd name="connsiteY36" fmla="*/ 431038 h 454626"/>
                <a:gd name="connsiteX37" fmla="*/ 63391 w 257335"/>
                <a:gd name="connsiteY37" fmla="*/ 434426 h 454626"/>
                <a:gd name="connsiteX38" fmla="*/ 95343 w 257335"/>
                <a:gd name="connsiteY38" fmla="*/ 434426 h 454626"/>
                <a:gd name="connsiteX39" fmla="*/ 109754 w 257335"/>
                <a:gd name="connsiteY39" fmla="*/ 429665 h 454626"/>
                <a:gd name="connsiteX40" fmla="*/ 198320 w 257335"/>
                <a:gd name="connsiteY40" fmla="*/ 432067 h 454626"/>
                <a:gd name="connsiteX41" fmla="*/ 245670 w 257335"/>
                <a:gd name="connsiteY41" fmla="*/ 451110 h 454626"/>
                <a:gd name="connsiteX42" fmla="*/ 253948 w 257335"/>
                <a:gd name="connsiteY42" fmla="*/ 416627 h 454626"/>
                <a:gd name="connsiteX43" fmla="*/ 248243 w 257335"/>
                <a:gd name="connsiteY43" fmla="*/ 410108 h 454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57335" h="454626">
                  <a:moveTo>
                    <a:pt x="248243" y="410108"/>
                  </a:moveTo>
                  <a:cubicBezTo>
                    <a:pt x="246785" y="404103"/>
                    <a:pt x="231946" y="392952"/>
                    <a:pt x="226799" y="385232"/>
                  </a:cubicBezTo>
                  <a:cubicBezTo>
                    <a:pt x="221609" y="377555"/>
                    <a:pt x="219422" y="372408"/>
                    <a:pt x="219422" y="372408"/>
                  </a:cubicBezTo>
                  <a:cubicBezTo>
                    <a:pt x="219422" y="372408"/>
                    <a:pt x="220880" y="359541"/>
                    <a:pt x="214232" y="349291"/>
                  </a:cubicBezTo>
                  <a:cubicBezTo>
                    <a:pt x="207541" y="338997"/>
                    <a:pt x="204625" y="332178"/>
                    <a:pt x="204625" y="318453"/>
                  </a:cubicBezTo>
                  <a:cubicBezTo>
                    <a:pt x="204625" y="304771"/>
                    <a:pt x="200165" y="294478"/>
                    <a:pt x="200165" y="286758"/>
                  </a:cubicBezTo>
                  <a:cubicBezTo>
                    <a:pt x="200165" y="279038"/>
                    <a:pt x="212002" y="264498"/>
                    <a:pt x="216463" y="248243"/>
                  </a:cubicBezTo>
                  <a:cubicBezTo>
                    <a:pt x="219036" y="238765"/>
                    <a:pt x="226885" y="231045"/>
                    <a:pt x="233275" y="224225"/>
                  </a:cubicBezTo>
                  <a:cubicBezTo>
                    <a:pt x="229972" y="218307"/>
                    <a:pt x="226413" y="207627"/>
                    <a:pt x="223368" y="196304"/>
                  </a:cubicBezTo>
                  <a:cubicBezTo>
                    <a:pt x="219422" y="181422"/>
                    <a:pt x="208571" y="176918"/>
                    <a:pt x="195704" y="163194"/>
                  </a:cubicBezTo>
                  <a:cubicBezTo>
                    <a:pt x="182880" y="149469"/>
                    <a:pt x="187812" y="141449"/>
                    <a:pt x="187812" y="135745"/>
                  </a:cubicBezTo>
                  <a:cubicBezTo>
                    <a:pt x="187812" y="130040"/>
                    <a:pt x="204582" y="130040"/>
                    <a:pt x="216420" y="131156"/>
                  </a:cubicBezTo>
                  <a:cubicBezTo>
                    <a:pt x="228257" y="132313"/>
                    <a:pt x="235162" y="128882"/>
                    <a:pt x="230273" y="125494"/>
                  </a:cubicBezTo>
                  <a:cubicBezTo>
                    <a:pt x="225298" y="122020"/>
                    <a:pt x="215433" y="95772"/>
                    <a:pt x="216420" y="77501"/>
                  </a:cubicBezTo>
                  <a:cubicBezTo>
                    <a:pt x="217406" y="59230"/>
                    <a:pt x="211487" y="53526"/>
                    <a:pt x="212474" y="43232"/>
                  </a:cubicBezTo>
                  <a:cubicBezTo>
                    <a:pt x="213460" y="32939"/>
                    <a:pt x="201623" y="6691"/>
                    <a:pt x="191716" y="6691"/>
                  </a:cubicBezTo>
                  <a:cubicBezTo>
                    <a:pt x="191029" y="6691"/>
                    <a:pt x="190472" y="6519"/>
                    <a:pt x="189828" y="6433"/>
                  </a:cubicBezTo>
                  <a:cubicBezTo>
                    <a:pt x="188112" y="14625"/>
                    <a:pt x="187770" y="24018"/>
                    <a:pt x="187770" y="27235"/>
                  </a:cubicBezTo>
                  <a:cubicBezTo>
                    <a:pt x="187770" y="32939"/>
                    <a:pt x="195661" y="40916"/>
                    <a:pt x="201580" y="43232"/>
                  </a:cubicBezTo>
                  <a:cubicBezTo>
                    <a:pt x="207498" y="45505"/>
                    <a:pt x="204582" y="56957"/>
                    <a:pt x="203596" y="67207"/>
                  </a:cubicBezTo>
                  <a:cubicBezTo>
                    <a:pt x="202567" y="77501"/>
                    <a:pt x="186783" y="75185"/>
                    <a:pt x="183824" y="79774"/>
                  </a:cubicBezTo>
                  <a:cubicBezTo>
                    <a:pt x="180864" y="84363"/>
                    <a:pt x="163108" y="116359"/>
                    <a:pt x="164095" y="122063"/>
                  </a:cubicBezTo>
                  <a:cubicBezTo>
                    <a:pt x="165081" y="127767"/>
                    <a:pt x="161135" y="144923"/>
                    <a:pt x="156203" y="147196"/>
                  </a:cubicBezTo>
                  <a:cubicBezTo>
                    <a:pt x="151228" y="149512"/>
                    <a:pt x="152257" y="162036"/>
                    <a:pt x="152257" y="167740"/>
                  </a:cubicBezTo>
                  <a:cubicBezTo>
                    <a:pt x="152257" y="173444"/>
                    <a:pt x="136431" y="181422"/>
                    <a:pt x="136431" y="190600"/>
                  </a:cubicBezTo>
                  <a:cubicBezTo>
                    <a:pt x="136431" y="199736"/>
                    <a:pt x="117689" y="237392"/>
                    <a:pt x="111770" y="249959"/>
                  </a:cubicBezTo>
                  <a:cubicBezTo>
                    <a:pt x="105851" y="262526"/>
                    <a:pt x="99932" y="278523"/>
                    <a:pt x="97917" y="267072"/>
                  </a:cubicBezTo>
                  <a:cubicBezTo>
                    <a:pt x="95943" y="255663"/>
                    <a:pt x="81147" y="241981"/>
                    <a:pt x="74199" y="247686"/>
                  </a:cubicBezTo>
                  <a:cubicBezTo>
                    <a:pt x="67251" y="253390"/>
                    <a:pt x="58415" y="249959"/>
                    <a:pt x="54427" y="251117"/>
                  </a:cubicBezTo>
                  <a:cubicBezTo>
                    <a:pt x="50481" y="252275"/>
                    <a:pt x="16169" y="293320"/>
                    <a:pt x="16169" y="293320"/>
                  </a:cubicBezTo>
                  <a:cubicBezTo>
                    <a:pt x="16169" y="293320"/>
                    <a:pt x="13596" y="312792"/>
                    <a:pt x="6433" y="334751"/>
                  </a:cubicBezTo>
                  <a:cubicBezTo>
                    <a:pt x="8578" y="336295"/>
                    <a:pt x="10808" y="339555"/>
                    <a:pt x="13081" y="343458"/>
                  </a:cubicBezTo>
                  <a:cubicBezTo>
                    <a:pt x="16083" y="342643"/>
                    <a:pt x="19086" y="342171"/>
                    <a:pt x="21959" y="342300"/>
                  </a:cubicBezTo>
                  <a:cubicBezTo>
                    <a:pt x="38815" y="343072"/>
                    <a:pt x="53955" y="351049"/>
                    <a:pt x="62533" y="366489"/>
                  </a:cubicBezTo>
                  <a:cubicBezTo>
                    <a:pt x="67036" y="374638"/>
                    <a:pt x="68065" y="383602"/>
                    <a:pt x="66607" y="392609"/>
                  </a:cubicBezTo>
                  <a:cubicBezTo>
                    <a:pt x="67165" y="395182"/>
                    <a:pt x="67508" y="397841"/>
                    <a:pt x="67508" y="400415"/>
                  </a:cubicBezTo>
                  <a:cubicBezTo>
                    <a:pt x="67508" y="410708"/>
                    <a:pt x="66693" y="421001"/>
                    <a:pt x="64377" y="431038"/>
                  </a:cubicBezTo>
                  <a:cubicBezTo>
                    <a:pt x="64120" y="432196"/>
                    <a:pt x="63776" y="433311"/>
                    <a:pt x="63391" y="434426"/>
                  </a:cubicBezTo>
                  <a:lnTo>
                    <a:pt x="95343" y="434426"/>
                  </a:lnTo>
                  <a:lnTo>
                    <a:pt x="109754" y="429665"/>
                  </a:lnTo>
                  <a:cubicBezTo>
                    <a:pt x="109754" y="429665"/>
                    <a:pt x="188070" y="434426"/>
                    <a:pt x="198320" y="432067"/>
                  </a:cubicBezTo>
                  <a:cubicBezTo>
                    <a:pt x="208614" y="429665"/>
                    <a:pt x="245670" y="451110"/>
                    <a:pt x="245670" y="451110"/>
                  </a:cubicBezTo>
                  <a:cubicBezTo>
                    <a:pt x="245670" y="451110"/>
                    <a:pt x="247429" y="429537"/>
                    <a:pt x="253948" y="416627"/>
                  </a:cubicBezTo>
                  <a:cubicBezTo>
                    <a:pt x="251503" y="414997"/>
                    <a:pt x="248973" y="412853"/>
                    <a:pt x="248243" y="410108"/>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74" name="Freeform: Shape 101">
              <a:extLst>
                <a:ext uri="{FF2B5EF4-FFF2-40B4-BE49-F238E27FC236}">
                  <a16:creationId xmlns:a16="http://schemas.microsoft.com/office/drawing/2014/main" id="{5FFDC9F4-A838-4849-895E-06F84E2891D6}"/>
                </a:ext>
              </a:extLst>
            </p:cNvPr>
            <p:cNvSpPr/>
            <p:nvPr/>
          </p:nvSpPr>
          <p:spPr>
            <a:xfrm>
              <a:off x="6778532" y="4120354"/>
              <a:ext cx="164017" cy="180418"/>
            </a:xfrm>
            <a:custGeom>
              <a:avLst/>
              <a:gdLst>
                <a:gd name="connsiteX0" fmla="*/ 19130 w 214446"/>
                <a:gd name="connsiteY0" fmla="*/ 182021 h 235891"/>
                <a:gd name="connsiteX1" fmla="*/ 45035 w 214446"/>
                <a:gd name="connsiteY1" fmla="*/ 211142 h 235891"/>
                <a:gd name="connsiteX2" fmla="*/ 39674 w 214446"/>
                <a:gd name="connsiteY2" fmla="*/ 229542 h 235891"/>
                <a:gd name="connsiteX3" fmla="*/ 40875 w 214446"/>
                <a:gd name="connsiteY3" fmla="*/ 230700 h 235891"/>
                <a:gd name="connsiteX4" fmla="*/ 56916 w 214446"/>
                <a:gd name="connsiteY4" fmla="*/ 225811 h 235891"/>
                <a:gd name="connsiteX5" fmla="*/ 197121 w 214446"/>
                <a:gd name="connsiteY5" fmla="*/ 203980 h 235891"/>
                <a:gd name="connsiteX6" fmla="*/ 185026 w 214446"/>
                <a:gd name="connsiteY6" fmla="*/ 164908 h 235891"/>
                <a:gd name="connsiteX7" fmla="*/ 197635 w 214446"/>
                <a:gd name="connsiteY7" fmla="*/ 127208 h 235891"/>
                <a:gd name="connsiteX8" fmla="*/ 210245 w 214446"/>
                <a:gd name="connsiteY8" fmla="*/ 101517 h 235891"/>
                <a:gd name="connsiteX9" fmla="*/ 198579 w 214446"/>
                <a:gd name="connsiteY9" fmla="*/ 41558 h 235891"/>
                <a:gd name="connsiteX10" fmla="*/ 192446 w 214446"/>
                <a:gd name="connsiteY10" fmla="*/ 37870 h 235891"/>
                <a:gd name="connsiteX11" fmla="*/ 152945 w 214446"/>
                <a:gd name="connsiteY11" fmla="*/ 43574 h 235891"/>
                <a:gd name="connsiteX12" fmla="*/ 123308 w 214446"/>
                <a:gd name="connsiteY12" fmla="*/ 27619 h 235891"/>
                <a:gd name="connsiteX13" fmla="*/ 97618 w 214446"/>
                <a:gd name="connsiteY13" fmla="*/ 17326 h 235891"/>
                <a:gd name="connsiteX14" fmla="*/ 85780 w 214446"/>
                <a:gd name="connsiteY14" fmla="*/ 12737 h 235891"/>
                <a:gd name="connsiteX15" fmla="*/ 69010 w 214446"/>
                <a:gd name="connsiteY15" fmla="*/ 15010 h 235891"/>
                <a:gd name="connsiteX16" fmla="*/ 50225 w 214446"/>
                <a:gd name="connsiteY16" fmla="*/ 25303 h 235891"/>
                <a:gd name="connsiteX17" fmla="*/ 33455 w 214446"/>
                <a:gd name="connsiteY17" fmla="*/ 19599 h 235891"/>
                <a:gd name="connsiteX18" fmla="*/ 22133 w 214446"/>
                <a:gd name="connsiteY18" fmla="*/ 22773 h 235891"/>
                <a:gd name="connsiteX19" fmla="*/ 22090 w 214446"/>
                <a:gd name="connsiteY19" fmla="*/ 53567 h 235891"/>
                <a:gd name="connsiteX20" fmla="*/ 28008 w 214446"/>
                <a:gd name="connsiteY20" fmla="*/ 71538 h 235891"/>
                <a:gd name="connsiteX21" fmla="*/ 33927 w 214446"/>
                <a:gd name="connsiteY21" fmla="*/ 95556 h 235891"/>
                <a:gd name="connsiteX22" fmla="*/ 18358 w 214446"/>
                <a:gd name="connsiteY22" fmla="*/ 98086 h 235891"/>
                <a:gd name="connsiteX23" fmla="*/ 21317 w 214446"/>
                <a:gd name="connsiteY23" fmla="*/ 121247 h 235891"/>
                <a:gd name="connsiteX24" fmla="*/ 11710 w 214446"/>
                <a:gd name="connsiteY24" fmla="*/ 142648 h 235891"/>
                <a:gd name="connsiteX25" fmla="*/ 8022 w 214446"/>
                <a:gd name="connsiteY25" fmla="*/ 170054 h 235891"/>
                <a:gd name="connsiteX26" fmla="*/ 19130 w 214446"/>
                <a:gd name="connsiteY26" fmla="*/ 182021 h 23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4446" h="235891">
                  <a:moveTo>
                    <a:pt x="19130" y="182021"/>
                  </a:moveTo>
                  <a:cubicBezTo>
                    <a:pt x="29509" y="189698"/>
                    <a:pt x="46536" y="198276"/>
                    <a:pt x="45035" y="211142"/>
                  </a:cubicBezTo>
                  <a:cubicBezTo>
                    <a:pt x="44177" y="218520"/>
                    <a:pt x="42119" y="222337"/>
                    <a:pt x="39674" y="229542"/>
                  </a:cubicBezTo>
                  <a:cubicBezTo>
                    <a:pt x="40060" y="229928"/>
                    <a:pt x="40489" y="230314"/>
                    <a:pt x="40875" y="230700"/>
                  </a:cubicBezTo>
                  <a:cubicBezTo>
                    <a:pt x="46536" y="228985"/>
                    <a:pt x="51940" y="227226"/>
                    <a:pt x="56916" y="225811"/>
                  </a:cubicBezTo>
                  <a:cubicBezTo>
                    <a:pt x="104523" y="211914"/>
                    <a:pt x="149128" y="208226"/>
                    <a:pt x="197121" y="203980"/>
                  </a:cubicBezTo>
                  <a:cubicBezTo>
                    <a:pt x="192145" y="193644"/>
                    <a:pt x="184426" y="170827"/>
                    <a:pt x="185026" y="164908"/>
                  </a:cubicBezTo>
                  <a:cubicBezTo>
                    <a:pt x="185755" y="158046"/>
                    <a:pt x="198365" y="137459"/>
                    <a:pt x="197635" y="127208"/>
                  </a:cubicBezTo>
                  <a:cubicBezTo>
                    <a:pt x="196906" y="116915"/>
                    <a:pt x="210245" y="110095"/>
                    <a:pt x="210245" y="101517"/>
                  </a:cubicBezTo>
                  <a:cubicBezTo>
                    <a:pt x="210245" y="94998"/>
                    <a:pt x="206814" y="62617"/>
                    <a:pt x="198579" y="41558"/>
                  </a:cubicBezTo>
                  <a:cubicBezTo>
                    <a:pt x="196906" y="41687"/>
                    <a:pt x="194805" y="40657"/>
                    <a:pt x="192446" y="37870"/>
                  </a:cubicBezTo>
                  <a:cubicBezTo>
                    <a:pt x="186527" y="31007"/>
                    <a:pt x="161866" y="32165"/>
                    <a:pt x="152945" y="43574"/>
                  </a:cubicBezTo>
                  <a:cubicBezTo>
                    <a:pt x="144067" y="55026"/>
                    <a:pt x="126267" y="33281"/>
                    <a:pt x="123308" y="27619"/>
                  </a:cubicBezTo>
                  <a:cubicBezTo>
                    <a:pt x="120349" y="21872"/>
                    <a:pt x="107525" y="9305"/>
                    <a:pt x="97618" y="17326"/>
                  </a:cubicBezTo>
                  <a:cubicBezTo>
                    <a:pt x="87753" y="25303"/>
                    <a:pt x="84794" y="23030"/>
                    <a:pt x="85780" y="12737"/>
                  </a:cubicBezTo>
                  <a:cubicBezTo>
                    <a:pt x="86766" y="2443"/>
                    <a:pt x="70983" y="5874"/>
                    <a:pt x="69010" y="15010"/>
                  </a:cubicBezTo>
                  <a:cubicBezTo>
                    <a:pt x="67038" y="24145"/>
                    <a:pt x="54214" y="32123"/>
                    <a:pt x="50225" y="25303"/>
                  </a:cubicBezTo>
                  <a:cubicBezTo>
                    <a:pt x="46279" y="18441"/>
                    <a:pt x="37401" y="9305"/>
                    <a:pt x="33455" y="19599"/>
                  </a:cubicBezTo>
                  <a:cubicBezTo>
                    <a:pt x="30710" y="26718"/>
                    <a:pt x="26035" y="26118"/>
                    <a:pt x="22133" y="22773"/>
                  </a:cubicBezTo>
                  <a:cubicBezTo>
                    <a:pt x="19645" y="35511"/>
                    <a:pt x="16600" y="50050"/>
                    <a:pt x="22090" y="53567"/>
                  </a:cubicBezTo>
                  <a:cubicBezTo>
                    <a:pt x="28737" y="57856"/>
                    <a:pt x="29509" y="66434"/>
                    <a:pt x="28008" y="71538"/>
                  </a:cubicBezTo>
                  <a:cubicBezTo>
                    <a:pt x="26550" y="76685"/>
                    <a:pt x="39117" y="89508"/>
                    <a:pt x="33927" y="95556"/>
                  </a:cubicBezTo>
                  <a:cubicBezTo>
                    <a:pt x="28737" y="101560"/>
                    <a:pt x="22090" y="89551"/>
                    <a:pt x="18358" y="98086"/>
                  </a:cubicBezTo>
                  <a:cubicBezTo>
                    <a:pt x="14670" y="106664"/>
                    <a:pt x="25778" y="114384"/>
                    <a:pt x="21317" y="121247"/>
                  </a:cubicBezTo>
                  <a:cubicBezTo>
                    <a:pt x="16857" y="128066"/>
                    <a:pt x="10209" y="128924"/>
                    <a:pt x="11710" y="142648"/>
                  </a:cubicBezTo>
                  <a:cubicBezTo>
                    <a:pt x="13211" y="156330"/>
                    <a:pt x="12440" y="165766"/>
                    <a:pt x="8022" y="170054"/>
                  </a:cubicBezTo>
                  <a:cubicBezTo>
                    <a:pt x="3604" y="174301"/>
                    <a:pt x="8751" y="174301"/>
                    <a:pt x="19130" y="182021"/>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75" name="Freeform: Shape 102">
              <a:extLst>
                <a:ext uri="{FF2B5EF4-FFF2-40B4-BE49-F238E27FC236}">
                  <a16:creationId xmlns:a16="http://schemas.microsoft.com/office/drawing/2014/main" id="{E8F5AA93-6615-9E52-33B8-300F886099AD}"/>
                </a:ext>
              </a:extLst>
            </p:cNvPr>
            <p:cNvSpPr/>
            <p:nvPr/>
          </p:nvSpPr>
          <p:spPr>
            <a:xfrm>
              <a:off x="6915097" y="4106576"/>
              <a:ext cx="114812" cy="173858"/>
            </a:xfrm>
            <a:custGeom>
              <a:avLst/>
              <a:gdLst>
                <a:gd name="connsiteX0" fmla="*/ 39067 w 150112"/>
                <a:gd name="connsiteY0" fmla="*/ 220151 h 227313"/>
                <a:gd name="connsiteX1" fmla="*/ 120342 w 150112"/>
                <a:gd name="connsiteY1" fmla="*/ 204024 h 227313"/>
                <a:gd name="connsiteX2" fmla="*/ 144188 w 150112"/>
                <a:gd name="connsiteY2" fmla="*/ 195790 h 227313"/>
                <a:gd name="connsiteX3" fmla="*/ 136125 w 150112"/>
                <a:gd name="connsiteY3" fmla="*/ 161478 h 227313"/>
                <a:gd name="connsiteX4" fmla="*/ 127247 w 150112"/>
                <a:gd name="connsiteY4" fmla="*/ 108381 h 227313"/>
                <a:gd name="connsiteX5" fmla="*/ 126518 w 150112"/>
                <a:gd name="connsiteY5" fmla="*/ 54427 h 227313"/>
                <a:gd name="connsiteX6" fmla="*/ 118369 w 150112"/>
                <a:gd name="connsiteY6" fmla="*/ 31309 h 227313"/>
                <a:gd name="connsiteX7" fmla="*/ 111636 w 150112"/>
                <a:gd name="connsiteY7" fmla="*/ 6433 h 227313"/>
                <a:gd name="connsiteX8" fmla="*/ 102800 w 150112"/>
                <a:gd name="connsiteY8" fmla="*/ 15912 h 227313"/>
                <a:gd name="connsiteX9" fmla="*/ 18866 w 150112"/>
                <a:gd name="connsiteY9" fmla="*/ 13639 h 227313"/>
                <a:gd name="connsiteX10" fmla="*/ 24785 w 150112"/>
                <a:gd name="connsiteY10" fmla="*/ 52496 h 227313"/>
                <a:gd name="connsiteX11" fmla="*/ 20024 w 150112"/>
                <a:gd name="connsiteY11" fmla="*/ 59573 h 227313"/>
                <a:gd name="connsiteX12" fmla="*/ 31690 w 150112"/>
                <a:gd name="connsiteY12" fmla="*/ 119532 h 227313"/>
                <a:gd name="connsiteX13" fmla="*/ 19080 w 150112"/>
                <a:gd name="connsiteY13" fmla="*/ 145223 h 227313"/>
                <a:gd name="connsiteX14" fmla="*/ 6471 w 150112"/>
                <a:gd name="connsiteY14" fmla="*/ 182923 h 227313"/>
                <a:gd name="connsiteX15" fmla="*/ 18566 w 150112"/>
                <a:gd name="connsiteY15" fmla="*/ 221995 h 227313"/>
                <a:gd name="connsiteX16" fmla="*/ 39067 w 150112"/>
                <a:gd name="connsiteY16" fmla="*/ 220151 h 22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0112" h="227313">
                  <a:moveTo>
                    <a:pt x="39067" y="220151"/>
                  </a:moveTo>
                  <a:cubicBezTo>
                    <a:pt x="66730" y="217577"/>
                    <a:pt x="93751" y="212345"/>
                    <a:pt x="120342" y="204024"/>
                  </a:cubicBezTo>
                  <a:cubicBezTo>
                    <a:pt x="128319" y="201537"/>
                    <a:pt x="136254" y="198620"/>
                    <a:pt x="144188" y="195790"/>
                  </a:cubicBezTo>
                  <a:cubicBezTo>
                    <a:pt x="139728" y="183952"/>
                    <a:pt x="136125" y="170914"/>
                    <a:pt x="136125" y="161478"/>
                  </a:cubicBezTo>
                  <a:cubicBezTo>
                    <a:pt x="136125" y="141792"/>
                    <a:pt x="131665" y="121205"/>
                    <a:pt x="127247" y="108381"/>
                  </a:cubicBezTo>
                  <a:cubicBezTo>
                    <a:pt x="122787" y="95515"/>
                    <a:pt x="125746" y="67250"/>
                    <a:pt x="126518" y="54427"/>
                  </a:cubicBezTo>
                  <a:cubicBezTo>
                    <a:pt x="127247" y="41603"/>
                    <a:pt x="123558" y="34740"/>
                    <a:pt x="118369" y="31309"/>
                  </a:cubicBezTo>
                  <a:cubicBezTo>
                    <a:pt x="115581" y="29508"/>
                    <a:pt x="113265" y="17370"/>
                    <a:pt x="111636" y="6433"/>
                  </a:cubicBezTo>
                  <a:cubicBezTo>
                    <a:pt x="105760" y="9522"/>
                    <a:pt x="105288" y="20673"/>
                    <a:pt x="102800" y="15912"/>
                  </a:cubicBezTo>
                  <a:cubicBezTo>
                    <a:pt x="99841" y="10208"/>
                    <a:pt x="22812" y="6777"/>
                    <a:pt x="18866" y="13639"/>
                  </a:cubicBezTo>
                  <a:cubicBezTo>
                    <a:pt x="14920" y="20458"/>
                    <a:pt x="25771" y="45634"/>
                    <a:pt x="24785" y="52496"/>
                  </a:cubicBezTo>
                  <a:cubicBezTo>
                    <a:pt x="24184" y="56571"/>
                    <a:pt x="22512" y="59359"/>
                    <a:pt x="20024" y="59573"/>
                  </a:cubicBezTo>
                  <a:cubicBezTo>
                    <a:pt x="28216" y="80675"/>
                    <a:pt x="31690" y="113013"/>
                    <a:pt x="31690" y="119532"/>
                  </a:cubicBezTo>
                  <a:cubicBezTo>
                    <a:pt x="31690" y="128110"/>
                    <a:pt x="18351" y="134930"/>
                    <a:pt x="19080" y="145223"/>
                  </a:cubicBezTo>
                  <a:cubicBezTo>
                    <a:pt x="19809" y="155474"/>
                    <a:pt x="7243" y="176061"/>
                    <a:pt x="6471" y="182923"/>
                  </a:cubicBezTo>
                  <a:cubicBezTo>
                    <a:pt x="5828" y="188884"/>
                    <a:pt x="13590" y="211659"/>
                    <a:pt x="18566" y="221995"/>
                  </a:cubicBezTo>
                  <a:cubicBezTo>
                    <a:pt x="25342" y="221395"/>
                    <a:pt x="32162" y="220794"/>
                    <a:pt x="39067" y="220151"/>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76" name="Freeform: Shape 113">
              <a:extLst>
                <a:ext uri="{FF2B5EF4-FFF2-40B4-BE49-F238E27FC236}">
                  <a16:creationId xmlns:a16="http://schemas.microsoft.com/office/drawing/2014/main" id="{7F77C064-7337-7BF9-1277-4252BC3CBDF4}"/>
                </a:ext>
              </a:extLst>
            </p:cNvPr>
            <p:cNvSpPr/>
            <p:nvPr/>
          </p:nvSpPr>
          <p:spPr>
            <a:xfrm>
              <a:off x="7242373" y="4369200"/>
              <a:ext cx="131213" cy="183699"/>
            </a:xfrm>
            <a:custGeom>
              <a:avLst/>
              <a:gdLst>
                <a:gd name="connsiteX0" fmla="*/ 159033 w 171557"/>
                <a:gd name="connsiteY0" fmla="*/ 110740 h 240180"/>
                <a:gd name="connsiteX1" fmla="*/ 152858 w 171557"/>
                <a:gd name="connsiteY1" fmla="*/ 79688 h 240180"/>
                <a:gd name="connsiteX2" fmla="*/ 156975 w 171557"/>
                <a:gd name="connsiteY2" fmla="*/ 48680 h 240180"/>
                <a:gd name="connsiteX3" fmla="*/ 123950 w 171557"/>
                <a:gd name="connsiteY3" fmla="*/ 48680 h 240180"/>
                <a:gd name="connsiteX4" fmla="*/ 127467 w 171557"/>
                <a:gd name="connsiteY4" fmla="*/ 8878 h 240180"/>
                <a:gd name="connsiteX5" fmla="*/ 77844 w 171557"/>
                <a:gd name="connsiteY5" fmla="*/ 6433 h 240180"/>
                <a:gd name="connsiteX6" fmla="*/ 71668 w 171557"/>
                <a:gd name="connsiteY6" fmla="*/ 8492 h 240180"/>
                <a:gd name="connsiteX7" fmla="*/ 70296 w 171557"/>
                <a:gd name="connsiteY7" fmla="*/ 58244 h 240180"/>
                <a:gd name="connsiteX8" fmla="*/ 24833 w 171557"/>
                <a:gd name="connsiteY8" fmla="*/ 60645 h 240180"/>
                <a:gd name="connsiteX9" fmla="*/ 9393 w 171557"/>
                <a:gd name="connsiteY9" fmla="*/ 63004 h 240180"/>
                <a:gd name="connsiteX10" fmla="*/ 8234 w 171557"/>
                <a:gd name="connsiteY10" fmla="*/ 64720 h 240180"/>
                <a:gd name="connsiteX11" fmla="*/ 8234 w 171557"/>
                <a:gd name="connsiteY11" fmla="*/ 78487 h 240180"/>
                <a:gd name="connsiteX12" fmla="*/ 8020 w 171557"/>
                <a:gd name="connsiteY12" fmla="*/ 80460 h 240180"/>
                <a:gd name="connsiteX13" fmla="*/ 16512 w 171557"/>
                <a:gd name="connsiteY13" fmla="*/ 90540 h 240180"/>
                <a:gd name="connsiteX14" fmla="*/ 6433 w 171557"/>
                <a:gd name="connsiteY14" fmla="*/ 97873 h 240180"/>
                <a:gd name="connsiteX15" fmla="*/ 8191 w 171557"/>
                <a:gd name="connsiteY15" fmla="*/ 108510 h 240180"/>
                <a:gd name="connsiteX16" fmla="*/ 8191 w 171557"/>
                <a:gd name="connsiteY16" fmla="*/ 119747 h 240180"/>
                <a:gd name="connsiteX17" fmla="*/ 7677 w 171557"/>
                <a:gd name="connsiteY17" fmla="*/ 125280 h 240180"/>
                <a:gd name="connsiteX18" fmla="*/ 11408 w 171557"/>
                <a:gd name="connsiteY18" fmla="*/ 131284 h 240180"/>
                <a:gd name="connsiteX19" fmla="*/ 15311 w 171557"/>
                <a:gd name="connsiteY19" fmla="*/ 141706 h 240180"/>
                <a:gd name="connsiteX20" fmla="*/ 25133 w 171557"/>
                <a:gd name="connsiteY20" fmla="*/ 158519 h 240180"/>
                <a:gd name="connsiteX21" fmla="*/ 26763 w 171557"/>
                <a:gd name="connsiteY21" fmla="*/ 164481 h 240180"/>
                <a:gd name="connsiteX22" fmla="*/ 28779 w 171557"/>
                <a:gd name="connsiteY22" fmla="*/ 168298 h 240180"/>
                <a:gd name="connsiteX23" fmla="*/ 33539 w 171557"/>
                <a:gd name="connsiteY23" fmla="*/ 188413 h 240180"/>
                <a:gd name="connsiteX24" fmla="*/ 60860 w 171557"/>
                <a:gd name="connsiteY24" fmla="*/ 217020 h 240180"/>
                <a:gd name="connsiteX25" fmla="*/ 69995 w 171557"/>
                <a:gd name="connsiteY25" fmla="*/ 237907 h 240180"/>
                <a:gd name="connsiteX26" fmla="*/ 74413 w 171557"/>
                <a:gd name="connsiteY26" fmla="*/ 237221 h 240180"/>
                <a:gd name="connsiteX27" fmla="*/ 78530 w 171557"/>
                <a:gd name="connsiteY27" fmla="*/ 206169 h 240180"/>
                <a:gd name="connsiteX28" fmla="*/ 99203 w 171557"/>
                <a:gd name="connsiteY28" fmla="*/ 189485 h 240180"/>
                <a:gd name="connsiteX29" fmla="*/ 113657 w 171557"/>
                <a:gd name="connsiteY29" fmla="*/ 167997 h 240180"/>
                <a:gd name="connsiteX30" fmla="*/ 132228 w 171557"/>
                <a:gd name="connsiteY30" fmla="*/ 191887 h 240180"/>
                <a:gd name="connsiteX31" fmla="*/ 157018 w 171557"/>
                <a:gd name="connsiteY31" fmla="*/ 196691 h 240180"/>
                <a:gd name="connsiteX32" fmla="*/ 167354 w 171557"/>
                <a:gd name="connsiteY32" fmla="*/ 151313 h 240180"/>
                <a:gd name="connsiteX33" fmla="*/ 159033 w 171557"/>
                <a:gd name="connsiteY33" fmla="*/ 110740 h 24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1557" h="240180">
                  <a:moveTo>
                    <a:pt x="159033" y="110740"/>
                  </a:moveTo>
                  <a:cubicBezTo>
                    <a:pt x="148697" y="103535"/>
                    <a:pt x="140462" y="86851"/>
                    <a:pt x="152858" y="79688"/>
                  </a:cubicBezTo>
                  <a:cubicBezTo>
                    <a:pt x="165252" y="72569"/>
                    <a:pt x="167311" y="58201"/>
                    <a:pt x="156975" y="48680"/>
                  </a:cubicBezTo>
                  <a:cubicBezTo>
                    <a:pt x="146638" y="39115"/>
                    <a:pt x="123950" y="58201"/>
                    <a:pt x="123950" y="48680"/>
                  </a:cubicBezTo>
                  <a:cubicBezTo>
                    <a:pt x="123950" y="43447"/>
                    <a:pt x="125794" y="24833"/>
                    <a:pt x="127467" y="8878"/>
                  </a:cubicBezTo>
                  <a:cubicBezTo>
                    <a:pt x="103577" y="7977"/>
                    <a:pt x="77844" y="6433"/>
                    <a:pt x="77844" y="6433"/>
                  </a:cubicBezTo>
                  <a:lnTo>
                    <a:pt x="71668" y="8492"/>
                  </a:lnTo>
                  <a:cubicBezTo>
                    <a:pt x="73126" y="36499"/>
                    <a:pt x="70296" y="58244"/>
                    <a:pt x="70296" y="58244"/>
                  </a:cubicBezTo>
                  <a:cubicBezTo>
                    <a:pt x="70296" y="58244"/>
                    <a:pt x="33110" y="60645"/>
                    <a:pt x="24833" y="60645"/>
                  </a:cubicBezTo>
                  <a:cubicBezTo>
                    <a:pt x="23032" y="60645"/>
                    <a:pt x="17370" y="61546"/>
                    <a:pt x="9393" y="63004"/>
                  </a:cubicBezTo>
                  <a:cubicBezTo>
                    <a:pt x="9050" y="63605"/>
                    <a:pt x="8621" y="64120"/>
                    <a:pt x="8234" y="64720"/>
                  </a:cubicBezTo>
                  <a:lnTo>
                    <a:pt x="8234" y="78487"/>
                  </a:lnTo>
                  <a:cubicBezTo>
                    <a:pt x="8234" y="79174"/>
                    <a:pt x="8063" y="79774"/>
                    <a:pt x="8020" y="80460"/>
                  </a:cubicBezTo>
                  <a:cubicBezTo>
                    <a:pt x="11365" y="83591"/>
                    <a:pt x="15354" y="87022"/>
                    <a:pt x="16512" y="90540"/>
                  </a:cubicBezTo>
                  <a:cubicBezTo>
                    <a:pt x="17885" y="94657"/>
                    <a:pt x="11923" y="95815"/>
                    <a:pt x="6433" y="97873"/>
                  </a:cubicBezTo>
                  <a:cubicBezTo>
                    <a:pt x="7463" y="101390"/>
                    <a:pt x="8191" y="104950"/>
                    <a:pt x="8191" y="108510"/>
                  </a:cubicBezTo>
                  <a:lnTo>
                    <a:pt x="8191" y="119747"/>
                  </a:lnTo>
                  <a:cubicBezTo>
                    <a:pt x="8191" y="121634"/>
                    <a:pt x="7977" y="123478"/>
                    <a:pt x="7677" y="125280"/>
                  </a:cubicBezTo>
                  <a:cubicBezTo>
                    <a:pt x="9093" y="127210"/>
                    <a:pt x="10379" y="129226"/>
                    <a:pt x="11408" y="131284"/>
                  </a:cubicBezTo>
                  <a:cubicBezTo>
                    <a:pt x="13167" y="134887"/>
                    <a:pt x="14411" y="138275"/>
                    <a:pt x="15311" y="141706"/>
                  </a:cubicBezTo>
                  <a:cubicBezTo>
                    <a:pt x="19943" y="146381"/>
                    <a:pt x="23589" y="152386"/>
                    <a:pt x="25133" y="158519"/>
                  </a:cubicBezTo>
                  <a:cubicBezTo>
                    <a:pt x="25605" y="160535"/>
                    <a:pt x="26162" y="162507"/>
                    <a:pt x="26763" y="164481"/>
                  </a:cubicBezTo>
                  <a:cubicBezTo>
                    <a:pt x="27406" y="165767"/>
                    <a:pt x="28006" y="167097"/>
                    <a:pt x="28779" y="168298"/>
                  </a:cubicBezTo>
                  <a:cubicBezTo>
                    <a:pt x="32510" y="174260"/>
                    <a:pt x="33840" y="181379"/>
                    <a:pt x="33539" y="188413"/>
                  </a:cubicBezTo>
                  <a:cubicBezTo>
                    <a:pt x="43490" y="196691"/>
                    <a:pt x="53997" y="204453"/>
                    <a:pt x="60860" y="217020"/>
                  </a:cubicBezTo>
                  <a:cubicBezTo>
                    <a:pt x="64462" y="223668"/>
                    <a:pt x="67422" y="230701"/>
                    <a:pt x="69995" y="237907"/>
                  </a:cubicBezTo>
                  <a:cubicBezTo>
                    <a:pt x="71368" y="237521"/>
                    <a:pt x="72783" y="237221"/>
                    <a:pt x="74413" y="237221"/>
                  </a:cubicBezTo>
                  <a:cubicBezTo>
                    <a:pt x="90925" y="237221"/>
                    <a:pt x="84749" y="225297"/>
                    <a:pt x="78530" y="206169"/>
                  </a:cubicBezTo>
                  <a:cubicBezTo>
                    <a:pt x="72354" y="187083"/>
                    <a:pt x="88867" y="189485"/>
                    <a:pt x="99203" y="189485"/>
                  </a:cubicBezTo>
                  <a:cubicBezTo>
                    <a:pt x="109539" y="189485"/>
                    <a:pt x="105379" y="167997"/>
                    <a:pt x="113657" y="167997"/>
                  </a:cubicBezTo>
                  <a:cubicBezTo>
                    <a:pt x="121934" y="167997"/>
                    <a:pt x="123993" y="194246"/>
                    <a:pt x="132228" y="191887"/>
                  </a:cubicBezTo>
                  <a:cubicBezTo>
                    <a:pt x="140505" y="189485"/>
                    <a:pt x="146681" y="199049"/>
                    <a:pt x="157018" y="196691"/>
                  </a:cubicBezTo>
                  <a:cubicBezTo>
                    <a:pt x="167354" y="194289"/>
                    <a:pt x="167354" y="170399"/>
                    <a:pt x="167354" y="151313"/>
                  </a:cubicBezTo>
                  <a:cubicBezTo>
                    <a:pt x="167311" y="132228"/>
                    <a:pt x="169370" y="117903"/>
                    <a:pt x="159033" y="110740"/>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77" name="Freeform: Shape 114">
              <a:extLst>
                <a:ext uri="{FF2B5EF4-FFF2-40B4-BE49-F238E27FC236}">
                  <a16:creationId xmlns:a16="http://schemas.microsoft.com/office/drawing/2014/main" id="{9BAD0775-7A99-41FB-6D4A-49F54282E450}"/>
                </a:ext>
              </a:extLst>
            </p:cNvPr>
            <p:cNvSpPr/>
            <p:nvPr/>
          </p:nvSpPr>
          <p:spPr>
            <a:xfrm>
              <a:off x="7242602" y="4370741"/>
              <a:ext cx="59046" cy="49205"/>
            </a:xfrm>
            <a:custGeom>
              <a:avLst/>
              <a:gdLst>
                <a:gd name="connsiteX0" fmla="*/ 71368 w 77200"/>
                <a:gd name="connsiteY0" fmla="*/ 6433 h 64333"/>
                <a:gd name="connsiteX1" fmla="*/ 63133 w 77200"/>
                <a:gd name="connsiteY1" fmla="*/ 9135 h 64333"/>
                <a:gd name="connsiteX2" fmla="*/ 31181 w 77200"/>
                <a:gd name="connsiteY2" fmla="*/ 9135 h 64333"/>
                <a:gd name="connsiteX3" fmla="*/ 18486 w 77200"/>
                <a:gd name="connsiteY3" fmla="*/ 25948 h 64333"/>
                <a:gd name="connsiteX4" fmla="*/ 9350 w 77200"/>
                <a:gd name="connsiteY4" fmla="*/ 35384 h 64333"/>
                <a:gd name="connsiteX5" fmla="*/ 6734 w 77200"/>
                <a:gd name="connsiteY5" fmla="*/ 36756 h 64333"/>
                <a:gd name="connsiteX6" fmla="*/ 6433 w 77200"/>
                <a:gd name="connsiteY6" fmla="*/ 49666 h 64333"/>
                <a:gd name="connsiteX7" fmla="*/ 6691 w 77200"/>
                <a:gd name="connsiteY7" fmla="*/ 50481 h 64333"/>
                <a:gd name="connsiteX8" fmla="*/ 7849 w 77200"/>
                <a:gd name="connsiteY8" fmla="*/ 50781 h 64333"/>
                <a:gd name="connsiteX9" fmla="*/ 9093 w 77200"/>
                <a:gd name="connsiteY9" fmla="*/ 60946 h 64333"/>
                <a:gd name="connsiteX10" fmla="*/ 24533 w 77200"/>
                <a:gd name="connsiteY10" fmla="*/ 58587 h 64333"/>
                <a:gd name="connsiteX11" fmla="*/ 69996 w 77200"/>
                <a:gd name="connsiteY11" fmla="*/ 56185 h 64333"/>
                <a:gd name="connsiteX12" fmla="*/ 71368 w 77200"/>
                <a:gd name="connsiteY12" fmla="*/ 6433 h 64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200" h="64333">
                  <a:moveTo>
                    <a:pt x="71368" y="6433"/>
                  </a:moveTo>
                  <a:lnTo>
                    <a:pt x="63133" y="9135"/>
                  </a:lnTo>
                  <a:lnTo>
                    <a:pt x="31181" y="9135"/>
                  </a:lnTo>
                  <a:cubicBezTo>
                    <a:pt x="28736" y="15912"/>
                    <a:pt x="24061" y="21616"/>
                    <a:pt x="18486" y="25948"/>
                  </a:cubicBezTo>
                  <a:cubicBezTo>
                    <a:pt x="16984" y="30065"/>
                    <a:pt x="13982" y="33582"/>
                    <a:pt x="9350" y="35384"/>
                  </a:cubicBezTo>
                  <a:cubicBezTo>
                    <a:pt x="8364" y="35770"/>
                    <a:pt x="7506" y="36284"/>
                    <a:pt x="6734" y="36756"/>
                  </a:cubicBezTo>
                  <a:cubicBezTo>
                    <a:pt x="6819" y="40873"/>
                    <a:pt x="6648" y="45205"/>
                    <a:pt x="6433" y="49666"/>
                  </a:cubicBezTo>
                  <a:cubicBezTo>
                    <a:pt x="6519" y="49923"/>
                    <a:pt x="6605" y="50180"/>
                    <a:pt x="6691" y="50481"/>
                  </a:cubicBezTo>
                  <a:cubicBezTo>
                    <a:pt x="7077" y="50566"/>
                    <a:pt x="7420" y="50738"/>
                    <a:pt x="7849" y="50781"/>
                  </a:cubicBezTo>
                  <a:cubicBezTo>
                    <a:pt x="12996" y="51167"/>
                    <a:pt x="11795" y="56013"/>
                    <a:pt x="9093" y="60946"/>
                  </a:cubicBezTo>
                  <a:cubicBezTo>
                    <a:pt x="17070" y="59487"/>
                    <a:pt x="22732" y="58587"/>
                    <a:pt x="24533" y="58587"/>
                  </a:cubicBezTo>
                  <a:cubicBezTo>
                    <a:pt x="32810" y="58587"/>
                    <a:pt x="69996" y="56185"/>
                    <a:pt x="69996" y="56185"/>
                  </a:cubicBezTo>
                  <a:cubicBezTo>
                    <a:pt x="69996" y="56185"/>
                    <a:pt x="72783" y="34440"/>
                    <a:pt x="71368" y="6433"/>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78" name="Freeform: Shape 115">
              <a:extLst>
                <a:ext uri="{FF2B5EF4-FFF2-40B4-BE49-F238E27FC236}">
                  <a16:creationId xmlns:a16="http://schemas.microsoft.com/office/drawing/2014/main" id="{C801F137-9FD9-222F-A523-FEAB57F40487}"/>
                </a:ext>
              </a:extLst>
            </p:cNvPr>
            <p:cNvSpPr/>
            <p:nvPr/>
          </p:nvSpPr>
          <p:spPr>
            <a:xfrm>
              <a:off x="7290921" y="4327309"/>
              <a:ext cx="177138" cy="268988"/>
            </a:xfrm>
            <a:custGeom>
              <a:avLst/>
              <a:gdLst>
                <a:gd name="connsiteX0" fmla="*/ 228557 w 231602"/>
                <a:gd name="connsiteY0" fmla="*/ 10851 h 351692"/>
                <a:gd name="connsiteX1" fmla="*/ 228557 w 231602"/>
                <a:gd name="connsiteY1" fmla="*/ 11151 h 351692"/>
                <a:gd name="connsiteX2" fmla="*/ 199693 w 231602"/>
                <a:gd name="connsiteY2" fmla="*/ 6433 h 351692"/>
                <a:gd name="connsiteX3" fmla="*/ 185282 w 231602"/>
                <a:gd name="connsiteY3" fmla="*/ 11151 h 351692"/>
                <a:gd name="connsiteX4" fmla="*/ 166754 w 231602"/>
                <a:gd name="connsiteY4" fmla="*/ 15912 h 351692"/>
                <a:gd name="connsiteX5" fmla="*/ 160578 w 231602"/>
                <a:gd name="connsiteY5" fmla="*/ 44519 h 351692"/>
                <a:gd name="connsiteX6" fmla="*/ 150284 w 231602"/>
                <a:gd name="connsiteY6" fmla="*/ 82648 h 351692"/>
                <a:gd name="connsiteX7" fmla="*/ 102934 w 231602"/>
                <a:gd name="connsiteY7" fmla="*/ 63605 h 351692"/>
                <a:gd name="connsiteX8" fmla="*/ 63991 w 231602"/>
                <a:gd name="connsiteY8" fmla="*/ 63691 h 351692"/>
                <a:gd name="connsiteX9" fmla="*/ 60474 w 231602"/>
                <a:gd name="connsiteY9" fmla="*/ 103492 h 351692"/>
                <a:gd name="connsiteX10" fmla="*/ 93499 w 231602"/>
                <a:gd name="connsiteY10" fmla="*/ 103492 h 351692"/>
                <a:gd name="connsiteX11" fmla="*/ 89382 w 231602"/>
                <a:gd name="connsiteY11" fmla="*/ 134501 h 351692"/>
                <a:gd name="connsiteX12" fmla="*/ 95558 w 231602"/>
                <a:gd name="connsiteY12" fmla="*/ 165553 h 351692"/>
                <a:gd name="connsiteX13" fmla="*/ 103792 w 231602"/>
                <a:gd name="connsiteY13" fmla="*/ 206126 h 351692"/>
                <a:gd name="connsiteX14" fmla="*/ 93456 w 231602"/>
                <a:gd name="connsiteY14" fmla="*/ 251503 h 351692"/>
                <a:gd name="connsiteX15" fmla="*/ 68666 w 231602"/>
                <a:gd name="connsiteY15" fmla="*/ 246700 h 351692"/>
                <a:gd name="connsiteX16" fmla="*/ 50095 w 231602"/>
                <a:gd name="connsiteY16" fmla="*/ 222810 h 351692"/>
                <a:gd name="connsiteX17" fmla="*/ 35641 w 231602"/>
                <a:gd name="connsiteY17" fmla="*/ 244298 h 351692"/>
                <a:gd name="connsiteX18" fmla="*/ 14968 w 231602"/>
                <a:gd name="connsiteY18" fmla="*/ 260982 h 351692"/>
                <a:gd name="connsiteX19" fmla="*/ 10851 w 231602"/>
                <a:gd name="connsiteY19" fmla="*/ 292033 h 351692"/>
                <a:gd name="connsiteX20" fmla="*/ 6433 w 231602"/>
                <a:gd name="connsiteY20" fmla="*/ 292720 h 351692"/>
                <a:gd name="connsiteX21" fmla="*/ 16985 w 231602"/>
                <a:gd name="connsiteY21" fmla="*/ 327975 h 351692"/>
                <a:gd name="connsiteX22" fmla="*/ 27063 w 231602"/>
                <a:gd name="connsiteY22" fmla="*/ 347060 h 351692"/>
                <a:gd name="connsiteX23" fmla="*/ 58372 w 231602"/>
                <a:gd name="connsiteY23" fmla="*/ 327846 h 351692"/>
                <a:gd name="connsiteX24" fmla="*/ 81061 w 231602"/>
                <a:gd name="connsiteY24" fmla="*/ 330248 h 351692"/>
                <a:gd name="connsiteX25" fmla="*/ 107910 w 231602"/>
                <a:gd name="connsiteY25" fmla="*/ 332649 h 351692"/>
                <a:gd name="connsiteX26" fmla="*/ 122363 w 231602"/>
                <a:gd name="connsiteY26" fmla="*/ 330248 h 351692"/>
                <a:gd name="connsiteX27" fmla="*/ 142993 w 231602"/>
                <a:gd name="connsiteY27" fmla="*/ 308717 h 351692"/>
                <a:gd name="connsiteX28" fmla="*/ 155388 w 231602"/>
                <a:gd name="connsiteY28" fmla="*/ 280110 h 351692"/>
                <a:gd name="connsiteX29" fmla="*/ 157447 w 231602"/>
                <a:gd name="connsiteY29" fmla="*/ 215647 h 351692"/>
                <a:gd name="connsiteX30" fmla="*/ 186354 w 231602"/>
                <a:gd name="connsiteY30" fmla="*/ 172673 h 351692"/>
                <a:gd name="connsiteX31" fmla="*/ 211102 w 231602"/>
                <a:gd name="connsiteY31" fmla="*/ 91483 h 351692"/>
                <a:gd name="connsiteX32" fmla="*/ 223496 w 231602"/>
                <a:gd name="connsiteY32" fmla="*/ 50867 h 351692"/>
                <a:gd name="connsiteX33" fmla="*/ 228557 w 231602"/>
                <a:gd name="connsiteY33" fmla="*/ 10851 h 351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1602" h="351692">
                  <a:moveTo>
                    <a:pt x="228557" y="10851"/>
                  </a:moveTo>
                  <a:lnTo>
                    <a:pt x="228557" y="11151"/>
                  </a:lnTo>
                  <a:lnTo>
                    <a:pt x="199693" y="6433"/>
                  </a:lnTo>
                  <a:lnTo>
                    <a:pt x="185282" y="11151"/>
                  </a:lnTo>
                  <a:lnTo>
                    <a:pt x="166754" y="15912"/>
                  </a:lnTo>
                  <a:cubicBezTo>
                    <a:pt x="166754" y="15912"/>
                    <a:pt x="168812" y="32596"/>
                    <a:pt x="160578" y="44519"/>
                  </a:cubicBezTo>
                  <a:cubicBezTo>
                    <a:pt x="152343" y="56442"/>
                    <a:pt x="150284" y="82648"/>
                    <a:pt x="150284" y="82648"/>
                  </a:cubicBezTo>
                  <a:cubicBezTo>
                    <a:pt x="150284" y="82648"/>
                    <a:pt x="113228" y="61203"/>
                    <a:pt x="102934" y="63605"/>
                  </a:cubicBezTo>
                  <a:cubicBezTo>
                    <a:pt x="98517" y="64591"/>
                    <a:pt x="81747" y="64334"/>
                    <a:pt x="63991" y="63691"/>
                  </a:cubicBezTo>
                  <a:cubicBezTo>
                    <a:pt x="62318" y="79645"/>
                    <a:pt x="60474" y="98302"/>
                    <a:pt x="60474" y="103492"/>
                  </a:cubicBezTo>
                  <a:cubicBezTo>
                    <a:pt x="60474" y="113013"/>
                    <a:pt x="83205" y="93928"/>
                    <a:pt x="93499" y="103492"/>
                  </a:cubicBezTo>
                  <a:cubicBezTo>
                    <a:pt x="103835" y="113013"/>
                    <a:pt x="101776" y="127381"/>
                    <a:pt x="89382" y="134501"/>
                  </a:cubicBezTo>
                  <a:cubicBezTo>
                    <a:pt x="76987" y="141663"/>
                    <a:pt x="85221" y="158347"/>
                    <a:pt x="95558" y="165553"/>
                  </a:cubicBezTo>
                  <a:cubicBezTo>
                    <a:pt x="105894" y="172716"/>
                    <a:pt x="103792" y="187040"/>
                    <a:pt x="103792" y="206126"/>
                  </a:cubicBezTo>
                  <a:cubicBezTo>
                    <a:pt x="103792" y="225212"/>
                    <a:pt x="103792" y="249101"/>
                    <a:pt x="93456" y="251503"/>
                  </a:cubicBezTo>
                  <a:cubicBezTo>
                    <a:pt x="83119" y="253862"/>
                    <a:pt x="76944" y="244341"/>
                    <a:pt x="68666" y="246700"/>
                  </a:cubicBezTo>
                  <a:cubicBezTo>
                    <a:pt x="60388" y="249058"/>
                    <a:pt x="58372" y="222810"/>
                    <a:pt x="50095" y="222810"/>
                  </a:cubicBezTo>
                  <a:cubicBezTo>
                    <a:pt x="41860" y="222810"/>
                    <a:pt x="45978" y="244298"/>
                    <a:pt x="35641" y="244298"/>
                  </a:cubicBezTo>
                  <a:cubicBezTo>
                    <a:pt x="25348" y="244298"/>
                    <a:pt x="8793" y="241896"/>
                    <a:pt x="14968" y="260982"/>
                  </a:cubicBezTo>
                  <a:cubicBezTo>
                    <a:pt x="21188" y="280110"/>
                    <a:pt x="27363" y="292033"/>
                    <a:pt x="10851" y="292033"/>
                  </a:cubicBezTo>
                  <a:cubicBezTo>
                    <a:pt x="9264" y="292033"/>
                    <a:pt x="7806" y="292291"/>
                    <a:pt x="6433" y="292720"/>
                  </a:cubicBezTo>
                  <a:cubicBezTo>
                    <a:pt x="10551" y="304257"/>
                    <a:pt x="13725" y="316223"/>
                    <a:pt x="16985" y="327975"/>
                  </a:cubicBezTo>
                  <a:cubicBezTo>
                    <a:pt x="21059" y="334193"/>
                    <a:pt x="24361" y="340627"/>
                    <a:pt x="27063" y="347060"/>
                  </a:cubicBezTo>
                  <a:cubicBezTo>
                    <a:pt x="40788" y="336210"/>
                    <a:pt x="54941" y="326560"/>
                    <a:pt x="58372" y="327846"/>
                  </a:cubicBezTo>
                  <a:cubicBezTo>
                    <a:pt x="64549" y="330248"/>
                    <a:pt x="68666" y="342171"/>
                    <a:pt x="81061" y="330248"/>
                  </a:cubicBezTo>
                  <a:cubicBezTo>
                    <a:pt x="93456" y="318282"/>
                    <a:pt x="107910" y="320684"/>
                    <a:pt x="107910" y="332649"/>
                  </a:cubicBezTo>
                  <a:cubicBezTo>
                    <a:pt x="107910" y="344573"/>
                    <a:pt x="112027" y="342171"/>
                    <a:pt x="122363" y="330248"/>
                  </a:cubicBezTo>
                  <a:cubicBezTo>
                    <a:pt x="132657" y="318282"/>
                    <a:pt x="142993" y="332607"/>
                    <a:pt x="142993" y="308717"/>
                  </a:cubicBezTo>
                  <a:cubicBezTo>
                    <a:pt x="142993" y="284871"/>
                    <a:pt x="155388" y="306358"/>
                    <a:pt x="155388" y="280110"/>
                  </a:cubicBezTo>
                  <a:cubicBezTo>
                    <a:pt x="155388" y="253862"/>
                    <a:pt x="157447" y="227571"/>
                    <a:pt x="157447" y="215647"/>
                  </a:cubicBezTo>
                  <a:cubicBezTo>
                    <a:pt x="157447" y="203724"/>
                    <a:pt x="186354" y="191801"/>
                    <a:pt x="186354" y="172673"/>
                  </a:cubicBezTo>
                  <a:cubicBezTo>
                    <a:pt x="186354" y="153587"/>
                    <a:pt x="211102" y="115373"/>
                    <a:pt x="211102" y="91483"/>
                  </a:cubicBezTo>
                  <a:cubicBezTo>
                    <a:pt x="211102" y="67594"/>
                    <a:pt x="217320" y="62833"/>
                    <a:pt x="223496" y="50867"/>
                  </a:cubicBezTo>
                  <a:cubicBezTo>
                    <a:pt x="227871" y="42632"/>
                    <a:pt x="231045" y="26377"/>
                    <a:pt x="228557" y="10851"/>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79" name="Freeform: Shape 117">
              <a:extLst>
                <a:ext uri="{FF2B5EF4-FFF2-40B4-BE49-F238E27FC236}">
                  <a16:creationId xmlns:a16="http://schemas.microsoft.com/office/drawing/2014/main" id="{53AD6DFE-BE69-2D8F-C652-C0DA88D3B344}"/>
                </a:ext>
              </a:extLst>
            </p:cNvPr>
            <p:cNvSpPr/>
            <p:nvPr/>
          </p:nvSpPr>
          <p:spPr>
            <a:xfrm>
              <a:off x="8047028" y="4057370"/>
              <a:ext cx="52485" cy="65607"/>
            </a:xfrm>
            <a:custGeom>
              <a:avLst/>
              <a:gdLst>
                <a:gd name="connsiteX0" fmla="*/ 26777 w 68622"/>
                <a:gd name="connsiteY0" fmla="*/ 15054 h 85778"/>
                <a:gd name="connsiteX1" fmla="*/ 10565 w 68622"/>
                <a:gd name="connsiteY1" fmla="*/ 41946 h 85778"/>
                <a:gd name="connsiteX2" fmla="*/ 9493 w 68622"/>
                <a:gd name="connsiteY2" fmla="*/ 74413 h 85778"/>
                <a:gd name="connsiteX3" fmla="*/ 28235 w 68622"/>
                <a:gd name="connsiteY3" fmla="*/ 73212 h 85778"/>
                <a:gd name="connsiteX4" fmla="*/ 43975 w 68622"/>
                <a:gd name="connsiteY4" fmla="*/ 79517 h 85778"/>
                <a:gd name="connsiteX5" fmla="*/ 57786 w 68622"/>
                <a:gd name="connsiteY5" fmla="*/ 60431 h 85778"/>
                <a:gd name="connsiteX6" fmla="*/ 39901 w 68622"/>
                <a:gd name="connsiteY6" fmla="*/ 51639 h 85778"/>
                <a:gd name="connsiteX7" fmla="*/ 59158 w 68622"/>
                <a:gd name="connsiteY7" fmla="*/ 33968 h 85778"/>
                <a:gd name="connsiteX8" fmla="*/ 56199 w 68622"/>
                <a:gd name="connsiteY8" fmla="*/ 11108 h 85778"/>
                <a:gd name="connsiteX9" fmla="*/ 51782 w 68622"/>
                <a:gd name="connsiteY9" fmla="*/ 6433 h 85778"/>
                <a:gd name="connsiteX10" fmla="*/ 42732 w 68622"/>
                <a:gd name="connsiteY10" fmla="*/ 13725 h 85778"/>
                <a:gd name="connsiteX11" fmla="*/ 26777 w 68622"/>
                <a:gd name="connsiteY11" fmla="*/ 15054 h 85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622" h="85778">
                  <a:moveTo>
                    <a:pt x="26777" y="15054"/>
                  </a:moveTo>
                  <a:cubicBezTo>
                    <a:pt x="24847" y="18700"/>
                    <a:pt x="16913" y="33497"/>
                    <a:pt x="10565" y="41946"/>
                  </a:cubicBezTo>
                  <a:cubicBezTo>
                    <a:pt x="3274" y="51553"/>
                    <a:pt x="7434" y="69609"/>
                    <a:pt x="9493" y="74413"/>
                  </a:cubicBezTo>
                  <a:cubicBezTo>
                    <a:pt x="11594" y="79259"/>
                    <a:pt x="22016" y="78016"/>
                    <a:pt x="28235" y="73212"/>
                  </a:cubicBezTo>
                  <a:cubicBezTo>
                    <a:pt x="33082" y="69481"/>
                    <a:pt x="36727" y="71625"/>
                    <a:pt x="43975" y="79517"/>
                  </a:cubicBezTo>
                  <a:cubicBezTo>
                    <a:pt x="47750" y="73212"/>
                    <a:pt x="52982" y="66135"/>
                    <a:pt x="57786" y="60431"/>
                  </a:cubicBezTo>
                  <a:cubicBezTo>
                    <a:pt x="49551" y="54898"/>
                    <a:pt x="41917" y="53955"/>
                    <a:pt x="39901" y="51639"/>
                  </a:cubicBezTo>
                  <a:cubicBezTo>
                    <a:pt x="36470" y="47650"/>
                    <a:pt x="49765" y="36242"/>
                    <a:pt x="59158" y="33968"/>
                  </a:cubicBezTo>
                  <a:cubicBezTo>
                    <a:pt x="68551" y="31695"/>
                    <a:pt x="64091" y="19129"/>
                    <a:pt x="56199" y="11108"/>
                  </a:cubicBezTo>
                  <a:cubicBezTo>
                    <a:pt x="54912" y="9779"/>
                    <a:pt x="53411" y="8149"/>
                    <a:pt x="51782" y="6433"/>
                  </a:cubicBezTo>
                  <a:cubicBezTo>
                    <a:pt x="47364" y="9436"/>
                    <a:pt x="43761" y="12095"/>
                    <a:pt x="42732" y="13725"/>
                  </a:cubicBezTo>
                  <a:cubicBezTo>
                    <a:pt x="40287" y="17499"/>
                    <a:pt x="34797" y="16126"/>
                    <a:pt x="26777" y="15054"/>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80" name="Freeform: Shape 259">
              <a:extLst>
                <a:ext uri="{FF2B5EF4-FFF2-40B4-BE49-F238E27FC236}">
                  <a16:creationId xmlns:a16="http://schemas.microsoft.com/office/drawing/2014/main" id="{495C1DFF-B9D4-BAF2-087C-366590A4513C}"/>
                </a:ext>
              </a:extLst>
            </p:cNvPr>
            <p:cNvSpPr/>
            <p:nvPr/>
          </p:nvSpPr>
          <p:spPr>
            <a:xfrm>
              <a:off x="7844577" y="4290276"/>
              <a:ext cx="213222" cy="291950"/>
            </a:xfrm>
            <a:custGeom>
              <a:avLst/>
              <a:gdLst>
                <a:gd name="connsiteX0" fmla="*/ 179320 w 278780"/>
                <a:gd name="connsiteY0" fmla="*/ 377253 h 381714"/>
                <a:gd name="connsiteX1" fmla="*/ 199693 w 278780"/>
                <a:gd name="connsiteY1" fmla="*/ 347874 h 381714"/>
                <a:gd name="connsiteX2" fmla="*/ 219636 w 278780"/>
                <a:gd name="connsiteY2" fmla="*/ 299323 h 381714"/>
                <a:gd name="connsiteX3" fmla="*/ 240866 w 278780"/>
                <a:gd name="connsiteY3" fmla="*/ 279337 h 381714"/>
                <a:gd name="connsiteX4" fmla="*/ 259137 w 278780"/>
                <a:gd name="connsiteY4" fmla="*/ 265612 h 381714"/>
                <a:gd name="connsiteX5" fmla="*/ 262011 w 278780"/>
                <a:gd name="connsiteY5" fmla="*/ 260937 h 381714"/>
                <a:gd name="connsiteX6" fmla="*/ 245455 w 278780"/>
                <a:gd name="connsiteY6" fmla="*/ 230614 h 381714"/>
                <a:gd name="connsiteX7" fmla="*/ 243740 w 278780"/>
                <a:gd name="connsiteY7" fmla="*/ 92211 h 381714"/>
                <a:gd name="connsiteX8" fmla="*/ 259137 w 278780"/>
                <a:gd name="connsiteY8" fmla="*/ 64547 h 381714"/>
                <a:gd name="connsiteX9" fmla="*/ 275092 w 278780"/>
                <a:gd name="connsiteY9" fmla="*/ 37527 h 381714"/>
                <a:gd name="connsiteX10" fmla="*/ 258451 w 278780"/>
                <a:gd name="connsiteY10" fmla="*/ 42931 h 381714"/>
                <a:gd name="connsiteX11" fmla="*/ 242153 w 278780"/>
                <a:gd name="connsiteY11" fmla="*/ 35211 h 381714"/>
                <a:gd name="connsiteX12" fmla="*/ 213246 w 278780"/>
                <a:gd name="connsiteY12" fmla="*/ 42030 h 381714"/>
                <a:gd name="connsiteX13" fmla="*/ 191029 w 278780"/>
                <a:gd name="connsiteY13" fmla="*/ 62574 h 381714"/>
                <a:gd name="connsiteX14" fmla="*/ 152515 w 278780"/>
                <a:gd name="connsiteY14" fmla="*/ 54897 h 381714"/>
                <a:gd name="connsiteX15" fmla="*/ 114000 w 278780"/>
                <a:gd name="connsiteY15" fmla="*/ 29206 h 381714"/>
                <a:gd name="connsiteX16" fmla="*/ 79903 w 278780"/>
                <a:gd name="connsiteY16" fmla="*/ 21486 h 381714"/>
                <a:gd name="connsiteX17" fmla="*/ 60646 w 278780"/>
                <a:gd name="connsiteY17" fmla="*/ 10335 h 381714"/>
                <a:gd name="connsiteX18" fmla="*/ 40616 w 278780"/>
                <a:gd name="connsiteY18" fmla="*/ 7762 h 381714"/>
                <a:gd name="connsiteX19" fmla="*/ 13982 w 278780"/>
                <a:gd name="connsiteY19" fmla="*/ 28348 h 381714"/>
                <a:gd name="connsiteX20" fmla="*/ 9693 w 278780"/>
                <a:gd name="connsiteY20" fmla="*/ 34653 h 381714"/>
                <a:gd name="connsiteX21" fmla="*/ 24919 w 278780"/>
                <a:gd name="connsiteY21" fmla="*/ 50651 h 381714"/>
                <a:gd name="connsiteX22" fmla="*/ 28350 w 278780"/>
                <a:gd name="connsiteY22" fmla="*/ 78314 h 381714"/>
                <a:gd name="connsiteX23" fmla="*/ 42032 w 278780"/>
                <a:gd name="connsiteY23" fmla="*/ 92168 h 381714"/>
                <a:gd name="connsiteX24" fmla="*/ 40359 w 278780"/>
                <a:gd name="connsiteY24" fmla="*/ 123820 h 381714"/>
                <a:gd name="connsiteX25" fmla="*/ 18099 w 278780"/>
                <a:gd name="connsiteY25" fmla="*/ 169283 h 381714"/>
                <a:gd name="connsiteX26" fmla="*/ 8192 w 278780"/>
                <a:gd name="connsiteY26" fmla="*/ 193258 h 381714"/>
                <a:gd name="connsiteX27" fmla="*/ 30280 w 278780"/>
                <a:gd name="connsiteY27" fmla="*/ 207325 h 381714"/>
                <a:gd name="connsiteX28" fmla="*/ 6605 w 278780"/>
                <a:gd name="connsiteY28" fmla="*/ 232158 h 381714"/>
                <a:gd name="connsiteX29" fmla="*/ 6433 w 278780"/>
                <a:gd name="connsiteY29" fmla="*/ 236061 h 381714"/>
                <a:gd name="connsiteX30" fmla="*/ 132614 w 278780"/>
                <a:gd name="connsiteY30" fmla="*/ 313519 h 381714"/>
                <a:gd name="connsiteX31" fmla="*/ 130941 w 278780"/>
                <a:gd name="connsiteY31" fmla="*/ 337280 h 381714"/>
                <a:gd name="connsiteX32" fmla="*/ 179320 w 278780"/>
                <a:gd name="connsiteY32" fmla="*/ 377253 h 38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78780" h="381714">
                  <a:moveTo>
                    <a:pt x="179320" y="377253"/>
                  </a:moveTo>
                  <a:cubicBezTo>
                    <a:pt x="185282" y="367131"/>
                    <a:pt x="192144" y="357438"/>
                    <a:pt x="199693" y="347874"/>
                  </a:cubicBezTo>
                  <a:cubicBezTo>
                    <a:pt x="208528" y="324370"/>
                    <a:pt x="216763" y="304427"/>
                    <a:pt x="219636" y="299323"/>
                  </a:cubicBezTo>
                  <a:cubicBezTo>
                    <a:pt x="227013" y="286199"/>
                    <a:pt x="234433" y="288515"/>
                    <a:pt x="240866" y="279337"/>
                  </a:cubicBezTo>
                  <a:cubicBezTo>
                    <a:pt x="247300" y="270201"/>
                    <a:pt x="249230" y="283926"/>
                    <a:pt x="259137" y="265612"/>
                  </a:cubicBezTo>
                  <a:cubicBezTo>
                    <a:pt x="259909" y="264240"/>
                    <a:pt x="260895" y="262567"/>
                    <a:pt x="262011" y="260937"/>
                  </a:cubicBezTo>
                  <a:lnTo>
                    <a:pt x="245455" y="230614"/>
                  </a:lnTo>
                  <a:lnTo>
                    <a:pt x="243740" y="92211"/>
                  </a:lnTo>
                  <a:lnTo>
                    <a:pt x="259137" y="64547"/>
                  </a:lnTo>
                  <a:lnTo>
                    <a:pt x="275092" y="37527"/>
                  </a:lnTo>
                  <a:cubicBezTo>
                    <a:pt x="267586" y="39457"/>
                    <a:pt x="260853" y="41558"/>
                    <a:pt x="258451" y="42931"/>
                  </a:cubicBezTo>
                  <a:cubicBezTo>
                    <a:pt x="252532" y="46362"/>
                    <a:pt x="244383" y="41215"/>
                    <a:pt x="242153" y="35211"/>
                  </a:cubicBezTo>
                  <a:cubicBezTo>
                    <a:pt x="239923" y="29206"/>
                    <a:pt x="225126" y="34353"/>
                    <a:pt x="213246" y="42030"/>
                  </a:cubicBezTo>
                  <a:cubicBezTo>
                    <a:pt x="201408" y="49750"/>
                    <a:pt x="195489" y="66048"/>
                    <a:pt x="191029" y="62574"/>
                  </a:cubicBezTo>
                  <a:cubicBezTo>
                    <a:pt x="186568" y="59143"/>
                    <a:pt x="159934" y="54897"/>
                    <a:pt x="152515" y="54897"/>
                  </a:cubicBezTo>
                  <a:cubicBezTo>
                    <a:pt x="145094" y="54897"/>
                    <a:pt x="121420" y="36926"/>
                    <a:pt x="114000" y="29206"/>
                  </a:cubicBezTo>
                  <a:cubicBezTo>
                    <a:pt x="106580" y="21486"/>
                    <a:pt x="85092" y="24917"/>
                    <a:pt x="79903" y="21486"/>
                  </a:cubicBezTo>
                  <a:cubicBezTo>
                    <a:pt x="74713" y="18055"/>
                    <a:pt x="64377" y="15482"/>
                    <a:pt x="60646" y="10335"/>
                  </a:cubicBezTo>
                  <a:cubicBezTo>
                    <a:pt x="56914" y="5188"/>
                    <a:pt x="48079" y="6046"/>
                    <a:pt x="40616" y="7762"/>
                  </a:cubicBezTo>
                  <a:cubicBezTo>
                    <a:pt x="33239" y="9477"/>
                    <a:pt x="15440" y="21486"/>
                    <a:pt x="13982" y="28348"/>
                  </a:cubicBezTo>
                  <a:cubicBezTo>
                    <a:pt x="13510" y="30536"/>
                    <a:pt x="11795" y="32637"/>
                    <a:pt x="9693" y="34653"/>
                  </a:cubicBezTo>
                  <a:lnTo>
                    <a:pt x="24919" y="50651"/>
                  </a:lnTo>
                  <a:lnTo>
                    <a:pt x="28350" y="78314"/>
                  </a:lnTo>
                  <a:lnTo>
                    <a:pt x="42032" y="92168"/>
                  </a:lnTo>
                  <a:cubicBezTo>
                    <a:pt x="42032" y="92168"/>
                    <a:pt x="42032" y="107994"/>
                    <a:pt x="40359" y="123820"/>
                  </a:cubicBezTo>
                  <a:cubicBezTo>
                    <a:pt x="38643" y="139603"/>
                    <a:pt x="26677" y="159375"/>
                    <a:pt x="18099" y="169283"/>
                  </a:cubicBezTo>
                  <a:cubicBezTo>
                    <a:pt x="15569" y="172199"/>
                    <a:pt x="12009" y="181592"/>
                    <a:pt x="8192" y="193258"/>
                  </a:cubicBezTo>
                  <a:cubicBezTo>
                    <a:pt x="21273" y="197032"/>
                    <a:pt x="31009" y="202779"/>
                    <a:pt x="30280" y="207325"/>
                  </a:cubicBezTo>
                  <a:cubicBezTo>
                    <a:pt x="28821" y="216761"/>
                    <a:pt x="6605" y="212472"/>
                    <a:pt x="6605" y="232158"/>
                  </a:cubicBezTo>
                  <a:cubicBezTo>
                    <a:pt x="6605" y="233488"/>
                    <a:pt x="6519" y="234775"/>
                    <a:pt x="6433" y="236061"/>
                  </a:cubicBezTo>
                  <a:lnTo>
                    <a:pt x="132614" y="313519"/>
                  </a:lnTo>
                  <a:lnTo>
                    <a:pt x="130941" y="337280"/>
                  </a:lnTo>
                  <a:cubicBezTo>
                    <a:pt x="130941" y="337366"/>
                    <a:pt x="154316" y="357095"/>
                    <a:pt x="179320" y="377253"/>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81" name="Freeform: Shape 260">
              <a:extLst>
                <a:ext uri="{FF2B5EF4-FFF2-40B4-BE49-F238E27FC236}">
                  <a16:creationId xmlns:a16="http://schemas.microsoft.com/office/drawing/2014/main" id="{42EEA7F3-A462-F0DD-1DBD-38F572198907}"/>
                </a:ext>
              </a:extLst>
            </p:cNvPr>
            <p:cNvSpPr/>
            <p:nvPr/>
          </p:nvSpPr>
          <p:spPr>
            <a:xfrm>
              <a:off x="7732324" y="4311893"/>
              <a:ext cx="147615" cy="173858"/>
            </a:xfrm>
            <a:custGeom>
              <a:avLst/>
              <a:gdLst>
                <a:gd name="connsiteX0" fmla="*/ 175160 w 193001"/>
                <a:gd name="connsiteY0" fmla="*/ 50095 h 227313"/>
                <a:gd name="connsiteX1" fmla="*/ 171728 w 193001"/>
                <a:gd name="connsiteY1" fmla="*/ 22431 h 227313"/>
                <a:gd name="connsiteX2" fmla="*/ 156503 w 193001"/>
                <a:gd name="connsiteY2" fmla="*/ 6433 h 227313"/>
                <a:gd name="connsiteX3" fmla="*/ 145223 w 193001"/>
                <a:gd name="connsiteY3" fmla="*/ 18957 h 227313"/>
                <a:gd name="connsiteX4" fmla="*/ 124508 w 193001"/>
                <a:gd name="connsiteY4" fmla="*/ 20673 h 227313"/>
                <a:gd name="connsiteX5" fmla="*/ 100061 w 193001"/>
                <a:gd name="connsiteY5" fmla="*/ 30108 h 227313"/>
                <a:gd name="connsiteX6" fmla="*/ 79345 w 193001"/>
                <a:gd name="connsiteY6" fmla="*/ 21573 h 227313"/>
                <a:gd name="connsiteX7" fmla="*/ 54169 w 193001"/>
                <a:gd name="connsiteY7" fmla="*/ 30108 h 227313"/>
                <a:gd name="connsiteX8" fmla="*/ 51210 w 193001"/>
                <a:gd name="connsiteY8" fmla="*/ 63519 h 227313"/>
                <a:gd name="connsiteX9" fmla="*/ 62318 w 193001"/>
                <a:gd name="connsiteY9" fmla="*/ 82347 h 227313"/>
                <a:gd name="connsiteX10" fmla="*/ 52668 w 193001"/>
                <a:gd name="connsiteY10" fmla="*/ 102034 h 227313"/>
                <a:gd name="connsiteX11" fmla="*/ 38600 w 193001"/>
                <a:gd name="connsiteY11" fmla="*/ 113185 h 227313"/>
                <a:gd name="connsiteX12" fmla="*/ 26034 w 193001"/>
                <a:gd name="connsiteY12" fmla="*/ 134586 h 227313"/>
                <a:gd name="connsiteX13" fmla="*/ 17885 w 193001"/>
                <a:gd name="connsiteY13" fmla="*/ 162036 h 227313"/>
                <a:gd name="connsiteX14" fmla="*/ 11966 w 193001"/>
                <a:gd name="connsiteY14" fmla="*/ 195404 h 227313"/>
                <a:gd name="connsiteX15" fmla="*/ 6433 w 193001"/>
                <a:gd name="connsiteY15" fmla="*/ 223496 h 227313"/>
                <a:gd name="connsiteX16" fmla="*/ 23074 w 193001"/>
                <a:gd name="connsiteY16" fmla="*/ 220108 h 227313"/>
                <a:gd name="connsiteX17" fmla="*/ 57257 w 193001"/>
                <a:gd name="connsiteY17" fmla="*/ 208270 h 227313"/>
                <a:gd name="connsiteX18" fmla="*/ 85092 w 193001"/>
                <a:gd name="connsiteY18" fmla="*/ 205654 h 227313"/>
                <a:gd name="connsiteX19" fmla="*/ 110440 w 193001"/>
                <a:gd name="connsiteY19" fmla="*/ 163751 h 227313"/>
                <a:gd name="connsiteX20" fmla="*/ 155002 w 193001"/>
                <a:gd name="connsiteY20" fmla="*/ 165081 h 227313"/>
                <a:gd name="connsiteX21" fmla="*/ 164909 w 193001"/>
                <a:gd name="connsiteY21" fmla="*/ 141106 h 227313"/>
                <a:gd name="connsiteX22" fmla="*/ 187169 w 193001"/>
                <a:gd name="connsiteY22" fmla="*/ 95643 h 227313"/>
                <a:gd name="connsiteX23" fmla="*/ 188842 w 193001"/>
                <a:gd name="connsiteY23" fmla="*/ 63991 h 227313"/>
                <a:gd name="connsiteX24" fmla="*/ 175160 w 193001"/>
                <a:gd name="connsiteY24" fmla="*/ 50095 h 22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3001" h="227313">
                  <a:moveTo>
                    <a:pt x="175160" y="50095"/>
                  </a:moveTo>
                  <a:lnTo>
                    <a:pt x="171728" y="22431"/>
                  </a:lnTo>
                  <a:lnTo>
                    <a:pt x="156503" y="6433"/>
                  </a:lnTo>
                  <a:cubicBezTo>
                    <a:pt x="152042" y="10765"/>
                    <a:pt x="145695" y="14882"/>
                    <a:pt x="145223" y="18957"/>
                  </a:cubicBezTo>
                  <a:cubicBezTo>
                    <a:pt x="144494" y="24962"/>
                    <a:pt x="130427" y="24104"/>
                    <a:pt x="124508" y="20673"/>
                  </a:cubicBezTo>
                  <a:cubicBezTo>
                    <a:pt x="118589" y="17241"/>
                    <a:pt x="103020" y="24962"/>
                    <a:pt x="100061" y="30108"/>
                  </a:cubicBezTo>
                  <a:cubicBezTo>
                    <a:pt x="97101" y="35255"/>
                    <a:pt x="86722" y="20673"/>
                    <a:pt x="79345" y="21573"/>
                  </a:cubicBezTo>
                  <a:cubicBezTo>
                    <a:pt x="71925" y="22431"/>
                    <a:pt x="54169" y="30108"/>
                    <a:pt x="54169" y="30108"/>
                  </a:cubicBezTo>
                  <a:cubicBezTo>
                    <a:pt x="54169" y="30108"/>
                    <a:pt x="51210" y="54083"/>
                    <a:pt x="51210" y="63519"/>
                  </a:cubicBezTo>
                  <a:cubicBezTo>
                    <a:pt x="51210" y="72912"/>
                    <a:pt x="62318" y="74670"/>
                    <a:pt x="62318" y="82347"/>
                  </a:cubicBezTo>
                  <a:cubicBezTo>
                    <a:pt x="62318" y="90068"/>
                    <a:pt x="53440" y="96887"/>
                    <a:pt x="52668" y="102034"/>
                  </a:cubicBezTo>
                  <a:cubicBezTo>
                    <a:pt x="51939" y="107180"/>
                    <a:pt x="46020" y="110611"/>
                    <a:pt x="38600" y="113185"/>
                  </a:cubicBezTo>
                  <a:cubicBezTo>
                    <a:pt x="31224" y="115758"/>
                    <a:pt x="31952" y="129483"/>
                    <a:pt x="26034" y="134586"/>
                  </a:cubicBezTo>
                  <a:cubicBezTo>
                    <a:pt x="20072" y="139733"/>
                    <a:pt x="21573" y="152600"/>
                    <a:pt x="17885" y="162036"/>
                  </a:cubicBezTo>
                  <a:cubicBezTo>
                    <a:pt x="14196" y="171429"/>
                    <a:pt x="11966" y="184295"/>
                    <a:pt x="11966" y="195404"/>
                  </a:cubicBezTo>
                  <a:cubicBezTo>
                    <a:pt x="11966" y="204367"/>
                    <a:pt x="10979" y="216977"/>
                    <a:pt x="6433" y="223496"/>
                  </a:cubicBezTo>
                  <a:cubicBezTo>
                    <a:pt x="15869" y="224611"/>
                    <a:pt x="18314" y="222896"/>
                    <a:pt x="23074" y="220108"/>
                  </a:cubicBezTo>
                  <a:cubicBezTo>
                    <a:pt x="29894" y="216162"/>
                    <a:pt x="57257" y="208270"/>
                    <a:pt x="57257" y="208270"/>
                  </a:cubicBezTo>
                  <a:lnTo>
                    <a:pt x="85092" y="205654"/>
                  </a:lnTo>
                  <a:cubicBezTo>
                    <a:pt x="91269" y="185496"/>
                    <a:pt x="100446" y="167182"/>
                    <a:pt x="110440" y="163751"/>
                  </a:cubicBezTo>
                  <a:cubicBezTo>
                    <a:pt x="123436" y="159334"/>
                    <a:pt x="141106" y="161092"/>
                    <a:pt x="155002" y="165081"/>
                  </a:cubicBezTo>
                  <a:cubicBezTo>
                    <a:pt x="158819" y="153415"/>
                    <a:pt x="162379" y="144022"/>
                    <a:pt x="164909" y="141106"/>
                  </a:cubicBezTo>
                  <a:cubicBezTo>
                    <a:pt x="173487" y="131199"/>
                    <a:pt x="185453" y="111426"/>
                    <a:pt x="187169" y="95643"/>
                  </a:cubicBezTo>
                  <a:cubicBezTo>
                    <a:pt x="188842" y="79817"/>
                    <a:pt x="188842" y="63991"/>
                    <a:pt x="188842" y="63991"/>
                  </a:cubicBezTo>
                  <a:lnTo>
                    <a:pt x="175160" y="50095"/>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82" name="Freeform: Shape 282">
              <a:extLst>
                <a:ext uri="{FF2B5EF4-FFF2-40B4-BE49-F238E27FC236}">
                  <a16:creationId xmlns:a16="http://schemas.microsoft.com/office/drawing/2014/main" id="{0811424A-CD99-76C8-77F9-2E09423A4434}"/>
                </a:ext>
              </a:extLst>
            </p:cNvPr>
            <p:cNvSpPr/>
            <p:nvPr/>
          </p:nvSpPr>
          <p:spPr>
            <a:xfrm>
              <a:off x="8089126" y="4794298"/>
              <a:ext cx="186979" cy="426444"/>
            </a:xfrm>
            <a:custGeom>
              <a:avLst/>
              <a:gdLst>
                <a:gd name="connsiteX0" fmla="*/ 225855 w 244469"/>
                <a:gd name="connsiteY0" fmla="*/ 77158 h 557560"/>
                <a:gd name="connsiteX1" fmla="*/ 202137 w 244469"/>
                <a:gd name="connsiteY1" fmla="*/ 13210 h 557560"/>
                <a:gd name="connsiteX2" fmla="*/ 190300 w 244469"/>
                <a:gd name="connsiteY2" fmla="*/ 24575 h 557560"/>
                <a:gd name="connsiteX3" fmla="*/ 185325 w 244469"/>
                <a:gd name="connsiteY3" fmla="*/ 51982 h 557560"/>
                <a:gd name="connsiteX4" fmla="*/ 165596 w 244469"/>
                <a:gd name="connsiteY4" fmla="*/ 69137 h 557560"/>
                <a:gd name="connsiteX5" fmla="*/ 148826 w 244469"/>
                <a:gd name="connsiteY5" fmla="*/ 86250 h 557560"/>
                <a:gd name="connsiteX6" fmla="*/ 147839 w 244469"/>
                <a:gd name="connsiteY6" fmla="*/ 106794 h 557560"/>
                <a:gd name="connsiteX7" fmla="*/ 123135 w 244469"/>
                <a:gd name="connsiteY7" fmla="*/ 130812 h 557560"/>
                <a:gd name="connsiteX8" fmla="*/ 76729 w 244469"/>
                <a:gd name="connsiteY8" fmla="*/ 158219 h 557560"/>
                <a:gd name="connsiteX9" fmla="*/ 34269 w 244469"/>
                <a:gd name="connsiteY9" fmla="*/ 167397 h 557560"/>
                <a:gd name="connsiteX10" fmla="*/ 20415 w 244469"/>
                <a:gd name="connsiteY10" fmla="*/ 218778 h 557560"/>
                <a:gd name="connsiteX11" fmla="*/ 24361 w 244469"/>
                <a:gd name="connsiteY11" fmla="*/ 288388 h 557560"/>
                <a:gd name="connsiteX12" fmla="*/ 16469 w 244469"/>
                <a:gd name="connsiteY12" fmla="*/ 367218 h 557560"/>
                <a:gd name="connsiteX13" fmla="*/ 6433 w 244469"/>
                <a:gd name="connsiteY13" fmla="*/ 384631 h 557560"/>
                <a:gd name="connsiteX14" fmla="*/ 9864 w 244469"/>
                <a:gd name="connsiteY14" fmla="*/ 482848 h 557560"/>
                <a:gd name="connsiteX15" fmla="*/ 11451 w 244469"/>
                <a:gd name="connsiteY15" fmla="*/ 490997 h 557560"/>
                <a:gd name="connsiteX16" fmla="*/ 11880 w 244469"/>
                <a:gd name="connsiteY16" fmla="*/ 492926 h 557560"/>
                <a:gd name="connsiteX17" fmla="*/ 29894 w 244469"/>
                <a:gd name="connsiteY17" fmla="*/ 537531 h 557560"/>
                <a:gd name="connsiteX18" fmla="*/ 84621 w 244469"/>
                <a:gd name="connsiteY18" fmla="*/ 549969 h 557560"/>
                <a:gd name="connsiteX19" fmla="*/ 86207 w 244469"/>
                <a:gd name="connsiteY19" fmla="*/ 548383 h 557560"/>
                <a:gd name="connsiteX20" fmla="*/ 126866 w 244469"/>
                <a:gd name="connsiteY20" fmla="*/ 485250 h 557560"/>
                <a:gd name="connsiteX21" fmla="*/ 145652 w 244469"/>
                <a:gd name="connsiteY21" fmla="*/ 454712 h 557560"/>
                <a:gd name="connsiteX22" fmla="*/ 151270 w 244469"/>
                <a:gd name="connsiteY22" fmla="*/ 433396 h 557560"/>
                <a:gd name="connsiteX23" fmla="*/ 151356 w 244469"/>
                <a:gd name="connsiteY23" fmla="*/ 411437 h 557560"/>
                <a:gd name="connsiteX24" fmla="*/ 151099 w 244469"/>
                <a:gd name="connsiteY24" fmla="*/ 409979 h 557560"/>
                <a:gd name="connsiteX25" fmla="*/ 169713 w 244469"/>
                <a:gd name="connsiteY25" fmla="*/ 344272 h 557560"/>
                <a:gd name="connsiteX26" fmla="*/ 181293 w 244469"/>
                <a:gd name="connsiteY26" fmla="*/ 324843 h 557560"/>
                <a:gd name="connsiteX27" fmla="*/ 204153 w 244469"/>
                <a:gd name="connsiteY27" fmla="*/ 222252 h 557560"/>
                <a:gd name="connsiteX28" fmla="*/ 210072 w 244469"/>
                <a:gd name="connsiteY28" fmla="*/ 178848 h 557560"/>
                <a:gd name="connsiteX29" fmla="*/ 218950 w 244469"/>
                <a:gd name="connsiteY29" fmla="*/ 154873 h 557560"/>
                <a:gd name="connsiteX30" fmla="*/ 238722 w 244469"/>
                <a:gd name="connsiteY30" fmla="*/ 150327 h 557560"/>
                <a:gd name="connsiteX31" fmla="*/ 225855 w 244469"/>
                <a:gd name="connsiteY31" fmla="*/ 77158 h 55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44469" h="557560">
                  <a:moveTo>
                    <a:pt x="225855" y="77158"/>
                  </a:moveTo>
                  <a:cubicBezTo>
                    <a:pt x="224868" y="50909"/>
                    <a:pt x="205139" y="25776"/>
                    <a:pt x="202137" y="13210"/>
                  </a:cubicBezTo>
                  <a:cubicBezTo>
                    <a:pt x="197720" y="-5533"/>
                    <a:pt x="194202" y="20072"/>
                    <a:pt x="190300" y="24575"/>
                  </a:cubicBezTo>
                  <a:cubicBezTo>
                    <a:pt x="186311" y="29164"/>
                    <a:pt x="184381" y="42846"/>
                    <a:pt x="185325" y="51982"/>
                  </a:cubicBezTo>
                  <a:cubicBezTo>
                    <a:pt x="186311" y="61160"/>
                    <a:pt x="173487" y="70253"/>
                    <a:pt x="165596" y="69137"/>
                  </a:cubicBezTo>
                  <a:cubicBezTo>
                    <a:pt x="157704" y="67979"/>
                    <a:pt x="144837" y="73726"/>
                    <a:pt x="148826" y="86250"/>
                  </a:cubicBezTo>
                  <a:cubicBezTo>
                    <a:pt x="152729" y="98817"/>
                    <a:pt x="142907" y="96544"/>
                    <a:pt x="147839" y="106794"/>
                  </a:cubicBezTo>
                  <a:cubicBezTo>
                    <a:pt x="152772" y="117087"/>
                    <a:pt x="136988" y="129654"/>
                    <a:pt x="123135" y="130812"/>
                  </a:cubicBezTo>
                  <a:cubicBezTo>
                    <a:pt x="109325" y="131970"/>
                    <a:pt x="91569" y="160534"/>
                    <a:pt x="76729" y="158219"/>
                  </a:cubicBezTo>
                  <a:cubicBezTo>
                    <a:pt x="61889" y="155945"/>
                    <a:pt x="47092" y="169627"/>
                    <a:pt x="34269" y="167397"/>
                  </a:cubicBezTo>
                  <a:cubicBezTo>
                    <a:pt x="21402" y="165081"/>
                    <a:pt x="30323" y="198234"/>
                    <a:pt x="20415" y="218778"/>
                  </a:cubicBezTo>
                  <a:cubicBezTo>
                    <a:pt x="10551" y="239322"/>
                    <a:pt x="15483" y="263297"/>
                    <a:pt x="24361" y="288388"/>
                  </a:cubicBezTo>
                  <a:cubicBezTo>
                    <a:pt x="33239" y="313521"/>
                    <a:pt x="40187" y="334065"/>
                    <a:pt x="16469" y="367218"/>
                  </a:cubicBezTo>
                  <a:cubicBezTo>
                    <a:pt x="12395" y="372965"/>
                    <a:pt x="9093" y="378798"/>
                    <a:pt x="6433" y="384631"/>
                  </a:cubicBezTo>
                  <a:cubicBezTo>
                    <a:pt x="11365" y="417441"/>
                    <a:pt x="4632" y="450766"/>
                    <a:pt x="9864" y="482848"/>
                  </a:cubicBezTo>
                  <a:cubicBezTo>
                    <a:pt x="10422" y="485550"/>
                    <a:pt x="10936" y="488252"/>
                    <a:pt x="11451" y="490997"/>
                  </a:cubicBezTo>
                  <a:cubicBezTo>
                    <a:pt x="11623" y="491640"/>
                    <a:pt x="11709" y="492283"/>
                    <a:pt x="11880" y="492926"/>
                  </a:cubicBezTo>
                  <a:cubicBezTo>
                    <a:pt x="15783" y="508324"/>
                    <a:pt x="22474" y="523035"/>
                    <a:pt x="29894" y="537531"/>
                  </a:cubicBezTo>
                  <a:cubicBezTo>
                    <a:pt x="45119" y="551299"/>
                    <a:pt x="74842" y="561292"/>
                    <a:pt x="84621" y="549969"/>
                  </a:cubicBezTo>
                  <a:cubicBezTo>
                    <a:pt x="85135" y="549369"/>
                    <a:pt x="85693" y="548854"/>
                    <a:pt x="86207" y="548383"/>
                  </a:cubicBezTo>
                  <a:cubicBezTo>
                    <a:pt x="102033" y="528911"/>
                    <a:pt x="114857" y="505364"/>
                    <a:pt x="126866" y="485250"/>
                  </a:cubicBezTo>
                  <a:cubicBezTo>
                    <a:pt x="133000" y="474956"/>
                    <a:pt x="139261" y="464791"/>
                    <a:pt x="145652" y="454712"/>
                  </a:cubicBezTo>
                  <a:cubicBezTo>
                    <a:pt x="147496" y="447721"/>
                    <a:pt x="149383" y="440559"/>
                    <a:pt x="151270" y="433396"/>
                  </a:cubicBezTo>
                  <a:cubicBezTo>
                    <a:pt x="149469" y="426277"/>
                    <a:pt x="149512" y="418556"/>
                    <a:pt x="151356" y="411437"/>
                  </a:cubicBezTo>
                  <a:cubicBezTo>
                    <a:pt x="151270" y="410922"/>
                    <a:pt x="151142" y="410493"/>
                    <a:pt x="151099" y="409979"/>
                  </a:cubicBezTo>
                  <a:cubicBezTo>
                    <a:pt x="148354" y="384717"/>
                    <a:pt x="155345" y="364344"/>
                    <a:pt x="169713" y="344272"/>
                  </a:cubicBezTo>
                  <a:cubicBezTo>
                    <a:pt x="174173" y="338010"/>
                    <a:pt x="177905" y="331492"/>
                    <a:pt x="181293" y="324843"/>
                  </a:cubicBezTo>
                  <a:cubicBezTo>
                    <a:pt x="194159" y="278780"/>
                    <a:pt x="205611" y="234047"/>
                    <a:pt x="204153" y="222252"/>
                  </a:cubicBezTo>
                  <a:cubicBezTo>
                    <a:pt x="202180" y="206254"/>
                    <a:pt x="216033" y="195961"/>
                    <a:pt x="210072" y="178848"/>
                  </a:cubicBezTo>
                  <a:cubicBezTo>
                    <a:pt x="204153" y="161692"/>
                    <a:pt x="212044" y="141149"/>
                    <a:pt x="218950" y="154873"/>
                  </a:cubicBezTo>
                  <a:cubicBezTo>
                    <a:pt x="225898" y="168597"/>
                    <a:pt x="235762" y="168597"/>
                    <a:pt x="238722" y="150327"/>
                  </a:cubicBezTo>
                  <a:cubicBezTo>
                    <a:pt x="241638" y="131970"/>
                    <a:pt x="226842" y="103449"/>
                    <a:pt x="225855" y="77158"/>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83" name="Freeform: Shape 347">
              <a:extLst>
                <a:ext uri="{FF2B5EF4-FFF2-40B4-BE49-F238E27FC236}">
                  <a16:creationId xmlns:a16="http://schemas.microsoft.com/office/drawing/2014/main" id="{77079F61-E700-7F11-3020-D75592D2695D}"/>
                </a:ext>
              </a:extLst>
            </p:cNvPr>
            <p:cNvSpPr/>
            <p:nvPr/>
          </p:nvSpPr>
          <p:spPr>
            <a:xfrm>
              <a:off x="7306766" y="4277671"/>
              <a:ext cx="475649" cy="567499"/>
            </a:xfrm>
            <a:custGeom>
              <a:avLst/>
              <a:gdLst>
                <a:gd name="connsiteX0" fmla="*/ 566825 w 621894"/>
                <a:gd name="connsiteY0" fmla="*/ 488519 h 741984"/>
                <a:gd name="connsiteX1" fmla="*/ 551985 w 621894"/>
                <a:gd name="connsiteY1" fmla="*/ 345483 h 741984"/>
                <a:gd name="connsiteX2" fmla="*/ 555116 w 621894"/>
                <a:gd name="connsiteY2" fmla="*/ 349086 h 741984"/>
                <a:gd name="connsiteX3" fmla="*/ 553486 w 621894"/>
                <a:gd name="connsiteY3" fmla="*/ 319792 h 741984"/>
                <a:gd name="connsiteX4" fmla="*/ 551299 w 621894"/>
                <a:gd name="connsiteY4" fmla="*/ 318978 h 741984"/>
                <a:gd name="connsiteX5" fmla="*/ 544608 w 621894"/>
                <a:gd name="connsiteY5" fmla="*/ 307784 h 741984"/>
                <a:gd name="connsiteX6" fmla="*/ 551985 w 621894"/>
                <a:gd name="connsiteY6" fmla="*/ 296632 h 741984"/>
                <a:gd name="connsiteX7" fmla="*/ 558676 w 621894"/>
                <a:gd name="connsiteY7" fmla="*/ 271799 h 741984"/>
                <a:gd name="connsiteX8" fmla="*/ 562750 w 621894"/>
                <a:gd name="connsiteY8" fmla="*/ 268197 h 741984"/>
                <a:gd name="connsiteX9" fmla="*/ 568283 w 621894"/>
                <a:gd name="connsiteY9" fmla="*/ 240104 h 741984"/>
                <a:gd name="connsiteX10" fmla="*/ 574202 w 621894"/>
                <a:gd name="connsiteY10" fmla="*/ 206736 h 741984"/>
                <a:gd name="connsiteX11" fmla="*/ 582351 w 621894"/>
                <a:gd name="connsiteY11" fmla="*/ 179287 h 741984"/>
                <a:gd name="connsiteX12" fmla="*/ 594917 w 621894"/>
                <a:gd name="connsiteY12" fmla="*/ 157885 h 741984"/>
                <a:gd name="connsiteX13" fmla="*/ 608985 w 621894"/>
                <a:gd name="connsiteY13" fmla="*/ 146734 h 741984"/>
                <a:gd name="connsiteX14" fmla="*/ 618635 w 621894"/>
                <a:gd name="connsiteY14" fmla="*/ 127048 h 741984"/>
                <a:gd name="connsiteX15" fmla="*/ 607527 w 621894"/>
                <a:gd name="connsiteY15" fmla="*/ 108220 h 741984"/>
                <a:gd name="connsiteX16" fmla="*/ 610486 w 621894"/>
                <a:gd name="connsiteY16" fmla="*/ 74809 h 741984"/>
                <a:gd name="connsiteX17" fmla="*/ 610958 w 621894"/>
                <a:gd name="connsiteY17" fmla="*/ 74637 h 741984"/>
                <a:gd name="connsiteX18" fmla="*/ 572358 w 621894"/>
                <a:gd name="connsiteY18" fmla="*/ 36980 h 741984"/>
                <a:gd name="connsiteX19" fmla="*/ 555845 w 621894"/>
                <a:gd name="connsiteY19" fmla="*/ 41784 h 741984"/>
                <a:gd name="connsiteX20" fmla="*/ 537274 w 621894"/>
                <a:gd name="connsiteY20" fmla="*/ 39382 h 741984"/>
                <a:gd name="connsiteX21" fmla="*/ 516644 w 621894"/>
                <a:gd name="connsiteY21" fmla="*/ 39382 h 741984"/>
                <a:gd name="connsiteX22" fmla="*/ 502191 w 621894"/>
                <a:gd name="connsiteY22" fmla="*/ 20254 h 741984"/>
                <a:gd name="connsiteX23" fmla="*/ 493527 w 621894"/>
                <a:gd name="connsiteY23" fmla="*/ 10175 h 741984"/>
                <a:gd name="connsiteX24" fmla="*/ 494042 w 621894"/>
                <a:gd name="connsiteY24" fmla="*/ 11719 h 741984"/>
                <a:gd name="connsiteX25" fmla="*/ 469337 w 621894"/>
                <a:gd name="connsiteY25" fmla="*/ 16522 h 741984"/>
                <a:gd name="connsiteX26" fmla="*/ 432281 w 621894"/>
                <a:gd name="connsiteY26" fmla="*/ 11719 h 741984"/>
                <a:gd name="connsiteX27" fmla="*/ 405518 w 621894"/>
                <a:gd name="connsiteY27" fmla="*/ 16522 h 741984"/>
                <a:gd name="connsiteX28" fmla="*/ 370478 w 621894"/>
                <a:gd name="connsiteY28" fmla="*/ 28403 h 741984"/>
                <a:gd name="connsiteX29" fmla="*/ 343715 w 621894"/>
                <a:gd name="connsiteY29" fmla="*/ 28403 h 741984"/>
                <a:gd name="connsiteX30" fmla="*/ 333421 w 621894"/>
                <a:gd name="connsiteY30" fmla="*/ 54608 h 741984"/>
                <a:gd name="connsiteX31" fmla="*/ 269602 w 621894"/>
                <a:gd name="connsiteY31" fmla="*/ 40326 h 741984"/>
                <a:gd name="connsiteX32" fmla="*/ 242796 w 621894"/>
                <a:gd name="connsiteY32" fmla="*/ 18881 h 741984"/>
                <a:gd name="connsiteX33" fmla="*/ 207798 w 621894"/>
                <a:gd name="connsiteY33" fmla="*/ 49890 h 741984"/>
                <a:gd name="connsiteX34" fmla="*/ 207798 w 621894"/>
                <a:gd name="connsiteY34" fmla="*/ 75752 h 741984"/>
                <a:gd name="connsiteX35" fmla="*/ 202866 w 621894"/>
                <a:gd name="connsiteY35" fmla="*/ 115811 h 741984"/>
                <a:gd name="connsiteX36" fmla="*/ 190471 w 621894"/>
                <a:gd name="connsiteY36" fmla="*/ 156427 h 741984"/>
                <a:gd name="connsiteX37" fmla="*/ 165724 w 621894"/>
                <a:gd name="connsiteY37" fmla="*/ 237617 h 741984"/>
                <a:gd name="connsiteX38" fmla="*/ 136816 w 621894"/>
                <a:gd name="connsiteY38" fmla="*/ 280591 h 741984"/>
                <a:gd name="connsiteX39" fmla="*/ 134758 w 621894"/>
                <a:gd name="connsiteY39" fmla="*/ 345054 h 741984"/>
                <a:gd name="connsiteX40" fmla="*/ 122363 w 621894"/>
                <a:gd name="connsiteY40" fmla="*/ 373662 h 741984"/>
                <a:gd name="connsiteX41" fmla="*/ 101733 w 621894"/>
                <a:gd name="connsiteY41" fmla="*/ 395192 h 741984"/>
                <a:gd name="connsiteX42" fmla="*/ 87280 w 621894"/>
                <a:gd name="connsiteY42" fmla="*/ 397594 h 741984"/>
                <a:gd name="connsiteX43" fmla="*/ 60431 w 621894"/>
                <a:gd name="connsiteY43" fmla="*/ 395192 h 741984"/>
                <a:gd name="connsiteX44" fmla="*/ 37742 w 621894"/>
                <a:gd name="connsiteY44" fmla="*/ 392790 h 741984"/>
                <a:gd name="connsiteX45" fmla="*/ 6433 w 621894"/>
                <a:gd name="connsiteY45" fmla="*/ 412004 h 741984"/>
                <a:gd name="connsiteX46" fmla="*/ 18313 w 621894"/>
                <a:gd name="connsiteY46" fmla="*/ 454594 h 741984"/>
                <a:gd name="connsiteX47" fmla="*/ 19171 w 621894"/>
                <a:gd name="connsiteY47" fmla="*/ 458497 h 741984"/>
                <a:gd name="connsiteX48" fmla="*/ 38043 w 621894"/>
                <a:gd name="connsiteY48" fmla="*/ 446616 h 741984"/>
                <a:gd name="connsiteX49" fmla="*/ 146167 w 621894"/>
                <a:gd name="connsiteY49" fmla="*/ 446616 h 741984"/>
                <a:gd name="connsiteX50" fmla="*/ 152085 w 621894"/>
                <a:gd name="connsiteY50" fmla="*/ 479169 h 741984"/>
                <a:gd name="connsiteX51" fmla="*/ 165424 w 621894"/>
                <a:gd name="connsiteY51" fmla="*/ 508291 h 741984"/>
                <a:gd name="connsiteX52" fmla="*/ 193559 w 621894"/>
                <a:gd name="connsiteY52" fmla="*/ 532266 h 741984"/>
                <a:gd name="connsiteX53" fmla="*/ 232074 w 621894"/>
                <a:gd name="connsiteY53" fmla="*/ 525404 h 741984"/>
                <a:gd name="connsiteX54" fmla="*/ 245370 w 621894"/>
                <a:gd name="connsiteY54" fmla="*/ 491135 h 741984"/>
                <a:gd name="connsiteX55" fmla="*/ 272047 w 621894"/>
                <a:gd name="connsiteY55" fmla="*/ 491135 h 741984"/>
                <a:gd name="connsiteX56" fmla="*/ 288345 w 621894"/>
                <a:gd name="connsiteY56" fmla="*/ 499713 h 741984"/>
                <a:gd name="connsiteX57" fmla="*/ 310561 w 621894"/>
                <a:gd name="connsiteY57" fmla="*/ 504860 h 741984"/>
                <a:gd name="connsiteX58" fmla="*/ 316480 w 621894"/>
                <a:gd name="connsiteY58" fmla="*/ 535697 h 741984"/>
                <a:gd name="connsiteX59" fmla="*/ 312020 w 621894"/>
                <a:gd name="connsiteY59" fmla="*/ 590510 h 741984"/>
                <a:gd name="connsiteX60" fmla="*/ 328317 w 621894"/>
                <a:gd name="connsiteY60" fmla="*/ 621347 h 741984"/>
                <a:gd name="connsiteX61" fmla="*/ 328317 w 621894"/>
                <a:gd name="connsiteY61" fmla="*/ 652184 h 741984"/>
                <a:gd name="connsiteX62" fmla="*/ 346117 w 621894"/>
                <a:gd name="connsiteY62" fmla="*/ 641891 h 741984"/>
                <a:gd name="connsiteX63" fmla="*/ 375753 w 621894"/>
                <a:gd name="connsiteY63" fmla="*/ 638460 h 741984"/>
                <a:gd name="connsiteX64" fmla="*/ 384803 w 621894"/>
                <a:gd name="connsiteY64" fmla="*/ 638846 h 741984"/>
                <a:gd name="connsiteX65" fmla="*/ 393552 w 621894"/>
                <a:gd name="connsiteY65" fmla="*/ 648754 h 741984"/>
                <a:gd name="connsiteX66" fmla="*/ 402430 w 621894"/>
                <a:gd name="connsiteY66" fmla="*/ 657331 h 741984"/>
                <a:gd name="connsiteX67" fmla="*/ 423146 w 621894"/>
                <a:gd name="connsiteY67" fmla="*/ 655616 h 741984"/>
                <a:gd name="connsiteX68" fmla="*/ 433525 w 621894"/>
                <a:gd name="connsiteY68" fmla="*/ 674444 h 741984"/>
                <a:gd name="connsiteX69" fmla="*/ 461661 w 621894"/>
                <a:gd name="connsiteY69" fmla="*/ 684738 h 741984"/>
                <a:gd name="connsiteX70" fmla="*/ 476457 w 621894"/>
                <a:gd name="connsiteY70" fmla="*/ 679591 h 741984"/>
                <a:gd name="connsiteX71" fmla="*/ 488295 w 621894"/>
                <a:gd name="connsiteY71" fmla="*/ 672729 h 741984"/>
                <a:gd name="connsiteX72" fmla="*/ 506051 w 621894"/>
                <a:gd name="connsiteY72" fmla="*/ 695031 h 741984"/>
                <a:gd name="connsiteX73" fmla="*/ 531227 w 621894"/>
                <a:gd name="connsiteY73" fmla="*/ 701894 h 741984"/>
                <a:gd name="connsiteX74" fmla="*/ 544565 w 621894"/>
                <a:gd name="connsiteY74" fmla="*/ 734446 h 741984"/>
                <a:gd name="connsiteX75" fmla="*/ 568283 w 621894"/>
                <a:gd name="connsiteY75" fmla="*/ 734446 h 741984"/>
                <a:gd name="connsiteX76" fmla="*/ 574202 w 621894"/>
                <a:gd name="connsiteY76" fmla="*/ 717334 h 741984"/>
                <a:gd name="connsiteX77" fmla="*/ 569741 w 621894"/>
                <a:gd name="connsiteY77" fmla="*/ 689927 h 741984"/>
                <a:gd name="connsiteX78" fmla="*/ 547525 w 621894"/>
                <a:gd name="connsiteY78" fmla="*/ 698462 h 741984"/>
                <a:gd name="connsiteX79" fmla="*/ 525308 w 621894"/>
                <a:gd name="connsiteY79" fmla="*/ 667624 h 741984"/>
                <a:gd name="connsiteX80" fmla="*/ 532728 w 621894"/>
                <a:gd name="connsiteY80" fmla="*/ 631684 h 741984"/>
                <a:gd name="connsiteX81" fmla="*/ 534186 w 621894"/>
                <a:gd name="connsiteY81" fmla="*/ 588837 h 741984"/>
                <a:gd name="connsiteX82" fmla="*/ 538647 w 621894"/>
                <a:gd name="connsiteY82" fmla="*/ 568293 h 741984"/>
                <a:gd name="connsiteX83" fmla="*/ 547525 w 621894"/>
                <a:gd name="connsiteY83" fmla="*/ 542603 h 741984"/>
                <a:gd name="connsiteX84" fmla="*/ 587712 w 621894"/>
                <a:gd name="connsiteY84" fmla="*/ 535697 h 741984"/>
                <a:gd name="connsiteX85" fmla="*/ 588956 w 621894"/>
                <a:gd name="connsiteY85" fmla="*/ 534025 h 741984"/>
                <a:gd name="connsiteX86" fmla="*/ 591100 w 621894"/>
                <a:gd name="connsiteY86" fmla="*/ 528063 h 741984"/>
                <a:gd name="connsiteX87" fmla="*/ 566825 w 621894"/>
                <a:gd name="connsiteY87" fmla="*/ 488519 h 74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621894" h="741984">
                  <a:moveTo>
                    <a:pt x="566825" y="488519"/>
                  </a:moveTo>
                  <a:cubicBezTo>
                    <a:pt x="550527" y="478226"/>
                    <a:pt x="543836" y="348914"/>
                    <a:pt x="551985" y="345483"/>
                  </a:cubicBezTo>
                  <a:cubicBezTo>
                    <a:pt x="553057" y="345054"/>
                    <a:pt x="554087" y="346384"/>
                    <a:pt x="555116" y="349086"/>
                  </a:cubicBezTo>
                  <a:lnTo>
                    <a:pt x="553486" y="319792"/>
                  </a:lnTo>
                  <a:cubicBezTo>
                    <a:pt x="553486" y="319792"/>
                    <a:pt x="552543" y="319578"/>
                    <a:pt x="551299" y="318978"/>
                  </a:cubicBezTo>
                  <a:cubicBezTo>
                    <a:pt x="548683" y="317777"/>
                    <a:pt x="544608" y="314775"/>
                    <a:pt x="544608" y="307784"/>
                  </a:cubicBezTo>
                  <a:cubicBezTo>
                    <a:pt x="544608" y="297490"/>
                    <a:pt x="551985" y="296632"/>
                    <a:pt x="551985" y="296632"/>
                  </a:cubicBezTo>
                  <a:cubicBezTo>
                    <a:pt x="551985" y="296632"/>
                    <a:pt x="550527" y="275230"/>
                    <a:pt x="558676" y="271799"/>
                  </a:cubicBezTo>
                  <a:cubicBezTo>
                    <a:pt x="560306" y="271156"/>
                    <a:pt x="561592" y="269784"/>
                    <a:pt x="562750" y="268197"/>
                  </a:cubicBezTo>
                  <a:cubicBezTo>
                    <a:pt x="567296" y="261678"/>
                    <a:pt x="568283" y="249068"/>
                    <a:pt x="568283" y="240104"/>
                  </a:cubicBezTo>
                  <a:cubicBezTo>
                    <a:pt x="568283" y="228996"/>
                    <a:pt x="570513" y="216129"/>
                    <a:pt x="574202" y="206736"/>
                  </a:cubicBezTo>
                  <a:cubicBezTo>
                    <a:pt x="577890" y="197301"/>
                    <a:pt x="576432" y="184434"/>
                    <a:pt x="582351" y="179287"/>
                  </a:cubicBezTo>
                  <a:cubicBezTo>
                    <a:pt x="588269" y="174183"/>
                    <a:pt x="587541" y="160459"/>
                    <a:pt x="594917" y="157885"/>
                  </a:cubicBezTo>
                  <a:cubicBezTo>
                    <a:pt x="602337" y="155312"/>
                    <a:pt x="608256" y="151881"/>
                    <a:pt x="608985" y="146734"/>
                  </a:cubicBezTo>
                  <a:cubicBezTo>
                    <a:pt x="609714" y="141587"/>
                    <a:pt x="618635" y="134725"/>
                    <a:pt x="618635" y="127048"/>
                  </a:cubicBezTo>
                  <a:cubicBezTo>
                    <a:pt x="618635" y="119371"/>
                    <a:pt x="607527" y="117612"/>
                    <a:pt x="607527" y="108220"/>
                  </a:cubicBezTo>
                  <a:cubicBezTo>
                    <a:pt x="607527" y="98784"/>
                    <a:pt x="610486" y="74809"/>
                    <a:pt x="610486" y="74809"/>
                  </a:cubicBezTo>
                  <a:cubicBezTo>
                    <a:pt x="610486" y="74809"/>
                    <a:pt x="610786" y="74680"/>
                    <a:pt x="610958" y="74637"/>
                  </a:cubicBezTo>
                  <a:cubicBezTo>
                    <a:pt x="595003" y="57739"/>
                    <a:pt x="576561" y="40240"/>
                    <a:pt x="572358" y="36980"/>
                  </a:cubicBezTo>
                  <a:cubicBezTo>
                    <a:pt x="566182" y="32220"/>
                    <a:pt x="555845" y="41784"/>
                    <a:pt x="555845" y="41784"/>
                  </a:cubicBezTo>
                  <a:cubicBezTo>
                    <a:pt x="555845" y="41784"/>
                    <a:pt x="545509" y="29818"/>
                    <a:pt x="537274" y="39382"/>
                  </a:cubicBezTo>
                  <a:cubicBezTo>
                    <a:pt x="528997" y="48946"/>
                    <a:pt x="516644" y="39382"/>
                    <a:pt x="516644" y="39382"/>
                  </a:cubicBezTo>
                  <a:cubicBezTo>
                    <a:pt x="516644" y="39382"/>
                    <a:pt x="506351" y="32220"/>
                    <a:pt x="502191" y="20254"/>
                  </a:cubicBezTo>
                  <a:cubicBezTo>
                    <a:pt x="500518" y="15407"/>
                    <a:pt x="497430" y="12533"/>
                    <a:pt x="493527" y="10175"/>
                  </a:cubicBezTo>
                  <a:lnTo>
                    <a:pt x="494042" y="11719"/>
                  </a:lnTo>
                  <a:lnTo>
                    <a:pt x="469337" y="16522"/>
                  </a:lnTo>
                  <a:cubicBezTo>
                    <a:pt x="469337" y="16522"/>
                    <a:pt x="438457" y="-2521"/>
                    <a:pt x="432281" y="11719"/>
                  </a:cubicBezTo>
                  <a:cubicBezTo>
                    <a:pt x="426105" y="26001"/>
                    <a:pt x="419929" y="16522"/>
                    <a:pt x="405518" y="16522"/>
                  </a:cubicBezTo>
                  <a:cubicBezTo>
                    <a:pt x="391107" y="16522"/>
                    <a:pt x="378755" y="23685"/>
                    <a:pt x="370478" y="28403"/>
                  </a:cubicBezTo>
                  <a:cubicBezTo>
                    <a:pt x="362243" y="33163"/>
                    <a:pt x="349891" y="23642"/>
                    <a:pt x="343715" y="28403"/>
                  </a:cubicBezTo>
                  <a:cubicBezTo>
                    <a:pt x="337539" y="33163"/>
                    <a:pt x="333421" y="54608"/>
                    <a:pt x="333421" y="54608"/>
                  </a:cubicBezTo>
                  <a:lnTo>
                    <a:pt x="269602" y="40326"/>
                  </a:lnTo>
                  <a:cubicBezTo>
                    <a:pt x="269602" y="40326"/>
                    <a:pt x="257250" y="18881"/>
                    <a:pt x="242796" y="18881"/>
                  </a:cubicBezTo>
                  <a:cubicBezTo>
                    <a:pt x="228386" y="18881"/>
                    <a:pt x="207798" y="49890"/>
                    <a:pt x="207798" y="49890"/>
                  </a:cubicBezTo>
                  <a:lnTo>
                    <a:pt x="207798" y="75752"/>
                  </a:lnTo>
                  <a:cubicBezTo>
                    <a:pt x="210286" y="91278"/>
                    <a:pt x="207155" y="107533"/>
                    <a:pt x="202866" y="115811"/>
                  </a:cubicBezTo>
                  <a:cubicBezTo>
                    <a:pt x="196690" y="127734"/>
                    <a:pt x="190471" y="132538"/>
                    <a:pt x="190471" y="156427"/>
                  </a:cubicBezTo>
                  <a:cubicBezTo>
                    <a:pt x="190471" y="180316"/>
                    <a:pt x="165724" y="218488"/>
                    <a:pt x="165724" y="237617"/>
                  </a:cubicBezTo>
                  <a:cubicBezTo>
                    <a:pt x="165724" y="256702"/>
                    <a:pt x="136816" y="268669"/>
                    <a:pt x="136816" y="280591"/>
                  </a:cubicBezTo>
                  <a:cubicBezTo>
                    <a:pt x="136816" y="292515"/>
                    <a:pt x="134758" y="318806"/>
                    <a:pt x="134758" y="345054"/>
                  </a:cubicBezTo>
                  <a:cubicBezTo>
                    <a:pt x="134758" y="371302"/>
                    <a:pt x="122363" y="349815"/>
                    <a:pt x="122363" y="373662"/>
                  </a:cubicBezTo>
                  <a:cubicBezTo>
                    <a:pt x="122363" y="397551"/>
                    <a:pt x="112027" y="383226"/>
                    <a:pt x="101733" y="395192"/>
                  </a:cubicBezTo>
                  <a:cubicBezTo>
                    <a:pt x="91440" y="407115"/>
                    <a:pt x="87280" y="409517"/>
                    <a:pt x="87280" y="397594"/>
                  </a:cubicBezTo>
                  <a:cubicBezTo>
                    <a:pt x="87280" y="385627"/>
                    <a:pt x="72826" y="383226"/>
                    <a:pt x="60431" y="395192"/>
                  </a:cubicBezTo>
                  <a:cubicBezTo>
                    <a:pt x="48036" y="407115"/>
                    <a:pt x="43919" y="395192"/>
                    <a:pt x="37742" y="392790"/>
                  </a:cubicBezTo>
                  <a:cubicBezTo>
                    <a:pt x="34311" y="391504"/>
                    <a:pt x="20158" y="401154"/>
                    <a:pt x="6433" y="412004"/>
                  </a:cubicBezTo>
                  <a:cubicBezTo>
                    <a:pt x="12609" y="426758"/>
                    <a:pt x="15826" y="441555"/>
                    <a:pt x="18313" y="454594"/>
                  </a:cubicBezTo>
                  <a:cubicBezTo>
                    <a:pt x="18528" y="455838"/>
                    <a:pt x="18828" y="457167"/>
                    <a:pt x="19171" y="458497"/>
                  </a:cubicBezTo>
                  <a:cubicBezTo>
                    <a:pt x="26462" y="452535"/>
                    <a:pt x="33840" y="447302"/>
                    <a:pt x="38043" y="446616"/>
                  </a:cubicBezTo>
                  <a:cubicBezTo>
                    <a:pt x="48422" y="444901"/>
                    <a:pt x="146167" y="446616"/>
                    <a:pt x="146167" y="446616"/>
                  </a:cubicBezTo>
                  <a:cubicBezTo>
                    <a:pt x="146167" y="446616"/>
                    <a:pt x="155044" y="463729"/>
                    <a:pt x="152085" y="479169"/>
                  </a:cubicBezTo>
                  <a:cubicBezTo>
                    <a:pt x="149126" y="494566"/>
                    <a:pt x="158004" y="487747"/>
                    <a:pt x="165424" y="508291"/>
                  </a:cubicBezTo>
                  <a:cubicBezTo>
                    <a:pt x="172844" y="528835"/>
                    <a:pt x="178762" y="537413"/>
                    <a:pt x="193559" y="532266"/>
                  </a:cubicBezTo>
                  <a:cubicBezTo>
                    <a:pt x="208356" y="527120"/>
                    <a:pt x="226155" y="523688"/>
                    <a:pt x="232074" y="525404"/>
                  </a:cubicBezTo>
                  <a:cubicBezTo>
                    <a:pt x="237993" y="527120"/>
                    <a:pt x="236492" y="496282"/>
                    <a:pt x="245370" y="491135"/>
                  </a:cubicBezTo>
                  <a:cubicBezTo>
                    <a:pt x="254247" y="485988"/>
                    <a:pt x="272047" y="491135"/>
                    <a:pt x="272047" y="491135"/>
                  </a:cubicBezTo>
                  <a:cubicBezTo>
                    <a:pt x="272047" y="491135"/>
                    <a:pt x="273505" y="499713"/>
                    <a:pt x="288345" y="499713"/>
                  </a:cubicBezTo>
                  <a:cubicBezTo>
                    <a:pt x="303141" y="499713"/>
                    <a:pt x="310561" y="492851"/>
                    <a:pt x="310561" y="504860"/>
                  </a:cubicBezTo>
                  <a:cubicBezTo>
                    <a:pt x="310561" y="516869"/>
                    <a:pt x="312020" y="530550"/>
                    <a:pt x="316480" y="535697"/>
                  </a:cubicBezTo>
                  <a:cubicBezTo>
                    <a:pt x="320898" y="540844"/>
                    <a:pt x="304642" y="583647"/>
                    <a:pt x="312020" y="590510"/>
                  </a:cubicBezTo>
                  <a:cubicBezTo>
                    <a:pt x="319439" y="597372"/>
                    <a:pt x="329818" y="612769"/>
                    <a:pt x="328317" y="621347"/>
                  </a:cubicBezTo>
                  <a:cubicBezTo>
                    <a:pt x="326859" y="629925"/>
                    <a:pt x="322399" y="650469"/>
                    <a:pt x="328317" y="652184"/>
                  </a:cubicBezTo>
                  <a:cubicBezTo>
                    <a:pt x="334236" y="653900"/>
                    <a:pt x="335737" y="641891"/>
                    <a:pt x="346117" y="641891"/>
                  </a:cubicBezTo>
                  <a:cubicBezTo>
                    <a:pt x="356496" y="641891"/>
                    <a:pt x="365374" y="643607"/>
                    <a:pt x="375753" y="638460"/>
                  </a:cubicBezTo>
                  <a:cubicBezTo>
                    <a:pt x="379184" y="636787"/>
                    <a:pt x="382187" y="637388"/>
                    <a:pt x="384803" y="638846"/>
                  </a:cubicBezTo>
                  <a:cubicBezTo>
                    <a:pt x="390121" y="641848"/>
                    <a:pt x="393552" y="648754"/>
                    <a:pt x="393552" y="648754"/>
                  </a:cubicBezTo>
                  <a:cubicBezTo>
                    <a:pt x="393552" y="648754"/>
                    <a:pt x="396511" y="660762"/>
                    <a:pt x="402430" y="657331"/>
                  </a:cubicBezTo>
                  <a:cubicBezTo>
                    <a:pt x="408349" y="653900"/>
                    <a:pt x="424647" y="648754"/>
                    <a:pt x="423146" y="655616"/>
                  </a:cubicBezTo>
                  <a:cubicBezTo>
                    <a:pt x="421687" y="662478"/>
                    <a:pt x="427606" y="677918"/>
                    <a:pt x="433525" y="674444"/>
                  </a:cubicBezTo>
                  <a:cubicBezTo>
                    <a:pt x="439444" y="671013"/>
                    <a:pt x="454240" y="684738"/>
                    <a:pt x="461661" y="684738"/>
                  </a:cubicBezTo>
                  <a:cubicBezTo>
                    <a:pt x="469037" y="684738"/>
                    <a:pt x="476457" y="684738"/>
                    <a:pt x="476457" y="679591"/>
                  </a:cubicBezTo>
                  <a:cubicBezTo>
                    <a:pt x="476457" y="674487"/>
                    <a:pt x="485335" y="665909"/>
                    <a:pt x="488295" y="672729"/>
                  </a:cubicBezTo>
                  <a:cubicBezTo>
                    <a:pt x="491254" y="679591"/>
                    <a:pt x="498674" y="695031"/>
                    <a:pt x="506051" y="695031"/>
                  </a:cubicBezTo>
                  <a:cubicBezTo>
                    <a:pt x="513471" y="695031"/>
                    <a:pt x="531227" y="695031"/>
                    <a:pt x="531227" y="701894"/>
                  </a:cubicBezTo>
                  <a:cubicBezTo>
                    <a:pt x="531227" y="708756"/>
                    <a:pt x="537146" y="727584"/>
                    <a:pt x="544565" y="734446"/>
                  </a:cubicBezTo>
                  <a:cubicBezTo>
                    <a:pt x="551942" y="741309"/>
                    <a:pt x="568283" y="734446"/>
                    <a:pt x="568283" y="734446"/>
                  </a:cubicBezTo>
                  <a:cubicBezTo>
                    <a:pt x="568283" y="734446"/>
                    <a:pt x="574202" y="729299"/>
                    <a:pt x="574202" y="717334"/>
                  </a:cubicBezTo>
                  <a:cubicBezTo>
                    <a:pt x="574202" y="705324"/>
                    <a:pt x="574202" y="689927"/>
                    <a:pt x="569741" y="689927"/>
                  </a:cubicBezTo>
                  <a:cubicBezTo>
                    <a:pt x="565324" y="689927"/>
                    <a:pt x="557904" y="701894"/>
                    <a:pt x="547525" y="698462"/>
                  </a:cubicBezTo>
                  <a:cubicBezTo>
                    <a:pt x="537146" y="695031"/>
                    <a:pt x="529726" y="671056"/>
                    <a:pt x="525308" y="667624"/>
                  </a:cubicBezTo>
                  <a:cubicBezTo>
                    <a:pt x="520847" y="664194"/>
                    <a:pt x="532728" y="641934"/>
                    <a:pt x="532728" y="631684"/>
                  </a:cubicBezTo>
                  <a:cubicBezTo>
                    <a:pt x="532728" y="621390"/>
                    <a:pt x="540148" y="592268"/>
                    <a:pt x="534186" y="588837"/>
                  </a:cubicBezTo>
                  <a:cubicBezTo>
                    <a:pt x="528267" y="585449"/>
                    <a:pt x="531227" y="575155"/>
                    <a:pt x="538647" y="568293"/>
                  </a:cubicBezTo>
                  <a:cubicBezTo>
                    <a:pt x="546066" y="561431"/>
                    <a:pt x="535687" y="542603"/>
                    <a:pt x="547525" y="542603"/>
                  </a:cubicBezTo>
                  <a:cubicBezTo>
                    <a:pt x="558676" y="542603"/>
                    <a:pt x="581278" y="543975"/>
                    <a:pt x="587712" y="535697"/>
                  </a:cubicBezTo>
                  <a:cubicBezTo>
                    <a:pt x="588141" y="535140"/>
                    <a:pt x="588699" y="534711"/>
                    <a:pt x="588956" y="534025"/>
                  </a:cubicBezTo>
                  <a:cubicBezTo>
                    <a:pt x="589771" y="532137"/>
                    <a:pt x="590500" y="530122"/>
                    <a:pt x="591100" y="528063"/>
                  </a:cubicBezTo>
                  <a:cubicBezTo>
                    <a:pt x="583595" y="513566"/>
                    <a:pt x="576003" y="494309"/>
                    <a:pt x="566825" y="488519"/>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84" name="Freeform: Shape 348">
              <a:extLst>
                <a:ext uri="{FF2B5EF4-FFF2-40B4-BE49-F238E27FC236}">
                  <a16:creationId xmlns:a16="http://schemas.microsoft.com/office/drawing/2014/main" id="{53554283-AF13-B5EE-B117-CC3557D6311A}"/>
                </a:ext>
              </a:extLst>
            </p:cNvPr>
            <p:cNvSpPr/>
            <p:nvPr/>
          </p:nvSpPr>
          <p:spPr>
            <a:xfrm>
              <a:off x="7723532" y="4508219"/>
              <a:ext cx="49205" cy="68887"/>
            </a:xfrm>
            <a:custGeom>
              <a:avLst/>
              <a:gdLst>
                <a:gd name="connsiteX0" fmla="*/ 10208 w 64333"/>
                <a:gd name="connsiteY0" fmla="*/ 47693 h 90067"/>
                <a:gd name="connsiteX1" fmla="*/ 18528 w 64333"/>
                <a:gd name="connsiteY1" fmla="*/ 87837 h 90067"/>
                <a:gd name="connsiteX2" fmla="*/ 32810 w 64333"/>
                <a:gd name="connsiteY2" fmla="*/ 78101 h 90067"/>
                <a:gd name="connsiteX3" fmla="*/ 60174 w 64333"/>
                <a:gd name="connsiteY3" fmla="*/ 32639 h 90067"/>
                <a:gd name="connsiteX4" fmla="*/ 51639 w 64333"/>
                <a:gd name="connsiteY4" fmla="*/ 26720 h 90067"/>
                <a:gd name="connsiteX5" fmla="*/ 50309 w 64333"/>
                <a:gd name="connsiteY5" fmla="*/ 6433 h 90067"/>
                <a:gd name="connsiteX6" fmla="*/ 34569 w 64333"/>
                <a:gd name="connsiteY6" fmla="*/ 6948 h 90067"/>
                <a:gd name="connsiteX7" fmla="*/ 17456 w 64333"/>
                <a:gd name="connsiteY7" fmla="*/ 18785 h 90067"/>
                <a:gd name="connsiteX8" fmla="*/ 6433 w 64333"/>
                <a:gd name="connsiteY8" fmla="*/ 17585 h 90067"/>
                <a:gd name="connsiteX9" fmla="*/ 8621 w 64333"/>
                <a:gd name="connsiteY9" fmla="*/ 18399 h 90067"/>
                <a:gd name="connsiteX10" fmla="*/ 10208 w 64333"/>
                <a:gd name="connsiteY10" fmla="*/ 47693 h 90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333" h="90067">
                  <a:moveTo>
                    <a:pt x="10208" y="47693"/>
                  </a:moveTo>
                  <a:cubicBezTo>
                    <a:pt x="12824" y="54512"/>
                    <a:pt x="15483" y="70124"/>
                    <a:pt x="18528" y="87837"/>
                  </a:cubicBezTo>
                  <a:cubicBezTo>
                    <a:pt x="25133" y="82905"/>
                    <a:pt x="30494" y="79173"/>
                    <a:pt x="32810" y="78101"/>
                  </a:cubicBezTo>
                  <a:cubicBezTo>
                    <a:pt x="41345" y="74155"/>
                    <a:pt x="60174" y="32639"/>
                    <a:pt x="60174" y="32639"/>
                  </a:cubicBezTo>
                  <a:lnTo>
                    <a:pt x="51639" y="26720"/>
                  </a:lnTo>
                  <a:cubicBezTo>
                    <a:pt x="51639" y="26720"/>
                    <a:pt x="52582" y="18056"/>
                    <a:pt x="50309" y="6433"/>
                  </a:cubicBezTo>
                  <a:cubicBezTo>
                    <a:pt x="42632" y="7506"/>
                    <a:pt x="34569" y="6948"/>
                    <a:pt x="34569" y="6948"/>
                  </a:cubicBezTo>
                  <a:cubicBezTo>
                    <a:pt x="34569" y="6948"/>
                    <a:pt x="36285" y="22774"/>
                    <a:pt x="17456" y="18785"/>
                  </a:cubicBezTo>
                  <a:cubicBezTo>
                    <a:pt x="14454" y="18142"/>
                    <a:pt x="10594" y="17756"/>
                    <a:pt x="6433" y="17585"/>
                  </a:cubicBezTo>
                  <a:cubicBezTo>
                    <a:pt x="7677" y="18185"/>
                    <a:pt x="8621" y="18399"/>
                    <a:pt x="8621" y="18399"/>
                  </a:cubicBezTo>
                  <a:lnTo>
                    <a:pt x="10208" y="47693"/>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85" name="Freeform: Shape 349">
              <a:extLst>
                <a:ext uri="{FF2B5EF4-FFF2-40B4-BE49-F238E27FC236}">
                  <a16:creationId xmlns:a16="http://schemas.microsoft.com/office/drawing/2014/main" id="{70F83655-7C4D-3659-C23E-9D8F65B54A5E}"/>
                </a:ext>
              </a:extLst>
            </p:cNvPr>
            <p:cNvSpPr/>
            <p:nvPr/>
          </p:nvSpPr>
          <p:spPr>
            <a:xfrm>
              <a:off x="7749413" y="4766744"/>
              <a:ext cx="262427" cy="498611"/>
            </a:xfrm>
            <a:custGeom>
              <a:avLst/>
              <a:gdLst>
                <a:gd name="connsiteX0" fmla="*/ 288131 w 343114"/>
                <a:gd name="connsiteY0" fmla="*/ 220923 h 651917"/>
                <a:gd name="connsiteX1" fmla="*/ 304857 w 343114"/>
                <a:gd name="connsiteY1" fmla="*/ 198492 h 651917"/>
                <a:gd name="connsiteX2" fmla="*/ 316609 w 343114"/>
                <a:gd name="connsiteY2" fmla="*/ 192873 h 651917"/>
                <a:gd name="connsiteX3" fmla="*/ 319697 w 343114"/>
                <a:gd name="connsiteY3" fmla="*/ 175889 h 651917"/>
                <a:gd name="connsiteX4" fmla="*/ 340498 w 343114"/>
                <a:gd name="connsiteY4" fmla="*/ 151657 h 651917"/>
                <a:gd name="connsiteX5" fmla="*/ 337839 w 343114"/>
                <a:gd name="connsiteY5" fmla="*/ 138361 h 651917"/>
                <a:gd name="connsiteX6" fmla="*/ 321026 w 343114"/>
                <a:gd name="connsiteY6" fmla="*/ 36756 h 651917"/>
                <a:gd name="connsiteX7" fmla="*/ 315279 w 343114"/>
                <a:gd name="connsiteY7" fmla="*/ 6433 h 651917"/>
                <a:gd name="connsiteX8" fmla="*/ 312534 w 343114"/>
                <a:gd name="connsiteY8" fmla="*/ 9221 h 651917"/>
                <a:gd name="connsiteX9" fmla="*/ 288816 w 343114"/>
                <a:gd name="connsiteY9" fmla="*/ 16083 h 651917"/>
                <a:gd name="connsiteX10" fmla="*/ 269087 w 343114"/>
                <a:gd name="connsiteY10" fmla="*/ 14968 h 651917"/>
                <a:gd name="connsiteX11" fmla="*/ 258236 w 343114"/>
                <a:gd name="connsiteY11" fmla="*/ 29808 h 651917"/>
                <a:gd name="connsiteX12" fmla="*/ 238464 w 343114"/>
                <a:gd name="connsiteY12" fmla="*/ 32081 h 651917"/>
                <a:gd name="connsiteX13" fmla="*/ 209858 w 343114"/>
                <a:gd name="connsiteY13" fmla="*/ 36628 h 651917"/>
                <a:gd name="connsiteX14" fmla="*/ 199006 w 343114"/>
                <a:gd name="connsiteY14" fmla="*/ 25219 h 651917"/>
                <a:gd name="connsiteX15" fmla="*/ 179235 w 343114"/>
                <a:gd name="connsiteY15" fmla="*/ 29765 h 651917"/>
                <a:gd name="connsiteX16" fmla="*/ 160277 w 343114"/>
                <a:gd name="connsiteY16" fmla="*/ 27492 h 651917"/>
                <a:gd name="connsiteX17" fmla="*/ 158476 w 343114"/>
                <a:gd name="connsiteY17" fmla="*/ 40874 h 651917"/>
                <a:gd name="connsiteX18" fmla="*/ 172801 w 343114"/>
                <a:gd name="connsiteY18" fmla="*/ 122577 h 651917"/>
                <a:gd name="connsiteX19" fmla="*/ 193045 w 343114"/>
                <a:gd name="connsiteY19" fmla="*/ 145137 h 651917"/>
                <a:gd name="connsiteX20" fmla="*/ 194031 w 343114"/>
                <a:gd name="connsiteY20" fmla="*/ 183952 h 651917"/>
                <a:gd name="connsiteX21" fmla="*/ 175289 w 343114"/>
                <a:gd name="connsiteY21" fmla="*/ 209042 h 651917"/>
                <a:gd name="connsiteX22" fmla="*/ 172329 w 343114"/>
                <a:gd name="connsiteY22" fmla="*/ 244469 h 651917"/>
                <a:gd name="connsiteX23" fmla="*/ 141706 w 343114"/>
                <a:gd name="connsiteY23" fmla="*/ 197634 h 651917"/>
                <a:gd name="connsiteX24" fmla="*/ 148612 w 343114"/>
                <a:gd name="connsiteY24" fmla="*/ 147411 h 651917"/>
                <a:gd name="connsiteX25" fmla="*/ 121977 w 343114"/>
                <a:gd name="connsiteY25" fmla="*/ 142822 h 651917"/>
                <a:gd name="connsiteX26" fmla="*/ 99246 w 343114"/>
                <a:gd name="connsiteY26" fmla="*/ 124551 h 651917"/>
                <a:gd name="connsiteX27" fmla="*/ 6433 w 343114"/>
                <a:gd name="connsiteY27" fmla="*/ 163365 h 651917"/>
                <a:gd name="connsiteX28" fmla="*/ 13339 w 343114"/>
                <a:gd name="connsiteY28" fmla="*/ 191930 h 651917"/>
                <a:gd name="connsiteX29" fmla="*/ 11409 w 343114"/>
                <a:gd name="connsiteY29" fmla="*/ 191973 h 651917"/>
                <a:gd name="connsiteX30" fmla="*/ 16298 w 343114"/>
                <a:gd name="connsiteY30" fmla="*/ 204454 h 651917"/>
                <a:gd name="connsiteX31" fmla="*/ 59273 w 343114"/>
                <a:gd name="connsiteY31" fmla="*/ 216419 h 651917"/>
                <a:gd name="connsiteX32" fmla="*/ 97788 w 343114"/>
                <a:gd name="connsiteY32" fmla="*/ 231860 h 651917"/>
                <a:gd name="connsiteX33" fmla="*/ 99246 w 343114"/>
                <a:gd name="connsiteY33" fmla="*/ 291819 h 651917"/>
                <a:gd name="connsiteX34" fmla="*/ 90368 w 343114"/>
                <a:gd name="connsiteY34" fmla="*/ 326088 h 651917"/>
                <a:gd name="connsiteX35" fmla="*/ 100747 w 343114"/>
                <a:gd name="connsiteY35" fmla="*/ 355209 h 651917"/>
                <a:gd name="connsiteX36" fmla="*/ 82948 w 343114"/>
                <a:gd name="connsiteY36" fmla="*/ 384331 h 651917"/>
                <a:gd name="connsiteX37" fmla="*/ 74070 w 343114"/>
                <a:gd name="connsiteY37" fmla="*/ 421988 h 651917"/>
                <a:gd name="connsiteX38" fmla="*/ 40187 w 343114"/>
                <a:gd name="connsiteY38" fmla="*/ 461017 h 651917"/>
                <a:gd name="connsiteX39" fmla="*/ 41474 w 343114"/>
                <a:gd name="connsiteY39" fmla="*/ 462261 h 651917"/>
                <a:gd name="connsiteX40" fmla="*/ 62189 w 343114"/>
                <a:gd name="connsiteY40" fmla="*/ 534229 h 651917"/>
                <a:gd name="connsiteX41" fmla="*/ 65149 w 343114"/>
                <a:gd name="connsiteY41" fmla="*/ 604482 h 651917"/>
                <a:gd name="connsiteX42" fmla="*/ 68880 w 343114"/>
                <a:gd name="connsiteY42" fmla="*/ 649001 h 651917"/>
                <a:gd name="connsiteX43" fmla="*/ 93756 w 343114"/>
                <a:gd name="connsiteY43" fmla="*/ 646814 h 651917"/>
                <a:gd name="connsiteX44" fmla="*/ 95300 w 343114"/>
                <a:gd name="connsiteY44" fmla="*/ 627599 h 651917"/>
                <a:gd name="connsiteX45" fmla="*/ 81961 w 343114"/>
                <a:gd name="connsiteY45" fmla="*/ 612760 h 651917"/>
                <a:gd name="connsiteX46" fmla="*/ 134287 w 343114"/>
                <a:gd name="connsiteY46" fmla="*/ 568240 h 651917"/>
                <a:gd name="connsiteX47" fmla="*/ 176275 w 343114"/>
                <a:gd name="connsiteY47" fmla="*/ 537961 h 651917"/>
                <a:gd name="connsiteX48" fmla="*/ 177648 w 343114"/>
                <a:gd name="connsiteY48" fmla="*/ 512056 h 651917"/>
                <a:gd name="connsiteX49" fmla="*/ 160621 w 343114"/>
                <a:gd name="connsiteY49" fmla="*/ 483491 h 651917"/>
                <a:gd name="connsiteX50" fmla="*/ 157747 w 343114"/>
                <a:gd name="connsiteY50" fmla="*/ 385103 h 651917"/>
                <a:gd name="connsiteX51" fmla="*/ 157532 w 343114"/>
                <a:gd name="connsiteY51" fmla="*/ 384417 h 651917"/>
                <a:gd name="connsiteX52" fmla="*/ 162936 w 343114"/>
                <a:gd name="connsiteY52" fmla="*/ 355295 h 651917"/>
                <a:gd name="connsiteX53" fmla="*/ 164480 w 343114"/>
                <a:gd name="connsiteY53" fmla="*/ 355081 h 651917"/>
                <a:gd name="connsiteX54" fmla="*/ 193131 w 343114"/>
                <a:gd name="connsiteY54" fmla="*/ 309446 h 651917"/>
                <a:gd name="connsiteX55" fmla="*/ 204411 w 343114"/>
                <a:gd name="connsiteY55" fmla="*/ 302113 h 651917"/>
                <a:gd name="connsiteX56" fmla="*/ 209300 w 343114"/>
                <a:gd name="connsiteY56" fmla="*/ 279510 h 651917"/>
                <a:gd name="connsiteX57" fmla="*/ 231045 w 343114"/>
                <a:gd name="connsiteY57" fmla="*/ 262268 h 651917"/>
                <a:gd name="connsiteX58" fmla="*/ 245584 w 343114"/>
                <a:gd name="connsiteY58" fmla="*/ 261582 h 651917"/>
                <a:gd name="connsiteX59" fmla="*/ 251160 w 343114"/>
                <a:gd name="connsiteY59" fmla="*/ 262482 h 651917"/>
                <a:gd name="connsiteX60" fmla="*/ 290017 w 343114"/>
                <a:gd name="connsiteY60" fmla="*/ 245841 h 651917"/>
                <a:gd name="connsiteX61" fmla="*/ 288131 w 343114"/>
                <a:gd name="connsiteY61" fmla="*/ 220923 h 65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43114" h="651917">
                  <a:moveTo>
                    <a:pt x="288131" y="220923"/>
                  </a:moveTo>
                  <a:cubicBezTo>
                    <a:pt x="290618" y="211616"/>
                    <a:pt x="296966" y="203510"/>
                    <a:pt x="304857" y="198492"/>
                  </a:cubicBezTo>
                  <a:cubicBezTo>
                    <a:pt x="308589" y="196133"/>
                    <a:pt x="312534" y="194332"/>
                    <a:pt x="316609" y="192873"/>
                  </a:cubicBezTo>
                  <a:cubicBezTo>
                    <a:pt x="317724" y="187255"/>
                    <a:pt x="318754" y="181593"/>
                    <a:pt x="319697" y="175889"/>
                  </a:cubicBezTo>
                  <a:cubicBezTo>
                    <a:pt x="321627" y="164437"/>
                    <a:pt x="330205" y="155945"/>
                    <a:pt x="340498" y="151657"/>
                  </a:cubicBezTo>
                  <a:cubicBezTo>
                    <a:pt x="338997" y="147711"/>
                    <a:pt x="337968" y="143336"/>
                    <a:pt x="337839" y="138361"/>
                  </a:cubicBezTo>
                  <a:cubicBezTo>
                    <a:pt x="336724" y="103578"/>
                    <a:pt x="328103" y="70596"/>
                    <a:pt x="321026" y="36756"/>
                  </a:cubicBezTo>
                  <a:cubicBezTo>
                    <a:pt x="318925" y="26677"/>
                    <a:pt x="317167" y="16555"/>
                    <a:pt x="315279" y="6433"/>
                  </a:cubicBezTo>
                  <a:cubicBezTo>
                    <a:pt x="313907" y="7549"/>
                    <a:pt x="312835" y="8535"/>
                    <a:pt x="312534" y="9221"/>
                  </a:cubicBezTo>
                  <a:cubicBezTo>
                    <a:pt x="309575" y="16083"/>
                    <a:pt x="296751" y="8106"/>
                    <a:pt x="288816" y="16083"/>
                  </a:cubicBezTo>
                  <a:cubicBezTo>
                    <a:pt x="280925" y="24104"/>
                    <a:pt x="275993" y="17242"/>
                    <a:pt x="269087" y="14968"/>
                  </a:cubicBezTo>
                  <a:cubicBezTo>
                    <a:pt x="262182" y="12695"/>
                    <a:pt x="259180" y="22946"/>
                    <a:pt x="258236" y="29808"/>
                  </a:cubicBezTo>
                  <a:cubicBezTo>
                    <a:pt x="257250" y="36671"/>
                    <a:pt x="243440" y="33196"/>
                    <a:pt x="238464" y="32081"/>
                  </a:cubicBezTo>
                  <a:cubicBezTo>
                    <a:pt x="233533" y="30923"/>
                    <a:pt x="217749" y="36628"/>
                    <a:pt x="209858" y="36628"/>
                  </a:cubicBezTo>
                  <a:cubicBezTo>
                    <a:pt x="201966" y="36628"/>
                    <a:pt x="207884" y="28650"/>
                    <a:pt x="199006" y="25219"/>
                  </a:cubicBezTo>
                  <a:cubicBezTo>
                    <a:pt x="190128" y="21788"/>
                    <a:pt x="184167" y="29765"/>
                    <a:pt x="179235" y="29765"/>
                  </a:cubicBezTo>
                  <a:cubicBezTo>
                    <a:pt x="176232" y="29765"/>
                    <a:pt x="167054" y="28521"/>
                    <a:pt x="160277" y="27492"/>
                  </a:cubicBezTo>
                  <a:cubicBezTo>
                    <a:pt x="160149" y="32767"/>
                    <a:pt x="159634" y="37399"/>
                    <a:pt x="158476" y="40874"/>
                  </a:cubicBezTo>
                  <a:cubicBezTo>
                    <a:pt x="152085" y="60217"/>
                    <a:pt x="171815" y="104007"/>
                    <a:pt x="172801" y="122577"/>
                  </a:cubicBezTo>
                  <a:cubicBezTo>
                    <a:pt x="180135" y="129912"/>
                    <a:pt x="188584" y="138790"/>
                    <a:pt x="193045" y="145137"/>
                  </a:cubicBezTo>
                  <a:cubicBezTo>
                    <a:pt x="201923" y="157704"/>
                    <a:pt x="193045" y="156546"/>
                    <a:pt x="194031" y="183952"/>
                  </a:cubicBezTo>
                  <a:cubicBezTo>
                    <a:pt x="195018" y="211359"/>
                    <a:pt x="184167" y="199950"/>
                    <a:pt x="175289" y="209042"/>
                  </a:cubicBezTo>
                  <a:cubicBezTo>
                    <a:pt x="166411" y="218178"/>
                    <a:pt x="174302" y="238722"/>
                    <a:pt x="172329" y="244469"/>
                  </a:cubicBezTo>
                  <a:cubicBezTo>
                    <a:pt x="170356" y="250173"/>
                    <a:pt x="143679" y="204496"/>
                    <a:pt x="141706" y="197634"/>
                  </a:cubicBezTo>
                  <a:cubicBezTo>
                    <a:pt x="139733" y="190772"/>
                    <a:pt x="151614" y="163365"/>
                    <a:pt x="148612" y="147411"/>
                  </a:cubicBezTo>
                  <a:cubicBezTo>
                    <a:pt x="145652" y="131413"/>
                    <a:pt x="127896" y="141706"/>
                    <a:pt x="121977" y="142822"/>
                  </a:cubicBezTo>
                  <a:cubicBezTo>
                    <a:pt x="116059" y="143979"/>
                    <a:pt x="102205" y="124551"/>
                    <a:pt x="99246" y="124551"/>
                  </a:cubicBezTo>
                  <a:cubicBezTo>
                    <a:pt x="96287" y="124551"/>
                    <a:pt x="6433" y="163365"/>
                    <a:pt x="6433" y="163365"/>
                  </a:cubicBezTo>
                  <a:lnTo>
                    <a:pt x="13339" y="191930"/>
                  </a:lnTo>
                  <a:lnTo>
                    <a:pt x="11409" y="191973"/>
                  </a:lnTo>
                  <a:lnTo>
                    <a:pt x="16298" y="204454"/>
                  </a:lnTo>
                  <a:cubicBezTo>
                    <a:pt x="16298" y="204454"/>
                    <a:pt x="45934" y="206169"/>
                    <a:pt x="59273" y="216419"/>
                  </a:cubicBezTo>
                  <a:cubicBezTo>
                    <a:pt x="72612" y="226713"/>
                    <a:pt x="93327" y="228386"/>
                    <a:pt x="97788" y="231860"/>
                  </a:cubicBezTo>
                  <a:cubicBezTo>
                    <a:pt x="102248" y="235291"/>
                    <a:pt x="97788" y="272991"/>
                    <a:pt x="99246" y="291819"/>
                  </a:cubicBezTo>
                  <a:cubicBezTo>
                    <a:pt x="100747" y="310690"/>
                    <a:pt x="81490" y="315794"/>
                    <a:pt x="90368" y="326088"/>
                  </a:cubicBezTo>
                  <a:cubicBezTo>
                    <a:pt x="99246" y="336381"/>
                    <a:pt x="94828" y="353494"/>
                    <a:pt x="100747" y="355209"/>
                  </a:cubicBezTo>
                  <a:cubicBezTo>
                    <a:pt x="106666" y="356925"/>
                    <a:pt x="90368" y="379185"/>
                    <a:pt x="82948" y="384331"/>
                  </a:cubicBezTo>
                  <a:cubicBezTo>
                    <a:pt x="75571" y="389478"/>
                    <a:pt x="82948" y="408306"/>
                    <a:pt x="74070" y="421988"/>
                  </a:cubicBezTo>
                  <a:cubicBezTo>
                    <a:pt x="68366" y="430780"/>
                    <a:pt x="51768" y="447979"/>
                    <a:pt x="40187" y="461017"/>
                  </a:cubicBezTo>
                  <a:cubicBezTo>
                    <a:pt x="40745" y="461360"/>
                    <a:pt x="41259" y="461746"/>
                    <a:pt x="41474" y="462261"/>
                  </a:cubicBezTo>
                  <a:cubicBezTo>
                    <a:pt x="44433" y="468266"/>
                    <a:pt x="53312" y="528225"/>
                    <a:pt x="62189" y="534229"/>
                  </a:cubicBezTo>
                  <a:cubicBezTo>
                    <a:pt x="71110" y="540234"/>
                    <a:pt x="65921" y="599335"/>
                    <a:pt x="65149" y="604482"/>
                  </a:cubicBezTo>
                  <a:cubicBezTo>
                    <a:pt x="64377" y="609629"/>
                    <a:pt x="68880" y="649001"/>
                    <a:pt x="68880" y="649001"/>
                  </a:cubicBezTo>
                  <a:cubicBezTo>
                    <a:pt x="68880" y="649001"/>
                    <a:pt x="82090" y="646642"/>
                    <a:pt x="93756" y="646814"/>
                  </a:cubicBezTo>
                  <a:cubicBezTo>
                    <a:pt x="94528" y="639008"/>
                    <a:pt x="95043" y="632231"/>
                    <a:pt x="95300" y="627599"/>
                  </a:cubicBezTo>
                  <a:cubicBezTo>
                    <a:pt x="96287" y="609328"/>
                    <a:pt x="85436" y="624168"/>
                    <a:pt x="81961" y="612760"/>
                  </a:cubicBezTo>
                  <a:cubicBezTo>
                    <a:pt x="78488" y="601351"/>
                    <a:pt x="106151" y="580250"/>
                    <a:pt x="134287" y="568240"/>
                  </a:cubicBezTo>
                  <a:cubicBezTo>
                    <a:pt x="162465" y="556232"/>
                    <a:pt x="173316" y="549369"/>
                    <a:pt x="176275" y="537961"/>
                  </a:cubicBezTo>
                  <a:cubicBezTo>
                    <a:pt x="177691" y="532557"/>
                    <a:pt x="177648" y="522477"/>
                    <a:pt x="177648" y="512056"/>
                  </a:cubicBezTo>
                  <a:cubicBezTo>
                    <a:pt x="168855" y="506137"/>
                    <a:pt x="162122" y="496615"/>
                    <a:pt x="160621" y="483491"/>
                  </a:cubicBezTo>
                  <a:cubicBezTo>
                    <a:pt x="157104" y="452697"/>
                    <a:pt x="153458" y="417656"/>
                    <a:pt x="157747" y="385103"/>
                  </a:cubicBezTo>
                  <a:cubicBezTo>
                    <a:pt x="157704" y="384846"/>
                    <a:pt x="157618" y="384632"/>
                    <a:pt x="157532" y="384417"/>
                  </a:cubicBezTo>
                  <a:cubicBezTo>
                    <a:pt x="153587" y="368419"/>
                    <a:pt x="154573" y="355895"/>
                    <a:pt x="162936" y="355295"/>
                  </a:cubicBezTo>
                  <a:cubicBezTo>
                    <a:pt x="163494" y="355252"/>
                    <a:pt x="163966" y="355167"/>
                    <a:pt x="164480" y="355081"/>
                  </a:cubicBezTo>
                  <a:cubicBezTo>
                    <a:pt x="170228" y="338011"/>
                    <a:pt x="179235" y="322399"/>
                    <a:pt x="193131" y="309446"/>
                  </a:cubicBezTo>
                  <a:cubicBezTo>
                    <a:pt x="196733" y="306058"/>
                    <a:pt x="200550" y="303742"/>
                    <a:pt x="204411" y="302113"/>
                  </a:cubicBezTo>
                  <a:cubicBezTo>
                    <a:pt x="203681" y="294306"/>
                    <a:pt x="205783" y="286372"/>
                    <a:pt x="209300" y="279510"/>
                  </a:cubicBezTo>
                  <a:cubicBezTo>
                    <a:pt x="213460" y="271404"/>
                    <a:pt x="222639" y="264670"/>
                    <a:pt x="231045" y="262268"/>
                  </a:cubicBezTo>
                  <a:cubicBezTo>
                    <a:pt x="235891" y="260724"/>
                    <a:pt x="240738" y="260467"/>
                    <a:pt x="245584" y="261582"/>
                  </a:cubicBezTo>
                  <a:cubicBezTo>
                    <a:pt x="247514" y="261668"/>
                    <a:pt x="249358" y="261968"/>
                    <a:pt x="251160" y="262482"/>
                  </a:cubicBezTo>
                  <a:cubicBezTo>
                    <a:pt x="263941" y="254334"/>
                    <a:pt x="277237" y="251117"/>
                    <a:pt x="290017" y="245841"/>
                  </a:cubicBezTo>
                  <a:cubicBezTo>
                    <a:pt x="286715" y="238164"/>
                    <a:pt x="286072" y="228557"/>
                    <a:pt x="288131" y="220923"/>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86" name="Freeform: Shape 350">
              <a:extLst>
                <a:ext uri="{FF2B5EF4-FFF2-40B4-BE49-F238E27FC236}">
                  <a16:creationId xmlns:a16="http://schemas.microsoft.com/office/drawing/2014/main" id="{FF043CBD-28C2-9856-9850-1D3B4343A5BB}"/>
                </a:ext>
              </a:extLst>
            </p:cNvPr>
            <p:cNvSpPr/>
            <p:nvPr/>
          </p:nvSpPr>
          <p:spPr>
            <a:xfrm>
              <a:off x="7732783" y="4464230"/>
              <a:ext cx="262427" cy="334595"/>
            </a:xfrm>
            <a:custGeom>
              <a:avLst/>
              <a:gdLst>
                <a:gd name="connsiteX0" fmla="*/ 318410 w 343114"/>
                <a:gd name="connsiteY0" fmla="*/ 340198 h 437470"/>
                <a:gd name="connsiteX1" fmla="*/ 334107 w 343114"/>
                <a:gd name="connsiteY1" fmla="*/ 288816 h 437470"/>
                <a:gd name="connsiteX2" fmla="*/ 330291 w 343114"/>
                <a:gd name="connsiteY2" fmla="*/ 276293 h 437470"/>
                <a:gd name="connsiteX3" fmla="*/ 328231 w 343114"/>
                <a:gd name="connsiteY3" fmla="*/ 267715 h 437470"/>
                <a:gd name="connsiteX4" fmla="*/ 303699 w 343114"/>
                <a:gd name="connsiteY4" fmla="*/ 233704 h 437470"/>
                <a:gd name="connsiteX5" fmla="*/ 325487 w 343114"/>
                <a:gd name="connsiteY5" fmla="*/ 149769 h 437470"/>
                <a:gd name="connsiteX6" fmla="*/ 277108 w 343114"/>
                <a:gd name="connsiteY6" fmla="*/ 109882 h 437470"/>
                <a:gd name="connsiteX7" fmla="*/ 278781 w 343114"/>
                <a:gd name="connsiteY7" fmla="*/ 86122 h 437470"/>
                <a:gd name="connsiteX8" fmla="*/ 152600 w 343114"/>
                <a:gd name="connsiteY8" fmla="*/ 8664 h 437470"/>
                <a:gd name="connsiteX9" fmla="*/ 136474 w 343114"/>
                <a:gd name="connsiteY9" fmla="*/ 45034 h 437470"/>
                <a:gd name="connsiteX10" fmla="*/ 138704 w 343114"/>
                <a:gd name="connsiteY10" fmla="*/ 69009 h 437470"/>
                <a:gd name="connsiteX11" fmla="*/ 84663 w 343114"/>
                <a:gd name="connsiteY11" fmla="*/ 65577 h 437470"/>
                <a:gd name="connsiteX12" fmla="*/ 84492 w 343114"/>
                <a:gd name="connsiteY12" fmla="*/ 6433 h 437470"/>
                <a:gd name="connsiteX13" fmla="*/ 56657 w 343114"/>
                <a:gd name="connsiteY13" fmla="*/ 9050 h 437470"/>
                <a:gd name="connsiteX14" fmla="*/ 40916 w 343114"/>
                <a:gd name="connsiteY14" fmla="*/ 13896 h 437470"/>
                <a:gd name="connsiteX15" fmla="*/ 46406 w 343114"/>
                <a:gd name="connsiteY15" fmla="*/ 30794 h 437470"/>
                <a:gd name="connsiteX16" fmla="*/ 51553 w 343114"/>
                <a:gd name="connsiteY16" fmla="*/ 56485 h 437470"/>
                <a:gd name="connsiteX17" fmla="*/ 38214 w 343114"/>
                <a:gd name="connsiteY17" fmla="*/ 63862 h 437470"/>
                <a:gd name="connsiteX18" fmla="*/ 39544 w 343114"/>
                <a:gd name="connsiteY18" fmla="*/ 84149 h 437470"/>
                <a:gd name="connsiteX19" fmla="*/ 48079 w 343114"/>
                <a:gd name="connsiteY19" fmla="*/ 90068 h 437470"/>
                <a:gd name="connsiteX20" fmla="*/ 20715 w 343114"/>
                <a:gd name="connsiteY20" fmla="*/ 135530 h 437470"/>
                <a:gd name="connsiteX21" fmla="*/ 6433 w 343114"/>
                <a:gd name="connsiteY21" fmla="*/ 145266 h 437470"/>
                <a:gd name="connsiteX22" fmla="*/ 26892 w 343114"/>
                <a:gd name="connsiteY22" fmla="*/ 218864 h 437470"/>
                <a:gd name="connsiteX23" fmla="*/ 44647 w 343114"/>
                <a:gd name="connsiteY23" fmla="*/ 269387 h 437470"/>
                <a:gd name="connsiteX24" fmla="*/ 52796 w 343114"/>
                <a:gd name="connsiteY24" fmla="*/ 300225 h 437470"/>
                <a:gd name="connsiteX25" fmla="*/ 34183 w 343114"/>
                <a:gd name="connsiteY25" fmla="*/ 284013 h 437470"/>
                <a:gd name="connsiteX26" fmla="*/ 32038 w 343114"/>
                <a:gd name="connsiteY26" fmla="*/ 289975 h 437470"/>
                <a:gd name="connsiteX27" fmla="*/ 30794 w 343114"/>
                <a:gd name="connsiteY27" fmla="*/ 291647 h 437470"/>
                <a:gd name="connsiteX28" fmla="*/ 54898 w 343114"/>
                <a:gd name="connsiteY28" fmla="*/ 307516 h 437470"/>
                <a:gd name="connsiteX29" fmla="*/ 85650 w 343114"/>
                <a:gd name="connsiteY29" fmla="*/ 321326 h 437470"/>
                <a:gd name="connsiteX30" fmla="*/ 128410 w 343114"/>
                <a:gd name="connsiteY30" fmla="*/ 343072 h 437470"/>
                <a:gd name="connsiteX31" fmla="*/ 130555 w 343114"/>
                <a:gd name="connsiteY31" fmla="*/ 346889 h 437470"/>
                <a:gd name="connsiteX32" fmla="*/ 153029 w 343114"/>
                <a:gd name="connsiteY32" fmla="*/ 346975 h 437470"/>
                <a:gd name="connsiteX33" fmla="*/ 157918 w 343114"/>
                <a:gd name="connsiteY33" fmla="*/ 344787 h 437470"/>
                <a:gd name="connsiteX34" fmla="*/ 181936 w 343114"/>
                <a:gd name="connsiteY34" fmla="*/ 423060 h 437470"/>
                <a:gd name="connsiteX35" fmla="*/ 200893 w 343114"/>
                <a:gd name="connsiteY35" fmla="*/ 425333 h 437470"/>
                <a:gd name="connsiteX36" fmla="*/ 220665 w 343114"/>
                <a:gd name="connsiteY36" fmla="*/ 420787 h 437470"/>
                <a:gd name="connsiteX37" fmla="*/ 231516 w 343114"/>
                <a:gd name="connsiteY37" fmla="*/ 432196 h 437470"/>
                <a:gd name="connsiteX38" fmla="*/ 260123 w 343114"/>
                <a:gd name="connsiteY38" fmla="*/ 427649 h 437470"/>
                <a:gd name="connsiteX39" fmla="*/ 279896 w 343114"/>
                <a:gd name="connsiteY39" fmla="*/ 425376 h 437470"/>
                <a:gd name="connsiteX40" fmla="*/ 290746 w 343114"/>
                <a:gd name="connsiteY40" fmla="*/ 410536 h 437470"/>
                <a:gd name="connsiteX41" fmla="*/ 310476 w 343114"/>
                <a:gd name="connsiteY41" fmla="*/ 411651 h 437470"/>
                <a:gd name="connsiteX42" fmla="*/ 334193 w 343114"/>
                <a:gd name="connsiteY42" fmla="*/ 404789 h 437470"/>
                <a:gd name="connsiteX43" fmla="*/ 336938 w 343114"/>
                <a:gd name="connsiteY43" fmla="*/ 402001 h 437470"/>
                <a:gd name="connsiteX44" fmla="*/ 318410 w 343114"/>
                <a:gd name="connsiteY44" fmla="*/ 340198 h 437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43114" h="437470">
                  <a:moveTo>
                    <a:pt x="318410" y="340198"/>
                  </a:moveTo>
                  <a:cubicBezTo>
                    <a:pt x="307216" y="318496"/>
                    <a:pt x="317981" y="298124"/>
                    <a:pt x="334107" y="288816"/>
                  </a:cubicBezTo>
                  <a:cubicBezTo>
                    <a:pt x="333893" y="282083"/>
                    <a:pt x="332993" y="277237"/>
                    <a:pt x="330291" y="276293"/>
                  </a:cubicBezTo>
                  <a:cubicBezTo>
                    <a:pt x="328060" y="275521"/>
                    <a:pt x="327503" y="272261"/>
                    <a:pt x="328231" y="267715"/>
                  </a:cubicBezTo>
                  <a:cubicBezTo>
                    <a:pt x="315108" y="263255"/>
                    <a:pt x="304299" y="251889"/>
                    <a:pt x="303699" y="233704"/>
                  </a:cubicBezTo>
                  <a:cubicBezTo>
                    <a:pt x="302627" y="200379"/>
                    <a:pt x="311333" y="173873"/>
                    <a:pt x="325487" y="149769"/>
                  </a:cubicBezTo>
                  <a:cubicBezTo>
                    <a:pt x="300482" y="129654"/>
                    <a:pt x="277108" y="109882"/>
                    <a:pt x="277108" y="109882"/>
                  </a:cubicBezTo>
                  <a:lnTo>
                    <a:pt x="278781" y="86122"/>
                  </a:lnTo>
                  <a:lnTo>
                    <a:pt x="152600" y="8664"/>
                  </a:lnTo>
                  <a:cubicBezTo>
                    <a:pt x="151785" y="26462"/>
                    <a:pt x="145480" y="40230"/>
                    <a:pt x="136474" y="45034"/>
                  </a:cubicBezTo>
                  <a:cubicBezTo>
                    <a:pt x="126823" y="50180"/>
                    <a:pt x="149812" y="66435"/>
                    <a:pt x="138704" y="69009"/>
                  </a:cubicBezTo>
                  <a:cubicBezTo>
                    <a:pt x="127596" y="71582"/>
                    <a:pt x="102420" y="57000"/>
                    <a:pt x="84663" y="65577"/>
                  </a:cubicBezTo>
                  <a:cubicBezTo>
                    <a:pt x="72740" y="71325"/>
                    <a:pt x="75185" y="36799"/>
                    <a:pt x="84492" y="6433"/>
                  </a:cubicBezTo>
                  <a:lnTo>
                    <a:pt x="56657" y="9050"/>
                  </a:lnTo>
                  <a:cubicBezTo>
                    <a:pt x="56657" y="9050"/>
                    <a:pt x="49108" y="11237"/>
                    <a:pt x="40916" y="13896"/>
                  </a:cubicBezTo>
                  <a:lnTo>
                    <a:pt x="46406" y="30794"/>
                  </a:lnTo>
                  <a:cubicBezTo>
                    <a:pt x="46406" y="30794"/>
                    <a:pt x="53268" y="46578"/>
                    <a:pt x="51553" y="56485"/>
                  </a:cubicBezTo>
                  <a:cubicBezTo>
                    <a:pt x="50781" y="60988"/>
                    <a:pt x="44647" y="62961"/>
                    <a:pt x="38214" y="63862"/>
                  </a:cubicBezTo>
                  <a:cubicBezTo>
                    <a:pt x="40487" y="75528"/>
                    <a:pt x="39544" y="84149"/>
                    <a:pt x="39544" y="84149"/>
                  </a:cubicBezTo>
                  <a:lnTo>
                    <a:pt x="48079" y="90068"/>
                  </a:lnTo>
                  <a:cubicBezTo>
                    <a:pt x="48079" y="90068"/>
                    <a:pt x="29293" y="131584"/>
                    <a:pt x="20715" y="135530"/>
                  </a:cubicBezTo>
                  <a:cubicBezTo>
                    <a:pt x="18442" y="136602"/>
                    <a:pt x="13038" y="140377"/>
                    <a:pt x="6433" y="145266"/>
                  </a:cubicBezTo>
                  <a:cubicBezTo>
                    <a:pt x="11451" y="174430"/>
                    <a:pt x="17627" y="209128"/>
                    <a:pt x="26892" y="218864"/>
                  </a:cubicBezTo>
                  <a:cubicBezTo>
                    <a:pt x="43919" y="236835"/>
                    <a:pt x="40959" y="257379"/>
                    <a:pt x="44647" y="269387"/>
                  </a:cubicBezTo>
                  <a:cubicBezTo>
                    <a:pt x="48379" y="281354"/>
                    <a:pt x="63176" y="295078"/>
                    <a:pt x="52796" y="300225"/>
                  </a:cubicBezTo>
                  <a:cubicBezTo>
                    <a:pt x="46106" y="303528"/>
                    <a:pt x="40144" y="295250"/>
                    <a:pt x="34183" y="284013"/>
                  </a:cubicBezTo>
                  <a:cubicBezTo>
                    <a:pt x="33582" y="286029"/>
                    <a:pt x="32853" y="288045"/>
                    <a:pt x="32038" y="289975"/>
                  </a:cubicBezTo>
                  <a:cubicBezTo>
                    <a:pt x="31781" y="290618"/>
                    <a:pt x="31223" y="291090"/>
                    <a:pt x="30794" y="291647"/>
                  </a:cubicBezTo>
                  <a:cubicBezTo>
                    <a:pt x="39844" y="299367"/>
                    <a:pt x="50438" y="307516"/>
                    <a:pt x="54898" y="307516"/>
                  </a:cubicBezTo>
                  <a:cubicBezTo>
                    <a:pt x="63433" y="307516"/>
                    <a:pt x="77115" y="319397"/>
                    <a:pt x="85650" y="321326"/>
                  </a:cubicBezTo>
                  <a:cubicBezTo>
                    <a:pt x="94185" y="323300"/>
                    <a:pt x="124679" y="337367"/>
                    <a:pt x="128410" y="343072"/>
                  </a:cubicBezTo>
                  <a:cubicBezTo>
                    <a:pt x="129054" y="344058"/>
                    <a:pt x="129783" y="345388"/>
                    <a:pt x="130555" y="346889"/>
                  </a:cubicBezTo>
                  <a:cubicBezTo>
                    <a:pt x="137846" y="346460"/>
                    <a:pt x="147411" y="346159"/>
                    <a:pt x="153029" y="346975"/>
                  </a:cubicBezTo>
                  <a:cubicBezTo>
                    <a:pt x="154230" y="345688"/>
                    <a:pt x="155774" y="344787"/>
                    <a:pt x="157918" y="344787"/>
                  </a:cubicBezTo>
                  <a:cubicBezTo>
                    <a:pt x="169198" y="344787"/>
                    <a:pt x="182494" y="394281"/>
                    <a:pt x="181936" y="423060"/>
                  </a:cubicBezTo>
                  <a:cubicBezTo>
                    <a:pt x="188670" y="424047"/>
                    <a:pt x="197891" y="425333"/>
                    <a:pt x="200893" y="425333"/>
                  </a:cubicBezTo>
                  <a:cubicBezTo>
                    <a:pt x="205869" y="425333"/>
                    <a:pt x="211787" y="417356"/>
                    <a:pt x="220665" y="420787"/>
                  </a:cubicBezTo>
                  <a:cubicBezTo>
                    <a:pt x="229544" y="424218"/>
                    <a:pt x="223625" y="432196"/>
                    <a:pt x="231516" y="432196"/>
                  </a:cubicBezTo>
                  <a:cubicBezTo>
                    <a:pt x="239408" y="432196"/>
                    <a:pt x="255191" y="426491"/>
                    <a:pt x="260123" y="427649"/>
                  </a:cubicBezTo>
                  <a:cubicBezTo>
                    <a:pt x="265099" y="428764"/>
                    <a:pt x="278909" y="432196"/>
                    <a:pt x="279896" y="425376"/>
                  </a:cubicBezTo>
                  <a:cubicBezTo>
                    <a:pt x="280839" y="418514"/>
                    <a:pt x="283841" y="408263"/>
                    <a:pt x="290746" y="410536"/>
                  </a:cubicBezTo>
                  <a:cubicBezTo>
                    <a:pt x="297651" y="412810"/>
                    <a:pt x="302584" y="419672"/>
                    <a:pt x="310476" y="411651"/>
                  </a:cubicBezTo>
                  <a:cubicBezTo>
                    <a:pt x="318410" y="403674"/>
                    <a:pt x="331234" y="411651"/>
                    <a:pt x="334193" y="404789"/>
                  </a:cubicBezTo>
                  <a:cubicBezTo>
                    <a:pt x="334494" y="404103"/>
                    <a:pt x="335566" y="403117"/>
                    <a:pt x="336938" y="402001"/>
                  </a:cubicBezTo>
                  <a:cubicBezTo>
                    <a:pt x="332993" y="380686"/>
                    <a:pt x="328403" y="359627"/>
                    <a:pt x="318410" y="340198"/>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sp>
          <p:nvSpPr>
            <p:cNvPr id="187" name="Freeform: Shape 351">
              <a:extLst>
                <a:ext uri="{FF2B5EF4-FFF2-40B4-BE49-F238E27FC236}">
                  <a16:creationId xmlns:a16="http://schemas.microsoft.com/office/drawing/2014/main" id="{4636C08D-05BC-92C6-6D52-9222B0BF9C34}"/>
                </a:ext>
              </a:extLst>
            </p:cNvPr>
            <p:cNvSpPr/>
            <p:nvPr/>
          </p:nvSpPr>
          <p:spPr>
            <a:xfrm>
              <a:off x="7815226" y="4724309"/>
              <a:ext cx="88569" cy="232904"/>
            </a:xfrm>
            <a:custGeom>
              <a:avLst/>
              <a:gdLst>
                <a:gd name="connsiteX0" fmla="*/ 106954 w 115801"/>
                <a:gd name="connsiteY0" fmla="*/ 200663 h 304514"/>
                <a:gd name="connsiteX1" fmla="*/ 86710 w 115801"/>
                <a:gd name="connsiteY1" fmla="*/ 178103 h 304514"/>
                <a:gd name="connsiteX2" fmla="*/ 85724 w 115801"/>
                <a:gd name="connsiteY2" fmla="*/ 184622 h 304514"/>
                <a:gd name="connsiteX3" fmla="*/ 49439 w 115801"/>
                <a:gd name="connsiteY3" fmla="*/ 125520 h 304514"/>
                <a:gd name="connsiteX4" fmla="*/ 53128 w 115801"/>
                <a:gd name="connsiteY4" fmla="*/ 56983 h 304514"/>
                <a:gd name="connsiteX5" fmla="*/ 45236 w 115801"/>
                <a:gd name="connsiteY5" fmla="*/ 6932 h 304514"/>
                <a:gd name="connsiteX6" fmla="*/ 22762 w 115801"/>
                <a:gd name="connsiteY6" fmla="*/ 6846 h 304514"/>
                <a:gd name="connsiteX7" fmla="*/ 35972 w 115801"/>
                <a:gd name="connsiteY7" fmla="*/ 44588 h 304514"/>
                <a:gd name="connsiteX8" fmla="*/ 24006 w 115801"/>
                <a:gd name="connsiteY8" fmla="*/ 52480 h 304514"/>
                <a:gd name="connsiteX9" fmla="*/ 25721 w 115801"/>
                <a:gd name="connsiteY9" fmla="*/ 115699 h 304514"/>
                <a:gd name="connsiteX10" fmla="*/ 12040 w 115801"/>
                <a:gd name="connsiteY10" fmla="*/ 125649 h 304514"/>
                <a:gd name="connsiteX11" fmla="*/ 6936 w 115801"/>
                <a:gd name="connsiteY11" fmla="*/ 163177 h 304514"/>
                <a:gd name="connsiteX12" fmla="*/ 12812 w 115801"/>
                <a:gd name="connsiteY12" fmla="*/ 180161 h 304514"/>
                <a:gd name="connsiteX13" fmla="*/ 13112 w 115801"/>
                <a:gd name="connsiteY13" fmla="*/ 180076 h 304514"/>
                <a:gd name="connsiteX14" fmla="*/ 35843 w 115801"/>
                <a:gd name="connsiteY14" fmla="*/ 198347 h 304514"/>
                <a:gd name="connsiteX15" fmla="*/ 62477 w 115801"/>
                <a:gd name="connsiteY15" fmla="*/ 202936 h 304514"/>
                <a:gd name="connsiteX16" fmla="*/ 55572 w 115801"/>
                <a:gd name="connsiteY16" fmla="*/ 253159 h 304514"/>
                <a:gd name="connsiteX17" fmla="*/ 86195 w 115801"/>
                <a:gd name="connsiteY17" fmla="*/ 299994 h 304514"/>
                <a:gd name="connsiteX18" fmla="*/ 89154 w 115801"/>
                <a:gd name="connsiteY18" fmla="*/ 264568 h 304514"/>
                <a:gd name="connsiteX19" fmla="*/ 107897 w 115801"/>
                <a:gd name="connsiteY19" fmla="*/ 239478 h 304514"/>
                <a:gd name="connsiteX20" fmla="*/ 106954 w 115801"/>
                <a:gd name="connsiteY20" fmla="*/ 200663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5801" h="304514">
                  <a:moveTo>
                    <a:pt x="106954" y="200663"/>
                  </a:moveTo>
                  <a:cubicBezTo>
                    <a:pt x="102493" y="194315"/>
                    <a:pt x="94044" y="185437"/>
                    <a:pt x="86710" y="178103"/>
                  </a:cubicBezTo>
                  <a:cubicBezTo>
                    <a:pt x="86882" y="180934"/>
                    <a:pt x="86581" y="183207"/>
                    <a:pt x="85724" y="184622"/>
                  </a:cubicBezTo>
                  <a:cubicBezTo>
                    <a:pt x="77060" y="199162"/>
                    <a:pt x="52399" y="153785"/>
                    <a:pt x="49439" y="125520"/>
                  </a:cubicBezTo>
                  <a:cubicBezTo>
                    <a:pt x="46437" y="97257"/>
                    <a:pt x="63507" y="83532"/>
                    <a:pt x="53128" y="56983"/>
                  </a:cubicBezTo>
                  <a:cubicBezTo>
                    <a:pt x="44464" y="34810"/>
                    <a:pt x="39060" y="13408"/>
                    <a:pt x="45236" y="6932"/>
                  </a:cubicBezTo>
                  <a:cubicBezTo>
                    <a:pt x="39575" y="6117"/>
                    <a:pt x="30010" y="6460"/>
                    <a:pt x="22762" y="6846"/>
                  </a:cubicBezTo>
                  <a:cubicBezTo>
                    <a:pt x="28166" y="17182"/>
                    <a:pt x="35972" y="37640"/>
                    <a:pt x="35972" y="44588"/>
                  </a:cubicBezTo>
                  <a:cubicBezTo>
                    <a:pt x="35972" y="52480"/>
                    <a:pt x="27437" y="42616"/>
                    <a:pt x="24006" y="52480"/>
                  </a:cubicBezTo>
                  <a:cubicBezTo>
                    <a:pt x="20617" y="62387"/>
                    <a:pt x="18902" y="107850"/>
                    <a:pt x="25721" y="115699"/>
                  </a:cubicBezTo>
                  <a:cubicBezTo>
                    <a:pt x="32584" y="123634"/>
                    <a:pt x="12040" y="117715"/>
                    <a:pt x="12040" y="125649"/>
                  </a:cubicBezTo>
                  <a:cubicBezTo>
                    <a:pt x="12040" y="133541"/>
                    <a:pt x="10367" y="161205"/>
                    <a:pt x="6936" y="163177"/>
                  </a:cubicBezTo>
                  <a:cubicBezTo>
                    <a:pt x="5006" y="164293"/>
                    <a:pt x="8995" y="171026"/>
                    <a:pt x="12812" y="180161"/>
                  </a:cubicBezTo>
                  <a:cubicBezTo>
                    <a:pt x="12855" y="180161"/>
                    <a:pt x="13069" y="180076"/>
                    <a:pt x="13112" y="180076"/>
                  </a:cubicBezTo>
                  <a:cubicBezTo>
                    <a:pt x="16071" y="180076"/>
                    <a:pt x="29925" y="199504"/>
                    <a:pt x="35843" y="198347"/>
                  </a:cubicBezTo>
                  <a:cubicBezTo>
                    <a:pt x="41762" y="197232"/>
                    <a:pt x="59518" y="186981"/>
                    <a:pt x="62477" y="202936"/>
                  </a:cubicBezTo>
                  <a:cubicBezTo>
                    <a:pt x="65437" y="218891"/>
                    <a:pt x="53600" y="246297"/>
                    <a:pt x="55572" y="253159"/>
                  </a:cubicBezTo>
                  <a:cubicBezTo>
                    <a:pt x="57545" y="260022"/>
                    <a:pt x="84223" y="305698"/>
                    <a:pt x="86195" y="299994"/>
                  </a:cubicBezTo>
                  <a:cubicBezTo>
                    <a:pt x="88168" y="294247"/>
                    <a:pt x="80277" y="273703"/>
                    <a:pt x="89154" y="264568"/>
                  </a:cubicBezTo>
                  <a:cubicBezTo>
                    <a:pt x="98076" y="255475"/>
                    <a:pt x="108926" y="266841"/>
                    <a:pt x="107897" y="239478"/>
                  </a:cubicBezTo>
                  <a:cubicBezTo>
                    <a:pt x="106954" y="212071"/>
                    <a:pt x="115832" y="213229"/>
                    <a:pt x="106954" y="200663"/>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sym typeface="+mn-lt"/>
              </a:endParaRPr>
            </a:p>
          </p:txBody>
        </p:sp>
      </p:grpSp>
      <p:grpSp>
        <p:nvGrpSpPr>
          <p:cNvPr id="188" name="Group 14">
            <a:extLst>
              <a:ext uri="{FF2B5EF4-FFF2-40B4-BE49-F238E27FC236}">
                <a16:creationId xmlns:a16="http://schemas.microsoft.com/office/drawing/2014/main" id="{B960E158-0AFD-CEBC-299C-0422F67240CC}"/>
              </a:ext>
            </a:extLst>
          </p:cNvPr>
          <p:cNvGrpSpPr/>
          <p:nvPr/>
        </p:nvGrpSpPr>
        <p:grpSpPr>
          <a:xfrm>
            <a:off x="7688285" y="1215052"/>
            <a:ext cx="4200091" cy="3595413"/>
            <a:chOff x="7688285" y="1215052"/>
            <a:chExt cx="4200091" cy="3595413"/>
          </a:xfrm>
          <a:solidFill>
            <a:schemeClr val="accent2">
              <a:alpha val="50000"/>
            </a:schemeClr>
          </a:solidFill>
        </p:grpSpPr>
        <p:sp>
          <p:nvSpPr>
            <p:cNvPr id="189" name="Freeform: Shape 278">
              <a:extLst>
                <a:ext uri="{FF2B5EF4-FFF2-40B4-BE49-F238E27FC236}">
                  <a16:creationId xmlns:a16="http://schemas.microsoft.com/office/drawing/2014/main" id="{B8B30D0F-CB49-CD3E-8559-7CC6AD59578B}"/>
                </a:ext>
              </a:extLst>
            </p:cNvPr>
            <p:cNvSpPr/>
            <p:nvPr/>
          </p:nvSpPr>
          <p:spPr>
            <a:xfrm>
              <a:off x="10080664" y="4151616"/>
              <a:ext cx="131213" cy="137774"/>
            </a:xfrm>
            <a:custGeom>
              <a:avLst/>
              <a:gdLst>
                <a:gd name="connsiteX0" fmla="*/ 130282 w 171557"/>
                <a:gd name="connsiteY0" fmla="*/ 22043 h 180135"/>
                <a:gd name="connsiteX1" fmla="*/ 111497 w 171557"/>
                <a:gd name="connsiteY1" fmla="*/ 42630 h 180135"/>
                <a:gd name="connsiteX2" fmla="*/ 91768 w 171557"/>
                <a:gd name="connsiteY2" fmla="*/ 59743 h 180135"/>
                <a:gd name="connsiteX3" fmla="*/ 62132 w 171557"/>
                <a:gd name="connsiteY3" fmla="*/ 51765 h 180135"/>
                <a:gd name="connsiteX4" fmla="*/ 23617 w 171557"/>
                <a:gd name="connsiteY4" fmla="*/ 78014 h 180135"/>
                <a:gd name="connsiteX5" fmla="*/ 10793 w 171557"/>
                <a:gd name="connsiteY5" fmla="*/ 117986 h 180135"/>
                <a:gd name="connsiteX6" fmla="*/ 40429 w 171557"/>
                <a:gd name="connsiteY6" fmla="*/ 99716 h 180135"/>
                <a:gd name="connsiteX7" fmla="*/ 65134 w 171557"/>
                <a:gd name="connsiteY7" fmla="*/ 89422 h 180135"/>
                <a:gd name="connsiteX8" fmla="*/ 92797 w 171557"/>
                <a:gd name="connsiteY8" fmla="*/ 155643 h 180135"/>
                <a:gd name="connsiteX9" fmla="*/ 127323 w 171557"/>
                <a:gd name="connsiteY9" fmla="*/ 176187 h 180135"/>
                <a:gd name="connsiteX10" fmla="*/ 126337 w 171557"/>
                <a:gd name="connsiteY10" fmla="*/ 127079 h 180135"/>
                <a:gd name="connsiteX11" fmla="*/ 161892 w 171557"/>
                <a:gd name="connsiteY11" fmla="*/ 109923 h 180135"/>
                <a:gd name="connsiteX12" fmla="*/ 154000 w 171557"/>
                <a:gd name="connsiteY12" fmla="*/ 24316 h 180135"/>
                <a:gd name="connsiteX13" fmla="*/ 130282 w 171557"/>
                <a:gd name="connsiteY13" fmla="*/ 22043 h 18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1557" h="180135">
                  <a:moveTo>
                    <a:pt x="130282" y="22043"/>
                  </a:moveTo>
                  <a:cubicBezTo>
                    <a:pt x="139161" y="39156"/>
                    <a:pt x="113513" y="25474"/>
                    <a:pt x="111497" y="42630"/>
                  </a:cubicBezTo>
                  <a:cubicBezTo>
                    <a:pt x="109524" y="59743"/>
                    <a:pt x="90738" y="46061"/>
                    <a:pt x="91768" y="59743"/>
                  </a:cubicBezTo>
                  <a:cubicBezTo>
                    <a:pt x="92754" y="73467"/>
                    <a:pt x="72039" y="59743"/>
                    <a:pt x="62132" y="51765"/>
                  </a:cubicBezTo>
                  <a:cubicBezTo>
                    <a:pt x="52267" y="43788"/>
                    <a:pt x="38457" y="73467"/>
                    <a:pt x="23617" y="78014"/>
                  </a:cubicBezTo>
                  <a:cubicBezTo>
                    <a:pt x="8820" y="82603"/>
                    <a:pt x="971" y="118930"/>
                    <a:pt x="10793" y="117986"/>
                  </a:cubicBezTo>
                  <a:cubicBezTo>
                    <a:pt x="22674" y="116871"/>
                    <a:pt x="28549" y="98558"/>
                    <a:pt x="40429" y="99716"/>
                  </a:cubicBezTo>
                  <a:cubicBezTo>
                    <a:pt x="52310" y="100831"/>
                    <a:pt x="48364" y="85991"/>
                    <a:pt x="65134" y="89422"/>
                  </a:cubicBezTo>
                  <a:cubicBezTo>
                    <a:pt x="81903" y="92853"/>
                    <a:pt x="70067" y="151097"/>
                    <a:pt x="92797" y="155643"/>
                  </a:cubicBezTo>
                  <a:cubicBezTo>
                    <a:pt x="115486" y="160233"/>
                    <a:pt x="116472" y="176187"/>
                    <a:pt x="127323" y="176187"/>
                  </a:cubicBezTo>
                  <a:cubicBezTo>
                    <a:pt x="138174" y="176187"/>
                    <a:pt x="125393" y="139645"/>
                    <a:pt x="126337" y="127079"/>
                  </a:cubicBezTo>
                  <a:cubicBezTo>
                    <a:pt x="127323" y="114512"/>
                    <a:pt x="150012" y="125921"/>
                    <a:pt x="161892" y="109923"/>
                  </a:cubicBezTo>
                  <a:cubicBezTo>
                    <a:pt x="173773" y="93926"/>
                    <a:pt x="154000" y="51680"/>
                    <a:pt x="154000" y="24316"/>
                  </a:cubicBezTo>
                  <a:cubicBezTo>
                    <a:pt x="154000" y="-3047"/>
                    <a:pt x="121405" y="4930"/>
                    <a:pt x="130282" y="22043"/>
                  </a:cubicBezTo>
                  <a:close/>
                </a:path>
              </a:pathLst>
            </a:custGeom>
            <a:grpFill/>
            <a:ln w="1905" cap="flat">
              <a:solidFill>
                <a:schemeClr val="bg1"/>
              </a:solidFill>
              <a:prstDash val="solid"/>
              <a:miter/>
            </a:ln>
          </p:spPr>
          <p:txBody>
            <a:bodyPr rtlCol="0" anchor="ctr"/>
            <a:lstStyle/>
            <a:p>
              <a:endParaRPr lang="en-US" dirty="0">
                <a:sym typeface="+mn-lt"/>
              </a:endParaRPr>
            </a:p>
          </p:txBody>
        </p:sp>
        <p:grpSp>
          <p:nvGrpSpPr>
            <p:cNvPr id="190" name="Group 12">
              <a:extLst>
                <a:ext uri="{FF2B5EF4-FFF2-40B4-BE49-F238E27FC236}">
                  <a16:creationId xmlns:a16="http://schemas.microsoft.com/office/drawing/2014/main" id="{8E1611A9-7921-F859-4C9B-5C5FEC35B1FD}"/>
                </a:ext>
              </a:extLst>
            </p:cNvPr>
            <p:cNvGrpSpPr/>
            <p:nvPr/>
          </p:nvGrpSpPr>
          <p:grpSpPr>
            <a:xfrm>
              <a:off x="8312025" y="3337796"/>
              <a:ext cx="1872575" cy="940505"/>
              <a:chOff x="8312025" y="3337796"/>
              <a:chExt cx="1872575" cy="940505"/>
            </a:xfrm>
            <a:grpFill/>
          </p:grpSpPr>
          <p:sp>
            <p:nvSpPr>
              <p:cNvPr id="293" name="Freeform: Shape 124">
                <a:extLst>
                  <a:ext uri="{FF2B5EF4-FFF2-40B4-BE49-F238E27FC236}">
                    <a16:creationId xmlns:a16="http://schemas.microsoft.com/office/drawing/2014/main" id="{C79CD404-B481-EFD7-0631-46E6380931CF}"/>
                  </a:ext>
                </a:extLst>
              </p:cNvPr>
              <p:cNvSpPr/>
              <p:nvPr/>
            </p:nvSpPr>
            <p:spPr>
              <a:xfrm>
                <a:off x="8740667" y="3337796"/>
                <a:ext cx="718394" cy="872570"/>
              </a:xfrm>
              <a:custGeom>
                <a:avLst/>
                <a:gdLst>
                  <a:gd name="connsiteX0" fmla="*/ 926280 w 939275"/>
                  <a:gd name="connsiteY0" fmla="*/ 337496 h 1140855"/>
                  <a:gd name="connsiteX1" fmla="*/ 934215 w 939275"/>
                  <a:gd name="connsiteY1" fmla="*/ 319182 h 1140855"/>
                  <a:gd name="connsiteX2" fmla="*/ 914443 w 939275"/>
                  <a:gd name="connsiteY2" fmla="*/ 306959 h 1140855"/>
                  <a:gd name="connsiteX3" fmla="*/ 901233 w 939275"/>
                  <a:gd name="connsiteY3" fmla="*/ 281054 h 1140855"/>
                  <a:gd name="connsiteX4" fmla="*/ 884120 w 939275"/>
                  <a:gd name="connsiteY4" fmla="*/ 284099 h 1140855"/>
                  <a:gd name="connsiteX5" fmla="*/ 844576 w 939275"/>
                  <a:gd name="connsiteY5" fmla="*/ 285600 h 1140855"/>
                  <a:gd name="connsiteX6" fmla="*/ 815583 w 939275"/>
                  <a:gd name="connsiteY6" fmla="*/ 306916 h 1140855"/>
                  <a:gd name="connsiteX7" fmla="*/ 802416 w 939275"/>
                  <a:gd name="connsiteY7" fmla="*/ 322184 h 1140855"/>
                  <a:gd name="connsiteX8" fmla="*/ 786589 w 939275"/>
                  <a:gd name="connsiteY8" fmla="*/ 338954 h 1140855"/>
                  <a:gd name="connsiteX9" fmla="*/ 769434 w 939275"/>
                  <a:gd name="connsiteY9" fmla="*/ 346588 h 1140855"/>
                  <a:gd name="connsiteX10" fmla="*/ 773380 w 939275"/>
                  <a:gd name="connsiteY10" fmla="*/ 380128 h 1140855"/>
                  <a:gd name="connsiteX11" fmla="*/ 740441 w 939275"/>
                  <a:gd name="connsiteY11" fmla="*/ 384717 h 1140855"/>
                  <a:gd name="connsiteX12" fmla="*/ 708746 w 939275"/>
                  <a:gd name="connsiteY12" fmla="*/ 381672 h 1140855"/>
                  <a:gd name="connsiteX13" fmla="*/ 686357 w 939275"/>
                  <a:gd name="connsiteY13" fmla="*/ 375539 h 1140855"/>
                  <a:gd name="connsiteX14" fmla="*/ 675807 w 939275"/>
                  <a:gd name="connsiteY14" fmla="*/ 349591 h 1140855"/>
                  <a:gd name="connsiteX15" fmla="*/ 665256 w 939275"/>
                  <a:gd name="connsiteY15" fmla="*/ 329776 h 1140855"/>
                  <a:gd name="connsiteX16" fmla="*/ 652089 w 939275"/>
                  <a:gd name="connsiteY16" fmla="*/ 348090 h 1140855"/>
                  <a:gd name="connsiteX17" fmla="*/ 650759 w 939275"/>
                  <a:gd name="connsiteY17" fmla="*/ 387719 h 1140855"/>
                  <a:gd name="connsiteX18" fmla="*/ 592730 w 939275"/>
                  <a:gd name="connsiteY18" fmla="*/ 393853 h 1140855"/>
                  <a:gd name="connsiteX19" fmla="*/ 549240 w 939275"/>
                  <a:gd name="connsiteY19" fmla="*/ 373995 h 1140855"/>
                  <a:gd name="connsiteX20" fmla="*/ 530755 w 939275"/>
                  <a:gd name="connsiteY20" fmla="*/ 352679 h 1140855"/>
                  <a:gd name="connsiteX21" fmla="*/ 499146 w 939275"/>
                  <a:gd name="connsiteY21" fmla="*/ 358769 h 1140855"/>
                  <a:gd name="connsiteX22" fmla="*/ 471439 w 939275"/>
                  <a:gd name="connsiteY22" fmla="*/ 340498 h 1140855"/>
                  <a:gd name="connsiteX23" fmla="*/ 446392 w 939275"/>
                  <a:gd name="connsiteY23" fmla="*/ 325230 h 1140855"/>
                  <a:gd name="connsiteX24" fmla="*/ 420015 w 939275"/>
                  <a:gd name="connsiteY24" fmla="*/ 309961 h 1140855"/>
                  <a:gd name="connsiteX25" fmla="*/ 402859 w 939275"/>
                  <a:gd name="connsiteY25" fmla="*/ 294735 h 1140855"/>
                  <a:gd name="connsiteX26" fmla="*/ 408134 w 939275"/>
                  <a:gd name="connsiteY26" fmla="*/ 265742 h 1140855"/>
                  <a:gd name="connsiteX27" fmla="*/ 423961 w 939275"/>
                  <a:gd name="connsiteY27" fmla="*/ 241338 h 1140855"/>
                  <a:gd name="connsiteX28" fmla="*/ 409464 w 939275"/>
                  <a:gd name="connsiteY28" fmla="*/ 224568 h 1140855"/>
                  <a:gd name="connsiteX29" fmla="*/ 389692 w 939275"/>
                  <a:gd name="connsiteY29" fmla="*/ 204711 h 1140855"/>
                  <a:gd name="connsiteX30" fmla="*/ 361985 w 939275"/>
                  <a:gd name="connsiteY30" fmla="*/ 181851 h 1140855"/>
                  <a:gd name="connsiteX31" fmla="*/ 350105 w 939275"/>
                  <a:gd name="connsiteY31" fmla="*/ 151313 h 1140855"/>
                  <a:gd name="connsiteX32" fmla="*/ 358040 w 939275"/>
                  <a:gd name="connsiteY32" fmla="*/ 134544 h 1140855"/>
                  <a:gd name="connsiteX33" fmla="*/ 377812 w 939275"/>
                  <a:gd name="connsiteY33" fmla="*/ 120819 h 1140855"/>
                  <a:gd name="connsiteX34" fmla="*/ 359369 w 939275"/>
                  <a:gd name="connsiteY34" fmla="*/ 87280 h 1140855"/>
                  <a:gd name="connsiteX35" fmla="*/ 358040 w 939275"/>
                  <a:gd name="connsiteY35" fmla="*/ 50652 h 1140855"/>
                  <a:gd name="connsiteX36" fmla="*/ 338268 w 939275"/>
                  <a:gd name="connsiteY36" fmla="*/ 24747 h 1140855"/>
                  <a:gd name="connsiteX37" fmla="*/ 325058 w 939275"/>
                  <a:gd name="connsiteY37" fmla="*/ 6433 h 1140855"/>
                  <a:gd name="connsiteX38" fmla="*/ 311891 w 939275"/>
                  <a:gd name="connsiteY38" fmla="*/ 7977 h 1140855"/>
                  <a:gd name="connsiteX39" fmla="*/ 298681 w 939275"/>
                  <a:gd name="connsiteY39" fmla="*/ 35427 h 1140855"/>
                  <a:gd name="connsiteX40" fmla="*/ 265699 w 939275"/>
                  <a:gd name="connsiteY40" fmla="*/ 50652 h 1140855"/>
                  <a:gd name="connsiteX41" fmla="*/ 215605 w 939275"/>
                  <a:gd name="connsiteY41" fmla="*/ 39973 h 1140855"/>
                  <a:gd name="connsiteX42" fmla="*/ 198449 w 939275"/>
                  <a:gd name="connsiteY42" fmla="*/ 61332 h 1140855"/>
                  <a:gd name="connsiteX43" fmla="*/ 203724 w 939275"/>
                  <a:gd name="connsiteY43" fmla="*/ 97916 h 1140855"/>
                  <a:gd name="connsiteX44" fmla="*/ 223496 w 939275"/>
                  <a:gd name="connsiteY44" fmla="*/ 134544 h 1140855"/>
                  <a:gd name="connsiteX45" fmla="*/ 239322 w 939275"/>
                  <a:gd name="connsiteY45" fmla="*/ 151313 h 1140855"/>
                  <a:gd name="connsiteX46" fmla="*/ 222209 w 939275"/>
                  <a:gd name="connsiteY46" fmla="*/ 180307 h 1140855"/>
                  <a:gd name="connsiteX47" fmla="*/ 215605 w 939275"/>
                  <a:gd name="connsiteY47" fmla="*/ 209257 h 1140855"/>
                  <a:gd name="connsiteX48" fmla="*/ 199778 w 939275"/>
                  <a:gd name="connsiteY48" fmla="*/ 230616 h 1140855"/>
                  <a:gd name="connsiteX49" fmla="*/ 180006 w 939275"/>
                  <a:gd name="connsiteY49" fmla="*/ 248887 h 1140855"/>
                  <a:gd name="connsiteX50" fmla="*/ 166797 w 939275"/>
                  <a:gd name="connsiteY50" fmla="*/ 290060 h 1140855"/>
                  <a:gd name="connsiteX51" fmla="*/ 139090 w 939275"/>
                  <a:gd name="connsiteY51" fmla="*/ 309918 h 1140855"/>
                  <a:gd name="connsiteX52" fmla="*/ 120648 w 939275"/>
                  <a:gd name="connsiteY52" fmla="*/ 338868 h 1140855"/>
                  <a:gd name="connsiteX53" fmla="*/ 98216 w 939275"/>
                  <a:gd name="connsiteY53" fmla="*/ 340412 h 1140855"/>
                  <a:gd name="connsiteX54" fmla="*/ 73169 w 939275"/>
                  <a:gd name="connsiteY54" fmla="*/ 337367 h 1140855"/>
                  <a:gd name="connsiteX55" fmla="*/ 48079 w 939275"/>
                  <a:gd name="connsiteY55" fmla="*/ 373952 h 1140855"/>
                  <a:gd name="connsiteX56" fmla="*/ 69180 w 939275"/>
                  <a:gd name="connsiteY56" fmla="*/ 401444 h 1140855"/>
                  <a:gd name="connsiteX57" fmla="*/ 83720 w 939275"/>
                  <a:gd name="connsiteY57" fmla="*/ 441073 h 1140855"/>
                  <a:gd name="connsiteX58" fmla="*/ 95557 w 939275"/>
                  <a:gd name="connsiteY58" fmla="*/ 476157 h 1140855"/>
                  <a:gd name="connsiteX59" fmla="*/ 70510 w 939275"/>
                  <a:gd name="connsiteY59" fmla="*/ 483748 h 1140855"/>
                  <a:gd name="connsiteX60" fmla="*/ 38857 w 939275"/>
                  <a:gd name="connsiteY60" fmla="*/ 485250 h 1140855"/>
                  <a:gd name="connsiteX61" fmla="*/ 8535 w 939275"/>
                  <a:gd name="connsiteY61" fmla="*/ 509654 h 1140855"/>
                  <a:gd name="connsiteX62" fmla="*/ 6433 w 939275"/>
                  <a:gd name="connsiteY62" fmla="*/ 512484 h 1140855"/>
                  <a:gd name="connsiteX63" fmla="*/ 37142 w 939275"/>
                  <a:gd name="connsiteY63" fmla="*/ 545209 h 1140855"/>
                  <a:gd name="connsiteX64" fmla="*/ 73684 w 939275"/>
                  <a:gd name="connsiteY64" fmla="*/ 547482 h 1140855"/>
                  <a:gd name="connsiteX65" fmla="*/ 27278 w 939275"/>
                  <a:gd name="connsiteY65" fmla="*/ 565753 h 1140855"/>
                  <a:gd name="connsiteX66" fmla="*/ 98388 w 939275"/>
                  <a:gd name="connsiteY66" fmla="*/ 632574 h 1140855"/>
                  <a:gd name="connsiteX67" fmla="*/ 133429 w 939275"/>
                  <a:gd name="connsiteY67" fmla="*/ 592601 h 1140855"/>
                  <a:gd name="connsiteX68" fmla="*/ 143807 w 939275"/>
                  <a:gd name="connsiteY68" fmla="*/ 572615 h 1140855"/>
                  <a:gd name="connsiteX69" fmla="*/ 152214 w 939275"/>
                  <a:gd name="connsiteY69" fmla="*/ 612588 h 1140855"/>
                  <a:gd name="connsiteX70" fmla="*/ 152214 w 939275"/>
                  <a:gd name="connsiteY70" fmla="*/ 648014 h 1140855"/>
                  <a:gd name="connsiteX71" fmla="*/ 158605 w 939275"/>
                  <a:gd name="connsiteY71" fmla="*/ 713121 h 1140855"/>
                  <a:gd name="connsiteX72" fmla="*/ 173530 w 939275"/>
                  <a:gd name="connsiteY72" fmla="*/ 780285 h 1140855"/>
                  <a:gd name="connsiteX73" fmla="*/ 194589 w 939275"/>
                  <a:gd name="connsiteY73" fmla="*/ 813396 h 1140855"/>
                  <a:gd name="connsiteX74" fmla="*/ 195532 w 939275"/>
                  <a:gd name="connsiteY74" fmla="*/ 862676 h 1140855"/>
                  <a:gd name="connsiteX75" fmla="*/ 205054 w 939275"/>
                  <a:gd name="connsiteY75" fmla="*/ 886136 h 1140855"/>
                  <a:gd name="connsiteX76" fmla="*/ 237606 w 939275"/>
                  <a:gd name="connsiteY76" fmla="*/ 986068 h 1140855"/>
                  <a:gd name="connsiteX77" fmla="*/ 256521 w 939275"/>
                  <a:gd name="connsiteY77" fmla="*/ 1021580 h 1140855"/>
                  <a:gd name="connsiteX78" fmla="*/ 315579 w 939275"/>
                  <a:gd name="connsiteY78" fmla="*/ 1134465 h 1140855"/>
                  <a:gd name="connsiteX79" fmla="*/ 332950 w 939275"/>
                  <a:gd name="connsiteY79" fmla="*/ 1111648 h 1140855"/>
                  <a:gd name="connsiteX80" fmla="*/ 364044 w 939275"/>
                  <a:gd name="connsiteY80" fmla="*/ 1075707 h 1140855"/>
                  <a:gd name="connsiteX81" fmla="*/ 376868 w 939275"/>
                  <a:gd name="connsiteY81" fmla="*/ 1049416 h 1140855"/>
                  <a:gd name="connsiteX82" fmla="*/ 385746 w 939275"/>
                  <a:gd name="connsiteY82" fmla="*/ 1022009 h 1140855"/>
                  <a:gd name="connsiteX83" fmla="*/ 395611 w 939275"/>
                  <a:gd name="connsiteY83" fmla="*/ 972901 h 1140855"/>
                  <a:gd name="connsiteX84" fmla="*/ 400543 w 939275"/>
                  <a:gd name="connsiteY84" fmla="*/ 910111 h 1140855"/>
                  <a:gd name="connsiteX85" fmla="*/ 402988 w 939275"/>
                  <a:gd name="connsiteY85" fmla="*/ 861560 h 1140855"/>
                  <a:gd name="connsiteX86" fmla="*/ 415340 w 939275"/>
                  <a:gd name="connsiteY86" fmla="*/ 829608 h 1140855"/>
                  <a:gd name="connsiteX87" fmla="*/ 448407 w 939275"/>
                  <a:gd name="connsiteY87" fmla="*/ 803317 h 1140855"/>
                  <a:gd name="connsiteX88" fmla="*/ 472168 w 939275"/>
                  <a:gd name="connsiteY88" fmla="*/ 779084 h 1140855"/>
                  <a:gd name="connsiteX89" fmla="*/ 476328 w 939275"/>
                  <a:gd name="connsiteY89" fmla="*/ 756910 h 1140855"/>
                  <a:gd name="connsiteX90" fmla="*/ 514586 w 939275"/>
                  <a:gd name="connsiteY90" fmla="*/ 685628 h 1140855"/>
                  <a:gd name="connsiteX91" fmla="*/ 544437 w 939275"/>
                  <a:gd name="connsiteY91" fmla="*/ 667186 h 1140855"/>
                  <a:gd name="connsiteX92" fmla="*/ 580635 w 939275"/>
                  <a:gd name="connsiteY92" fmla="*/ 633260 h 1140855"/>
                  <a:gd name="connsiteX93" fmla="*/ 613060 w 939275"/>
                  <a:gd name="connsiteY93" fmla="*/ 633218 h 1140855"/>
                  <a:gd name="connsiteX94" fmla="*/ 614303 w 939275"/>
                  <a:gd name="connsiteY94" fmla="*/ 613145 h 1140855"/>
                  <a:gd name="connsiteX95" fmla="*/ 674048 w 939275"/>
                  <a:gd name="connsiteY95" fmla="*/ 589728 h 1140855"/>
                  <a:gd name="connsiteX96" fmla="*/ 682369 w 939275"/>
                  <a:gd name="connsiteY96" fmla="*/ 588784 h 1140855"/>
                  <a:gd name="connsiteX97" fmla="*/ 670617 w 939275"/>
                  <a:gd name="connsiteY97" fmla="*/ 518103 h 1140855"/>
                  <a:gd name="connsiteX98" fmla="*/ 662597 w 939275"/>
                  <a:gd name="connsiteY98" fmla="*/ 460245 h 1140855"/>
                  <a:gd name="connsiteX99" fmla="*/ 680610 w 939275"/>
                  <a:gd name="connsiteY99" fmla="*/ 444076 h 1140855"/>
                  <a:gd name="connsiteX100" fmla="*/ 658608 w 939275"/>
                  <a:gd name="connsiteY100" fmla="*/ 411651 h 1140855"/>
                  <a:gd name="connsiteX101" fmla="*/ 686615 w 939275"/>
                  <a:gd name="connsiteY101" fmla="*/ 411651 h 1140855"/>
                  <a:gd name="connsiteX102" fmla="*/ 708617 w 939275"/>
                  <a:gd name="connsiteY102" fmla="*/ 432496 h 1140855"/>
                  <a:gd name="connsiteX103" fmla="*/ 724658 w 939275"/>
                  <a:gd name="connsiteY103" fmla="*/ 451024 h 1140855"/>
                  <a:gd name="connsiteX104" fmla="*/ 762700 w 939275"/>
                  <a:gd name="connsiteY104" fmla="*/ 448708 h 1140855"/>
                  <a:gd name="connsiteX105" fmla="*/ 786675 w 939275"/>
                  <a:gd name="connsiteY105" fmla="*/ 457929 h 1140855"/>
                  <a:gd name="connsiteX106" fmla="*/ 760685 w 939275"/>
                  <a:gd name="connsiteY106" fmla="*/ 497302 h 1140855"/>
                  <a:gd name="connsiteX107" fmla="*/ 758711 w 939275"/>
                  <a:gd name="connsiteY107" fmla="*/ 538947 h 1140855"/>
                  <a:gd name="connsiteX108" fmla="*/ 782687 w 939275"/>
                  <a:gd name="connsiteY108" fmla="*/ 508881 h 1140855"/>
                  <a:gd name="connsiteX109" fmla="*/ 796197 w 939275"/>
                  <a:gd name="connsiteY109" fmla="*/ 583466 h 1140855"/>
                  <a:gd name="connsiteX110" fmla="*/ 801086 w 939275"/>
                  <a:gd name="connsiteY110" fmla="*/ 579778 h 1140855"/>
                  <a:gd name="connsiteX111" fmla="*/ 810350 w 939275"/>
                  <a:gd name="connsiteY111" fmla="*/ 538604 h 1140855"/>
                  <a:gd name="connsiteX112" fmla="*/ 816955 w 939275"/>
                  <a:gd name="connsiteY112" fmla="*/ 500518 h 1140855"/>
                  <a:gd name="connsiteX113" fmla="*/ 843332 w 939275"/>
                  <a:gd name="connsiteY113" fmla="*/ 502019 h 1140855"/>
                  <a:gd name="connsiteX114" fmla="*/ 855170 w 939275"/>
                  <a:gd name="connsiteY114" fmla="*/ 454713 h 1140855"/>
                  <a:gd name="connsiteX115" fmla="*/ 864391 w 939275"/>
                  <a:gd name="connsiteY115" fmla="*/ 407448 h 1140855"/>
                  <a:gd name="connsiteX116" fmla="*/ 886822 w 939275"/>
                  <a:gd name="connsiteY116" fmla="*/ 376954 h 1140855"/>
                  <a:gd name="connsiteX117" fmla="*/ 914529 w 939275"/>
                  <a:gd name="connsiteY117" fmla="*/ 363230 h 1140855"/>
                  <a:gd name="connsiteX118" fmla="*/ 929025 w 939275"/>
                  <a:gd name="connsiteY118" fmla="*/ 363230 h 1140855"/>
                  <a:gd name="connsiteX119" fmla="*/ 926280 w 939275"/>
                  <a:gd name="connsiteY119" fmla="*/ 337496 h 114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939275" h="1140855">
                    <a:moveTo>
                      <a:pt x="926280" y="337496"/>
                    </a:moveTo>
                    <a:cubicBezTo>
                      <a:pt x="931556" y="334451"/>
                      <a:pt x="934215" y="319182"/>
                      <a:pt x="934215" y="319182"/>
                    </a:cubicBezTo>
                    <a:cubicBezTo>
                      <a:pt x="934215" y="319182"/>
                      <a:pt x="917059" y="316137"/>
                      <a:pt x="914443" y="306959"/>
                    </a:cubicBezTo>
                    <a:cubicBezTo>
                      <a:pt x="911783" y="297823"/>
                      <a:pt x="901233" y="288688"/>
                      <a:pt x="901233" y="281054"/>
                    </a:cubicBezTo>
                    <a:cubicBezTo>
                      <a:pt x="901233" y="273419"/>
                      <a:pt x="892012" y="276464"/>
                      <a:pt x="884120" y="284099"/>
                    </a:cubicBezTo>
                    <a:cubicBezTo>
                      <a:pt x="876229" y="291733"/>
                      <a:pt x="861689" y="274963"/>
                      <a:pt x="844576" y="285600"/>
                    </a:cubicBezTo>
                    <a:cubicBezTo>
                      <a:pt x="827463" y="296279"/>
                      <a:pt x="823475" y="308460"/>
                      <a:pt x="815583" y="306916"/>
                    </a:cubicBezTo>
                    <a:cubicBezTo>
                      <a:pt x="807648" y="305372"/>
                      <a:pt x="808978" y="314550"/>
                      <a:pt x="802416" y="322184"/>
                    </a:cubicBezTo>
                    <a:cubicBezTo>
                      <a:pt x="795811" y="329819"/>
                      <a:pt x="790535" y="338954"/>
                      <a:pt x="786589" y="338954"/>
                    </a:cubicBezTo>
                    <a:cubicBezTo>
                      <a:pt x="782644" y="338954"/>
                      <a:pt x="769434" y="346588"/>
                      <a:pt x="769434" y="346588"/>
                    </a:cubicBezTo>
                    <a:cubicBezTo>
                      <a:pt x="769434" y="346588"/>
                      <a:pt x="778698" y="369449"/>
                      <a:pt x="773380" y="380128"/>
                    </a:cubicBezTo>
                    <a:cubicBezTo>
                      <a:pt x="768104" y="390807"/>
                      <a:pt x="754895" y="380128"/>
                      <a:pt x="740441" y="384717"/>
                    </a:cubicBezTo>
                    <a:cubicBezTo>
                      <a:pt x="725902" y="389306"/>
                      <a:pt x="719296" y="378584"/>
                      <a:pt x="708746" y="381672"/>
                    </a:cubicBezTo>
                    <a:cubicBezTo>
                      <a:pt x="698238" y="384717"/>
                      <a:pt x="691633" y="374037"/>
                      <a:pt x="686357" y="375539"/>
                    </a:cubicBezTo>
                    <a:cubicBezTo>
                      <a:pt x="681082" y="377083"/>
                      <a:pt x="673147" y="361814"/>
                      <a:pt x="675807" y="349591"/>
                    </a:cubicBezTo>
                    <a:cubicBezTo>
                      <a:pt x="678466" y="337410"/>
                      <a:pt x="670531" y="320641"/>
                      <a:pt x="665256" y="329776"/>
                    </a:cubicBezTo>
                    <a:cubicBezTo>
                      <a:pt x="659981" y="338911"/>
                      <a:pt x="652089" y="334365"/>
                      <a:pt x="652089" y="348090"/>
                    </a:cubicBezTo>
                    <a:cubicBezTo>
                      <a:pt x="652089" y="361771"/>
                      <a:pt x="658694" y="378584"/>
                      <a:pt x="650759" y="387719"/>
                    </a:cubicBezTo>
                    <a:cubicBezTo>
                      <a:pt x="642825" y="396855"/>
                      <a:pt x="600622" y="401487"/>
                      <a:pt x="592730" y="393853"/>
                    </a:cubicBezTo>
                    <a:cubicBezTo>
                      <a:pt x="584796" y="386218"/>
                      <a:pt x="550527" y="381629"/>
                      <a:pt x="549240" y="373995"/>
                    </a:cubicBezTo>
                    <a:cubicBezTo>
                      <a:pt x="547911" y="366360"/>
                      <a:pt x="537360" y="352679"/>
                      <a:pt x="530755" y="352679"/>
                    </a:cubicBezTo>
                    <a:cubicBezTo>
                      <a:pt x="524193" y="352679"/>
                      <a:pt x="504378" y="363315"/>
                      <a:pt x="499146" y="358769"/>
                    </a:cubicBezTo>
                    <a:cubicBezTo>
                      <a:pt x="493870" y="354223"/>
                      <a:pt x="480660" y="341999"/>
                      <a:pt x="471439" y="340498"/>
                    </a:cubicBezTo>
                    <a:cubicBezTo>
                      <a:pt x="462218" y="338954"/>
                      <a:pt x="447722" y="331320"/>
                      <a:pt x="446392" y="325230"/>
                    </a:cubicBezTo>
                    <a:cubicBezTo>
                      <a:pt x="445062" y="319139"/>
                      <a:pt x="423961" y="316051"/>
                      <a:pt x="420015" y="309961"/>
                    </a:cubicBezTo>
                    <a:cubicBezTo>
                      <a:pt x="416069" y="303828"/>
                      <a:pt x="402859" y="302327"/>
                      <a:pt x="402859" y="294735"/>
                    </a:cubicBezTo>
                    <a:cubicBezTo>
                      <a:pt x="402859" y="287101"/>
                      <a:pt x="408134" y="274877"/>
                      <a:pt x="408134" y="265742"/>
                    </a:cubicBezTo>
                    <a:cubicBezTo>
                      <a:pt x="408134" y="256564"/>
                      <a:pt x="423961" y="247471"/>
                      <a:pt x="423961" y="241338"/>
                    </a:cubicBezTo>
                    <a:cubicBezTo>
                      <a:pt x="423961" y="235248"/>
                      <a:pt x="409464" y="224568"/>
                      <a:pt x="409464" y="224568"/>
                    </a:cubicBezTo>
                    <a:cubicBezTo>
                      <a:pt x="409464" y="224568"/>
                      <a:pt x="400200" y="204711"/>
                      <a:pt x="389692" y="204711"/>
                    </a:cubicBezTo>
                    <a:cubicBezTo>
                      <a:pt x="379141" y="204711"/>
                      <a:pt x="371207" y="183395"/>
                      <a:pt x="361985" y="181851"/>
                    </a:cubicBezTo>
                    <a:cubicBezTo>
                      <a:pt x="352765" y="180307"/>
                      <a:pt x="355381" y="158948"/>
                      <a:pt x="350105" y="151313"/>
                    </a:cubicBezTo>
                    <a:cubicBezTo>
                      <a:pt x="344830" y="143679"/>
                      <a:pt x="348776" y="125408"/>
                      <a:pt x="358040" y="134544"/>
                    </a:cubicBezTo>
                    <a:cubicBezTo>
                      <a:pt x="367261" y="143679"/>
                      <a:pt x="384417" y="134544"/>
                      <a:pt x="377812" y="120819"/>
                    </a:cubicBezTo>
                    <a:cubicBezTo>
                      <a:pt x="371207" y="107094"/>
                      <a:pt x="359369" y="94914"/>
                      <a:pt x="359369" y="87280"/>
                    </a:cubicBezTo>
                    <a:cubicBezTo>
                      <a:pt x="359369" y="79645"/>
                      <a:pt x="367304" y="56742"/>
                      <a:pt x="358040" y="50652"/>
                    </a:cubicBezTo>
                    <a:cubicBezTo>
                      <a:pt x="348819" y="44562"/>
                      <a:pt x="340884" y="35427"/>
                      <a:pt x="338268" y="24747"/>
                    </a:cubicBezTo>
                    <a:cubicBezTo>
                      <a:pt x="335609" y="14068"/>
                      <a:pt x="325058" y="6433"/>
                      <a:pt x="325058" y="6433"/>
                    </a:cubicBezTo>
                    <a:lnTo>
                      <a:pt x="311891" y="7977"/>
                    </a:lnTo>
                    <a:cubicBezTo>
                      <a:pt x="311891" y="7977"/>
                      <a:pt x="303999" y="32381"/>
                      <a:pt x="298681" y="35427"/>
                    </a:cubicBezTo>
                    <a:cubicBezTo>
                      <a:pt x="293405" y="38472"/>
                      <a:pt x="274920" y="43061"/>
                      <a:pt x="265699" y="50652"/>
                    </a:cubicBezTo>
                    <a:cubicBezTo>
                      <a:pt x="256478" y="58286"/>
                      <a:pt x="230101" y="39973"/>
                      <a:pt x="215605" y="39973"/>
                    </a:cubicBezTo>
                    <a:cubicBezTo>
                      <a:pt x="201065" y="39973"/>
                      <a:pt x="191844" y="56742"/>
                      <a:pt x="198449" y="61332"/>
                    </a:cubicBezTo>
                    <a:cubicBezTo>
                      <a:pt x="205054" y="65921"/>
                      <a:pt x="203724" y="97916"/>
                      <a:pt x="203724" y="97916"/>
                    </a:cubicBezTo>
                    <a:cubicBezTo>
                      <a:pt x="203724" y="97916"/>
                      <a:pt x="211659" y="137589"/>
                      <a:pt x="223496" y="134544"/>
                    </a:cubicBezTo>
                    <a:cubicBezTo>
                      <a:pt x="235377" y="131499"/>
                      <a:pt x="249873" y="148225"/>
                      <a:pt x="239322" y="151313"/>
                    </a:cubicBezTo>
                    <a:cubicBezTo>
                      <a:pt x="228771" y="154359"/>
                      <a:pt x="223496" y="168083"/>
                      <a:pt x="222209" y="180307"/>
                    </a:cubicBezTo>
                    <a:cubicBezTo>
                      <a:pt x="220880" y="192487"/>
                      <a:pt x="223539" y="207756"/>
                      <a:pt x="215605" y="209257"/>
                    </a:cubicBezTo>
                    <a:cubicBezTo>
                      <a:pt x="207670" y="210758"/>
                      <a:pt x="199778" y="213846"/>
                      <a:pt x="199778" y="230616"/>
                    </a:cubicBezTo>
                    <a:cubicBezTo>
                      <a:pt x="199778" y="247385"/>
                      <a:pt x="182665" y="242839"/>
                      <a:pt x="180006" y="248887"/>
                    </a:cubicBezTo>
                    <a:cubicBezTo>
                      <a:pt x="177347" y="255020"/>
                      <a:pt x="170785" y="285471"/>
                      <a:pt x="166797" y="290060"/>
                    </a:cubicBezTo>
                    <a:cubicBezTo>
                      <a:pt x="162851" y="294650"/>
                      <a:pt x="140420" y="296194"/>
                      <a:pt x="139090" y="309918"/>
                    </a:cubicBezTo>
                    <a:cubicBezTo>
                      <a:pt x="137760" y="323643"/>
                      <a:pt x="127252" y="340412"/>
                      <a:pt x="120648" y="338868"/>
                    </a:cubicBezTo>
                    <a:cubicBezTo>
                      <a:pt x="114043" y="337367"/>
                      <a:pt x="102162" y="331234"/>
                      <a:pt x="98216" y="340412"/>
                    </a:cubicBezTo>
                    <a:cubicBezTo>
                      <a:pt x="94271" y="349548"/>
                      <a:pt x="77158" y="332778"/>
                      <a:pt x="73169" y="337367"/>
                    </a:cubicBezTo>
                    <a:cubicBezTo>
                      <a:pt x="69223" y="341956"/>
                      <a:pt x="48079" y="361771"/>
                      <a:pt x="48079" y="373952"/>
                    </a:cubicBezTo>
                    <a:cubicBezTo>
                      <a:pt x="48079" y="386175"/>
                      <a:pt x="70510" y="386175"/>
                      <a:pt x="69180" y="401444"/>
                    </a:cubicBezTo>
                    <a:cubicBezTo>
                      <a:pt x="67851" y="416669"/>
                      <a:pt x="77115" y="433439"/>
                      <a:pt x="83720" y="441073"/>
                    </a:cubicBezTo>
                    <a:cubicBezTo>
                      <a:pt x="90282" y="448708"/>
                      <a:pt x="100833" y="467022"/>
                      <a:pt x="95557" y="476157"/>
                    </a:cubicBezTo>
                    <a:cubicBezTo>
                      <a:pt x="90282" y="485292"/>
                      <a:pt x="82390" y="486794"/>
                      <a:pt x="70510" y="483748"/>
                    </a:cubicBezTo>
                    <a:cubicBezTo>
                      <a:pt x="58629" y="480703"/>
                      <a:pt x="59959" y="489839"/>
                      <a:pt x="38857" y="485250"/>
                    </a:cubicBezTo>
                    <a:cubicBezTo>
                      <a:pt x="17756" y="480660"/>
                      <a:pt x="16426" y="498974"/>
                      <a:pt x="8535" y="509654"/>
                    </a:cubicBezTo>
                    <a:cubicBezTo>
                      <a:pt x="8063" y="510340"/>
                      <a:pt x="7291" y="511283"/>
                      <a:pt x="6433" y="512484"/>
                    </a:cubicBezTo>
                    <a:cubicBezTo>
                      <a:pt x="16383" y="521577"/>
                      <a:pt x="20587" y="537832"/>
                      <a:pt x="37142" y="545209"/>
                    </a:cubicBezTo>
                    <a:cubicBezTo>
                      <a:pt x="56399" y="553787"/>
                      <a:pt x="73684" y="530927"/>
                      <a:pt x="73684" y="547482"/>
                    </a:cubicBezTo>
                    <a:cubicBezTo>
                      <a:pt x="73684" y="564037"/>
                      <a:pt x="28264" y="560649"/>
                      <a:pt x="27278" y="565753"/>
                    </a:cubicBezTo>
                    <a:cubicBezTo>
                      <a:pt x="26291" y="570900"/>
                      <a:pt x="74155" y="637721"/>
                      <a:pt x="98388" y="632574"/>
                    </a:cubicBezTo>
                    <a:cubicBezTo>
                      <a:pt x="122577" y="627428"/>
                      <a:pt x="140334" y="597148"/>
                      <a:pt x="133429" y="592601"/>
                    </a:cubicBezTo>
                    <a:cubicBezTo>
                      <a:pt x="126523" y="588055"/>
                      <a:pt x="137374" y="569184"/>
                      <a:pt x="143807" y="572615"/>
                    </a:cubicBezTo>
                    <a:cubicBezTo>
                      <a:pt x="150198" y="576046"/>
                      <a:pt x="144794" y="605726"/>
                      <a:pt x="152214" y="612588"/>
                    </a:cubicBezTo>
                    <a:cubicBezTo>
                      <a:pt x="159634" y="619450"/>
                      <a:pt x="157146" y="631974"/>
                      <a:pt x="152214" y="648014"/>
                    </a:cubicBezTo>
                    <a:cubicBezTo>
                      <a:pt x="147282" y="664012"/>
                      <a:pt x="157146" y="695364"/>
                      <a:pt x="158605" y="713121"/>
                    </a:cubicBezTo>
                    <a:cubicBezTo>
                      <a:pt x="160063" y="730233"/>
                      <a:pt x="169756" y="754895"/>
                      <a:pt x="173530" y="780285"/>
                    </a:cubicBezTo>
                    <a:cubicBezTo>
                      <a:pt x="185367" y="785260"/>
                      <a:pt x="194546" y="796283"/>
                      <a:pt x="194589" y="813396"/>
                    </a:cubicBezTo>
                    <a:cubicBezTo>
                      <a:pt x="194675" y="829736"/>
                      <a:pt x="194760" y="846249"/>
                      <a:pt x="195532" y="862676"/>
                    </a:cubicBezTo>
                    <a:cubicBezTo>
                      <a:pt x="198663" y="871211"/>
                      <a:pt x="201880" y="879188"/>
                      <a:pt x="205054" y="886136"/>
                    </a:cubicBezTo>
                    <a:cubicBezTo>
                      <a:pt x="218392" y="915258"/>
                      <a:pt x="228728" y="972343"/>
                      <a:pt x="237606" y="986068"/>
                    </a:cubicBezTo>
                    <a:cubicBezTo>
                      <a:pt x="241981" y="992845"/>
                      <a:pt x="249744" y="1006440"/>
                      <a:pt x="256521" y="1021580"/>
                    </a:cubicBezTo>
                    <a:cubicBezTo>
                      <a:pt x="278180" y="1058079"/>
                      <a:pt x="292033" y="1099639"/>
                      <a:pt x="315579" y="1134465"/>
                    </a:cubicBezTo>
                    <a:cubicBezTo>
                      <a:pt x="322956" y="1130047"/>
                      <a:pt x="330334" y="1121041"/>
                      <a:pt x="332950" y="1111648"/>
                    </a:cubicBezTo>
                    <a:cubicBezTo>
                      <a:pt x="337410" y="1095650"/>
                      <a:pt x="362586" y="1089388"/>
                      <a:pt x="364044" y="1075707"/>
                    </a:cubicBezTo>
                    <a:cubicBezTo>
                      <a:pt x="365545" y="1061982"/>
                      <a:pt x="367947" y="1051131"/>
                      <a:pt x="376868" y="1049416"/>
                    </a:cubicBezTo>
                    <a:cubicBezTo>
                      <a:pt x="385746" y="1047700"/>
                      <a:pt x="385746" y="1036892"/>
                      <a:pt x="385746" y="1022009"/>
                    </a:cubicBezTo>
                    <a:cubicBezTo>
                      <a:pt x="385746" y="1007170"/>
                      <a:pt x="386733" y="986025"/>
                      <a:pt x="395611" y="972901"/>
                    </a:cubicBezTo>
                    <a:cubicBezTo>
                      <a:pt x="404489" y="959777"/>
                      <a:pt x="405990" y="924350"/>
                      <a:pt x="400543" y="910111"/>
                    </a:cubicBezTo>
                    <a:cubicBezTo>
                      <a:pt x="395096" y="895829"/>
                      <a:pt x="398055" y="875842"/>
                      <a:pt x="402988" y="861560"/>
                    </a:cubicBezTo>
                    <a:cubicBezTo>
                      <a:pt x="407920" y="847278"/>
                      <a:pt x="405947" y="830723"/>
                      <a:pt x="415340" y="829608"/>
                    </a:cubicBezTo>
                    <a:cubicBezTo>
                      <a:pt x="424690" y="828450"/>
                      <a:pt x="438543" y="818714"/>
                      <a:pt x="448407" y="803317"/>
                    </a:cubicBezTo>
                    <a:cubicBezTo>
                      <a:pt x="453125" y="795940"/>
                      <a:pt x="462475" y="787276"/>
                      <a:pt x="472168" y="779084"/>
                    </a:cubicBezTo>
                    <a:cubicBezTo>
                      <a:pt x="471697" y="771707"/>
                      <a:pt x="473155" y="764030"/>
                      <a:pt x="476328" y="756910"/>
                    </a:cubicBezTo>
                    <a:cubicBezTo>
                      <a:pt x="487437" y="732121"/>
                      <a:pt x="498888" y="707717"/>
                      <a:pt x="514586" y="685628"/>
                    </a:cubicBezTo>
                    <a:cubicBezTo>
                      <a:pt x="522049" y="675120"/>
                      <a:pt x="532814" y="668044"/>
                      <a:pt x="544437" y="667186"/>
                    </a:cubicBezTo>
                    <a:cubicBezTo>
                      <a:pt x="546409" y="649601"/>
                      <a:pt x="562322" y="631073"/>
                      <a:pt x="580635" y="633260"/>
                    </a:cubicBezTo>
                    <a:cubicBezTo>
                      <a:pt x="591787" y="634633"/>
                      <a:pt x="602466" y="634462"/>
                      <a:pt x="613060" y="633218"/>
                    </a:cubicBezTo>
                    <a:cubicBezTo>
                      <a:pt x="613660" y="627342"/>
                      <a:pt x="613102" y="621252"/>
                      <a:pt x="614303" y="613145"/>
                    </a:cubicBezTo>
                    <a:cubicBezTo>
                      <a:pt x="616791" y="596633"/>
                      <a:pt x="658222" y="589728"/>
                      <a:pt x="674048" y="589728"/>
                    </a:cubicBezTo>
                    <a:cubicBezTo>
                      <a:pt x="677265" y="589728"/>
                      <a:pt x="679924" y="589342"/>
                      <a:pt x="682369" y="588784"/>
                    </a:cubicBezTo>
                    <a:cubicBezTo>
                      <a:pt x="682111" y="562193"/>
                      <a:pt x="675206" y="530626"/>
                      <a:pt x="670617" y="518103"/>
                    </a:cubicBezTo>
                    <a:cubicBezTo>
                      <a:pt x="664613" y="501933"/>
                      <a:pt x="660581" y="471825"/>
                      <a:pt x="662597" y="460245"/>
                    </a:cubicBezTo>
                    <a:cubicBezTo>
                      <a:pt x="664570" y="448708"/>
                      <a:pt x="676579" y="457929"/>
                      <a:pt x="680610" y="444076"/>
                    </a:cubicBezTo>
                    <a:cubicBezTo>
                      <a:pt x="684599" y="430137"/>
                      <a:pt x="646599" y="430137"/>
                      <a:pt x="658608" y="411651"/>
                    </a:cubicBezTo>
                    <a:cubicBezTo>
                      <a:pt x="670617" y="393166"/>
                      <a:pt x="670617" y="411651"/>
                      <a:pt x="686615" y="411651"/>
                    </a:cubicBezTo>
                    <a:cubicBezTo>
                      <a:pt x="702655" y="411651"/>
                      <a:pt x="708617" y="420916"/>
                      <a:pt x="708617" y="432496"/>
                    </a:cubicBezTo>
                    <a:cubicBezTo>
                      <a:pt x="708617" y="444076"/>
                      <a:pt x="724658" y="451024"/>
                      <a:pt x="724658" y="451024"/>
                    </a:cubicBezTo>
                    <a:cubicBezTo>
                      <a:pt x="724658" y="451024"/>
                      <a:pt x="750649" y="448708"/>
                      <a:pt x="762700" y="448708"/>
                    </a:cubicBezTo>
                    <a:cubicBezTo>
                      <a:pt x="774710" y="448708"/>
                      <a:pt x="786675" y="448708"/>
                      <a:pt x="786675" y="457929"/>
                    </a:cubicBezTo>
                    <a:cubicBezTo>
                      <a:pt x="786675" y="467193"/>
                      <a:pt x="772693" y="497302"/>
                      <a:pt x="760685" y="497302"/>
                    </a:cubicBezTo>
                    <a:cubicBezTo>
                      <a:pt x="748675" y="497302"/>
                      <a:pt x="748675" y="536631"/>
                      <a:pt x="758711" y="538947"/>
                    </a:cubicBezTo>
                    <a:cubicBezTo>
                      <a:pt x="768705" y="541263"/>
                      <a:pt x="776682" y="508881"/>
                      <a:pt x="782687" y="508881"/>
                    </a:cubicBezTo>
                    <a:cubicBezTo>
                      <a:pt x="786976" y="508881"/>
                      <a:pt x="790278" y="545595"/>
                      <a:pt x="796197" y="583466"/>
                    </a:cubicBezTo>
                    <a:cubicBezTo>
                      <a:pt x="797741" y="581322"/>
                      <a:pt x="799371" y="579778"/>
                      <a:pt x="801086" y="579778"/>
                    </a:cubicBezTo>
                    <a:cubicBezTo>
                      <a:pt x="809021" y="579778"/>
                      <a:pt x="805032" y="547782"/>
                      <a:pt x="810350" y="538604"/>
                    </a:cubicBezTo>
                    <a:cubicBezTo>
                      <a:pt x="815626" y="529469"/>
                      <a:pt x="813009" y="500518"/>
                      <a:pt x="816955" y="500518"/>
                    </a:cubicBezTo>
                    <a:cubicBezTo>
                      <a:pt x="820901" y="500518"/>
                      <a:pt x="844662" y="509654"/>
                      <a:pt x="843332" y="502019"/>
                    </a:cubicBezTo>
                    <a:cubicBezTo>
                      <a:pt x="842003" y="494385"/>
                      <a:pt x="857829" y="468437"/>
                      <a:pt x="855170" y="454713"/>
                    </a:cubicBezTo>
                    <a:cubicBezTo>
                      <a:pt x="852511" y="440988"/>
                      <a:pt x="864391" y="424218"/>
                      <a:pt x="864391" y="407448"/>
                    </a:cubicBezTo>
                    <a:cubicBezTo>
                      <a:pt x="864391" y="390679"/>
                      <a:pt x="877558" y="386090"/>
                      <a:pt x="886822" y="376954"/>
                    </a:cubicBezTo>
                    <a:cubicBezTo>
                      <a:pt x="896043" y="367819"/>
                      <a:pt x="911869" y="355595"/>
                      <a:pt x="914529" y="363230"/>
                    </a:cubicBezTo>
                    <a:cubicBezTo>
                      <a:pt x="917187" y="370864"/>
                      <a:pt x="936917" y="376954"/>
                      <a:pt x="929025" y="363230"/>
                    </a:cubicBezTo>
                    <a:cubicBezTo>
                      <a:pt x="921005" y="349676"/>
                      <a:pt x="921005" y="340584"/>
                      <a:pt x="926280" y="33749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94" name="Freeform: Shape 135">
                <a:extLst>
                  <a:ext uri="{FF2B5EF4-FFF2-40B4-BE49-F238E27FC236}">
                    <a16:creationId xmlns:a16="http://schemas.microsoft.com/office/drawing/2014/main" id="{E9BAC281-B582-8B30-5558-9ED14F71B803}"/>
                  </a:ext>
                </a:extLst>
              </p:cNvPr>
              <p:cNvSpPr/>
              <p:nvPr/>
            </p:nvSpPr>
            <p:spPr>
              <a:xfrm>
                <a:off x="9328175" y="3571947"/>
                <a:ext cx="226343" cy="560938"/>
              </a:xfrm>
              <a:custGeom>
                <a:avLst/>
                <a:gdLst>
                  <a:gd name="connsiteX0" fmla="*/ 276979 w 295936"/>
                  <a:gd name="connsiteY0" fmla="*/ 294304 h 733407"/>
                  <a:gd name="connsiteX1" fmla="*/ 256263 w 295936"/>
                  <a:gd name="connsiteY1" fmla="*/ 281481 h 733407"/>
                  <a:gd name="connsiteX2" fmla="*/ 237736 w 295936"/>
                  <a:gd name="connsiteY2" fmla="*/ 271187 h 733407"/>
                  <a:gd name="connsiteX3" fmla="*/ 237736 w 295936"/>
                  <a:gd name="connsiteY3" fmla="*/ 245496 h 733407"/>
                  <a:gd name="connsiteX4" fmla="*/ 225125 w 295936"/>
                  <a:gd name="connsiteY4" fmla="*/ 228341 h 733407"/>
                  <a:gd name="connsiteX5" fmla="*/ 214747 w 295936"/>
                  <a:gd name="connsiteY5" fmla="*/ 196645 h 733407"/>
                  <a:gd name="connsiteX6" fmla="*/ 184381 w 295936"/>
                  <a:gd name="connsiteY6" fmla="*/ 189783 h 733407"/>
                  <a:gd name="connsiteX7" fmla="*/ 178462 w 295936"/>
                  <a:gd name="connsiteY7" fmla="*/ 170912 h 733407"/>
                  <a:gd name="connsiteX8" fmla="*/ 205868 w 295936"/>
                  <a:gd name="connsiteY8" fmla="*/ 116957 h 733407"/>
                  <a:gd name="connsiteX9" fmla="*/ 214018 w 295936"/>
                  <a:gd name="connsiteY9" fmla="*/ 60429 h 733407"/>
                  <a:gd name="connsiteX10" fmla="*/ 200722 w 295936"/>
                  <a:gd name="connsiteY10" fmla="*/ 41558 h 733407"/>
                  <a:gd name="connsiteX11" fmla="*/ 193302 w 295936"/>
                  <a:gd name="connsiteY11" fmla="*/ 20156 h 733407"/>
                  <a:gd name="connsiteX12" fmla="*/ 171086 w 295936"/>
                  <a:gd name="connsiteY12" fmla="*/ 9048 h 733407"/>
                  <a:gd name="connsiteX13" fmla="*/ 165467 w 295936"/>
                  <a:gd name="connsiteY13" fmla="*/ 12865 h 733407"/>
                  <a:gd name="connsiteX14" fmla="*/ 166111 w 295936"/>
                  <a:gd name="connsiteY14" fmla="*/ 12993 h 733407"/>
                  <a:gd name="connsiteX15" fmla="*/ 158176 w 295936"/>
                  <a:gd name="connsiteY15" fmla="*/ 31307 h 733407"/>
                  <a:gd name="connsiteX16" fmla="*/ 160834 w 295936"/>
                  <a:gd name="connsiteY16" fmla="*/ 57212 h 733407"/>
                  <a:gd name="connsiteX17" fmla="*/ 146338 w 295936"/>
                  <a:gd name="connsiteY17" fmla="*/ 57212 h 733407"/>
                  <a:gd name="connsiteX18" fmla="*/ 118632 w 295936"/>
                  <a:gd name="connsiteY18" fmla="*/ 70937 h 733407"/>
                  <a:gd name="connsiteX19" fmla="*/ 96201 w 295936"/>
                  <a:gd name="connsiteY19" fmla="*/ 101431 h 733407"/>
                  <a:gd name="connsiteX20" fmla="*/ 86980 w 295936"/>
                  <a:gd name="connsiteY20" fmla="*/ 148695 h 733407"/>
                  <a:gd name="connsiteX21" fmla="*/ 75142 w 295936"/>
                  <a:gd name="connsiteY21" fmla="*/ 196002 h 733407"/>
                  <a:gd name="connsiteX22" fmla="*/ 48765 w 295936"/>
                  <a:gd name="connsiteY22" fmla="*/ 194501 h 733407"/>
                  <a:gd name="connsiteX23" fmla="*/ 42160 w 295936"/>
                  <a:gd name="connsiteY23" fmla="*/ 232587 h 733407"/>
                  <a:gd name="connsiteX24" fmla="*/ 32896 w 295936"/>
                  <a:gd name="connsiteY24" fmla="*/ 273760 h 733407"/>
                  <a:gd name="connsiteX25" fmla="*/ 18400 w 295936"/>
                  <a:gd name="connsiteY25" fmla="*/ 302754 h 733407"/>
                  <a:gd name="connsiteX26" fmla="*/ 6433 w 295936"/>
                  <a:gd name="connsiteY26" fmla="*/ 314076 h 733407"/>
                  <a:gd name="connsiteX27" fmla="*/ 37785 w 295936"/>
                  <a:gd name="connsiteY27" fmla="*/ 352291 h 733407"/>
                  <a:gd name="connsiteX28" fmla="*/ 75828 w 295936"/>
                  <a:gd name="connsiteY28" fmla="*/ 430521 h 733407"/>
                  <a:gd name="connsiteX29" fmla="*/ 77244 w 295936"/>
                  <a:gd name="connsiteY29" fmla="*/ 471952 h 733407"/>
                  <a:gd name="connsiteX30" fmla="*/ 77801 w 295936"/>
                  <a:gd name="connsiteY30" fmla="*/ 477399 h 733407"/>
                  <a:gd name="connsiteX31" fmla="*/ 77801 w 295936"/>
                  <a:gd name="connsiteY31" fmla="*/ 497428 h 733407"/>
                  <a:gd name="connsiteX32" fmla="*/ 75786 w 295936"/>
                  <a:gd name="connsiteY32" fmla="*/ 509094 h 733407"/>
                  <a:gd name="connsiteX33" fmla="*/ 84706 w 295936"/>
                  <a:gd name="connsiteY33" fmla="*/ 513898 h 733407"/>
                  <a:gd name="connsiteX34" fmla="*/ 117302 w 295936"/>
                  <a:gd name="connsiteY34" fmla="*/ 509309 h 733407"/>
                  <a:gd name="connsiteX35" fmla="*/ 145481 w 295936"/>
                  <a:gd name="connsiteY35" fmla="*/ 470494 h 733407"/>
                  <a:gd name="connsiteX36" fmla="*/ 162765 w 295936"/>
                  <a:gd name="connsiteY36" fmla="*/ 485934 h 733407"/>
                  <a:gd name="connsiteX37" fmla="*/ 176103 w 295936"/>
                  <a:gd name="connsiteY37" fmla="*/ 528737 h 733407"/>
                  <a:gd name="connsiteX38" fmla="*/ 193345 w 295936"/>
                  <a:gd name="connsiteY38" fmla="*/ 612114 h 733407"/>
                  <a:gd name="connsiteX39" fmla="*/ 206212 w 295936"/>
                  <a:gd name="connsiteY39" fmla="*/ 673231 h 733407"/>
                  <a:gd name="connsiteX40" fmla="*/ 210672 w 295936"/>
                  <a:gd name="connsiteY40" fmla="*/ 718909 h 733407"/>
                  <a:gd name="connsiteX41" fmla="*/ 208742 w 295936"/>
                  <a:gd name="connsiteY41" fmla="*/ 729417 h 733407"/>
                  <a:gd name="connsiteX42" fmla="*/ 237392 w 295936"/>
                  <a:gd name="connsiteY42" fmla="*/ 665769 h 733407"/>
                  <a:gd name="connsiteX43" fmla="*/ 226842 w 295936"/>
                  <a:gd name="connsiteY43" fmla="*/ 636818 h 733407"/>
                  <a:gd name="connsiteX44" fmla="*/ 213674 w 295936"/>
                  <a:gd name="connsiteY44" fmla="*/ 589554 h 733407"/>
                  <a:gd name="connsiteX45" fmla="*/ 201794 w 295936"/>
                  <a:gd name="connsiteY45" fmla="*/ 548338 h 733407"/>
                  <a:gd name="connsiteX46" fmla="*/ 207069 w 295936"/>
                  <a:gd name="connsiteY46" fmla="*/ 520889 h 733407"/>
                  <a:gd name="connsiteX47" fmla="*/ 208356 w 295936"/>
                  <a:gd name="connsiteY47" fmla="*/ 502618 h 733407"/>
                  <a:gd name="connsiteX48" fmla="*/ 201794 w 295936"/>
                  <a:gd name="connsiteY48" fmla="*/ 476670 h 733407"/>
                  <a:gd name="connsiteX49" fmla="*/ 176747 w 295936"/>
                  <a:gd name="connsiteY49" fmla="*/ 441629 h 733407"/>
                  <a:gd name="connsiteX50" fmla="*/ 183351 w 295936"/>
                  <a:gd name="connsiteY50" fmla="*/ 380641 h 733407"/>
                  <a:gd name="connsiteX51" fmla="*/ 201794 w 295936"/>
                  <a:gd name="connsiteY51" fmla="*/ 368417 h 733407"/>
                  <a:gd name="connsiteX52" fmla="*/ 226842 w 295936"/>
                  <a:gd name="connsiteY52" fmla="*/ 359282 h 733407"/>
                  <a:gd name="connsiteX53" fmla="*/ 257165 w 295936"/>
                  <a:gd name="connsiteY53" fmla="*/ 339467 h 733407"/>
                  <a:gd name="connsiteX54" fmla="*/ 274320 w 295936"/>
                  <a:gd name="connsiteY54" fmla="*/ 322697 h 733407"/>
                  <a:gd name="connsiteX55" fmla="*/ 291433 w 295936"/>
                  <a:gd name="connsiteY55" fmla="*/ 290659 h 733407"/>
                  <a:gd name="connsiteX56" fmla="*/ 292119 w 295936"/>
                  <a:gd name="connsiteY56" fmla="*/ 290745 h 733407"/>
                  <a:gd name="connsiteX57" fmla="*/ 276979 w 295936"/>
                  <a:gd name="connsiteY57" fmla="*/ 294304 h 73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95936" h="733407">
                    <a:moveTo>
                      <a:pt x="276979" y="294304"/>
                    </a:moveTo>
                    <a:cubicBezTo>
                      <a:pt x="262182" y="301167"/>
                      <a:pt x="254763" y="291731"/>
                      <a:pt x="256263" y="281481"/>
                    </a:cubicBezTo>
                    <a:cubicBezTo>
                      <a:pt x="257722" y="271187"/>
                      <a:pt x="245884" y="271187"/>
                      <a:pt x="237736" y="271187"/>
                    </a:cubicBezTo>
                    <a:cubicBezTo>
                      <a:pt x="229586" y="271187"/>
                      <a:pt x="234775" y="255790"/>
                      <a:pt x="237736" y="245496"/>
                    </a:cubicBezTo>
                    <a:cubicBezTo>
                      <a:pt x="240738" y="235203"/>
                      <a:pt x="234775" y="229241"/>
                      <a:pt x="225125" y="228341"/>
                    </a:cubicBezTo>
                    <a:cubicBezTo>
                      <a:pt x="215518" y="227483"/>
                      <a:pt x="211059" y="203508"/>
                      <a:pt x="214747" y="196645"/>
                    </a:cubicBezTo>
                    <a:cubicBezTo>
                      <a:pt x="218478" y="189783"/>
                      <a:pt x="194760" y="183822"/>
                      <a:pt x="184381" y="189783"/>
                    </a:cubicBezTo>
                    <a:cubicBezTo>
                      <a:pt x="174002" y="195788"/>
                      <a:pt x="181421" y="179490"/>
                      <a:pt x="178462" y="170912"/>
                    </a:cubicBezTo>
                    <a:cubicBezTo>
                      <a:pt x="175503" y="162334"/>
                      <a:pt x="191801" y="133255"/>
                      <a:pt x="205868" y="116957"/>
                    </a:cubicBezTo>
                    <a:cubicBezTo>
                      <a:pt x="219936" y="100659"/>
                      <a:pt x="214018" y="79257"/>
                      <a:pt x="214018" y="60429"/>
                    </a:cubicBezTo>
                    <a:cubicBezTo>
                      <a:pt x="214018" y="41558"/>
                      <a:pt x="207370" y="41558"/>
                      <a:pt x="200722" y="41558"/>
                    </a:cubicBezTo>
                    <a:cubicBezTo>
                      <a:pt x="194031" y="41558"/>
                      <a:pt x="193302" y="30449"/>
                      <a:pt x="193302" y="20156"/>
                    </a:cubicBezTo>
                    <a:cubicBezTo>
                      <a:pt x="193302" y="9863"/>
                      <a:pt x="179234" y="2185"/>
                      <a:pt x="171086" y="9048"/>
                    </a:cubicBezTo>
                    <a:cubicBezTo>
                      <a:pt x="169970" y="9991"/>
                      <a:pt x="167955" y="11321"/>
                      <a:pt x="165467" y="12865"/>
                    </a:cubicBezTo>
                    <a:cubicBezTo>
                      <a:pt x="165810" y="12950"/>
                      <a:pt x="166111" y="12993"/>
                      <a:pt x="166111" y="12993"/>
                    </a:cubicBezTo>
                    <a:cubicBezTo>
                      <a:pt x="166111" y="12993"/>
                      <a:pt x="163494" y="28262"/>
                      <a:pt x="158176" y="31307"/>
                    </a:cubicBezTo>
                    <a:cubicBezTo>
                      <a:pt x="152900" y="34352"/>
                      <a:pt x="152900" y="43488"/>
                      <a:pt x="160834" y="57212"/>
                    </a:cubicBezTo>
                    <a:cubicBezTo>
                      <a:pt x="168726" y="70937"/>
                      <a:pt x="148955" y="64847"/>
                      <a:pt x="146338" y="57212"/>
                    </a:cubicBezTo>
                    <a:cubicBezTo>
                      <a:pt x="143679" y="49621"/>
                      <a:pt x="127853" y="61801"/>
                      <a:pt x="118632" y="70937"/>
                    </a:cubicBezTo>
                    <a:cubicBezTo>
                      <a:pt x="109410" y="80115"/>
                      <a:pt x="96201" y="84662"/>
                      <a:pt x="96201" y="101431"/>
                    </a:cubicBezTo>
                    <a:cubicBezTo>
                      <a:pt x="96201" y="118201"/>
                      <a:pt x="84321" y="134971"/>
                      <a:pt x="86980" y="148695"/>
                    </a:cubicBezTo>
                    <a:cubicBezTo>
                      <a:pt x="89596" y="162420"/>
                      <a:pt x="73812" y="188368"/>
                      <a:pt x="75142" y="196002"/>
                    </a:cubicBezTo>
                    <a:cubicBezTo>
                      <a:pt x="76471" y="203593"/>
                      <a:pt x="52711" y="194501"/>
                      <a:pt x="48765" y="194501"/>
                    </a:cubicBezTo>
                    <a:cubicBezTo>
                      <a:pt x="44819" y="194501"/>
                      <a:pt x="47435" y="223451"/>
                      <a:pt x="42160" y="232587"/>
                    </a:cubicBezTo>
                    <a:cubicBezTo>
                      <a:pt x="36885" y="241765"/>
                      <a:pt x="40831" y="273760"/>
                      <a:pt x="32896" y="273760"/>
                    </a:cubicBezTo>
                    <a:cubicBezTo>
                      <a:pt x="25004" y="273760"/>
                      <a:pt x="18400" y="302754"/>
                      <a:pt x="18400" y="302754"/>
                    </a:cubicBezTo>
                    <a:cubicBezTo>
                      <a:pt x="18400" y="302754"/>
                      <a:pt x="11966" y="307772"/>
                      <a:pt x="6433" y="314076"/>
                    </a:cubicBezTo>
                    <a:cubicBezTo>
                      <a:pt x="12910" y="329345"/>
                      <a:pt x="24704" y="346029"/>
                      <a:pt x="37785" y="352291"/>
                    </a:cubicBezTo>
                    <a:cubicBezTo>
                      <a:pt x="57042" y="361426"/>
                      <a:pt x="69867" y="406503"/>
                      <a:pt x="75828" y="430521"/>
                    </a:cubicBezTo>
                    <a:cubicBezTo>
                      <a:pt x="79388" y="444975"/>
                      <a:pt x="79345" y="459557"/>
                      <a:pt x="77244" y="471952"/>
                    </a:cubicBezTo>
                    <a:cubicBezTo>
                      <a:pt x="77501" y="473753"/>
                      <a:pt x="77801" y="475598"/>
                      <a:pt x="77801" y="477399"/>
                    </a:cubicBezTo>
                    <a:lnTo>
                      <a:pt x="77801" y="497428"/>
                    </a:lnTo>
                    <a:cubicBezTo>
                      <a:pt x="77801" y="501589"/>
                      <a:pt x="76986" y="505448"/>
                      <a:pt x="75786" y="509094"/>
                    </a:cubicBezTo>
                    <a:cubicBezTo>
                      <a:pt x="78402" y="510466"/>
                      <a:pt x="81447" y="511925"/>
                      <a:pt x="84706" y="513898"/>
                    </a:cubicBezTo>
                    <a:cubicBezTo>
                      <a:pt x="96072" y="520760"/>
                      <a:pt x="108896" y="523033"/>
                      <a:pt x="117302" y="509309"/>
                    </a:cubicBezTo>
                    <a:cubicBezTo>
                      <a:pt x="125708" y="495584"/>
                      <a:pt x="142993" y="485934"/>
                      <a:pt x="145481" y="470494"/>
                    </a:cubicBezTo>
                    <a:cubicBezTo>
                      <a:pt x="147925" y="455096"/>
                      <a:pt x="155860" y="477914"/>
                      <a:pt x="162765" y="485934"/>
                    </a:cubicBezTo>
                    <a:cubicBezTo>
                      <a:pt x="169713" y="493911"/>
                      <a:pt x="174603" y="509309"/>
                      <a:pt x="176103" y="528737"/>
                    </a:cubicBezTo>
                    <a:cubicBezTo>
                      <a:pt x="177562" y="548166"/>
                      <a:pt x="179062" y="596674"/>
                      <a:pt x="193345" y="612114"/>
                    </a:cubicBezTo>
                    <a:cubicBezTo>
                      <a:pt x="207670" y="627512"/>
                      <a:pt x="210157" y="661222"/>
                      <a:pt x="206212" y="673231"/>
                    </a:cubicBezTo>
                    <a:cubicBezTo>
                      <a:pt x="202309" y="685240"/>
                      <a:pt x="213631" y="705785"/>
                      <a:pt x="210672" y="718909"/>
                    </a:cubicBezTo>
                    <a:cubicBezTo>
                      <a:pt x="210072" y="721525"/>
                      <a:pt x="209428" y="725256"/>
                      <a:pt x="208742" y="729417"/>
                    </a:cubicBezTo>
                    <a:cubicBezTo>
                      <a:pt x="221609" y="732247"/>
                      <a:pt x="237392" y="665769"/>
                      <a:pt x="237392" y="665769"/>
                    </a:cubicBezTo>
                    <a:cubicBezTo>
                      <a:pt x="237392" y="650543"/>
                      <a:pt x="226842" y="648999"/>
                      <a:pt x="226842" y="636818"/>
                    </a:cubicBezTo>
                    <a:cubicBezTo>
                      <a:pt x="226842" y="624595"/>
                      <a:pt x="226842" y="603279"/>
                      <a:pt x="213674" y="589554"/>
                    </a:cubicBezTo>
                    <a:cubicBezTo>
                      <a:pt x="200464" y="575830"/>
                      <a:pt x="193860" y="555972"/>
                      <a:pt x="201794" y="548338"/>
                    </a:cubicBezTo>
                    <a:cubicBezTo>
                      <a:pt x="209729" y="540746"/>
                      <a:pt x="203124" y="519387"/>
                      <a:pt x="207069" y="520889"/>
                    </a:cubicBezTo>
                    <a:cubicBezTo>
                      <a:pt x="211016" y="522433"/>
                      <a:pt x="216334" y="507164"/>
                      <a:pt x="208356" y="502618"/>
                    </a:cubicBezTo>
                    <a:cubicBezTo>
                      <a:pt x="200464" y="498029"/>
                      <a:pt x="208356" y="479758"/>
                      <a:pt x="201794" y="476670"/>
                    </a:cubicBezTo>
                    <a:cubicBezTo>
                      <a:pt x="195189" y="473625"/>
                      <a:pt x="176747" y="449221"/>
                      <a:pt x="176747" y="441629"/>
                    </a:cubicBezTo>
                    <a:cubicBezTo>
                      <a:pt x="176747" y="433995"/>
                      <a:pt x="182022" y="391277"/>
                      <a:pt x="183351" y="380641"/>
                    </a:cubicBezTo>
                    <a:cubicBezTo>
                      <a:pt x="184638" y="369918"/>
                      <a:pt x="197848" y="368417"/>
                      <a:pt x="201794" y="368417"/>
                    </a:cubicBezTo>
                    <a:cubicBezTo>
                      <a:pt x="205740" y="368417"/>
                      <a:pt x="221566" y="369918"/>
                      <a:pt x="226842" y="359282"/>
                    </a:cubicBezTo>
                    <a:cubicBezTo>
                      <a:pt x="232117" y="348602"/>
                      <a:pt x="254505" y="347101"/>
                      <a:pt x="257165" y="339467"/>
                    </a:cubicBezTo>
                    <a:cubicBezTo>
                      <a:pt x="259823" y="331876"/>
                      <a:pt x="274320" y="331876"/>
                      <a:pt x="274320" y="322697"/>
                    </a:cubicBezTo>
                    <a:cubicBezTo>
                      <a:pt x="274320" y="313562"/>
                      <a:pt x="291433" y="290659"/>
                      <a:pt x="291433" y="290659"/>
                    </a:cubicBezTo>
                    <a:cubicBezTo>
                      <a:pt x="291690" y="290616"/>
                      <a:pt x="291861" y="290745"/>
                      <a:pt x="292119" y="290745"/>
                    </a:cubicBezTo>
                    <a:cubicBezTo>
                      <a:pt x="290017" y="286627"/>
                      <a:pt x="285686" y="290273"/>
                      <a:pt x="276979" y="29430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95" name="Freeform: Shape 137">
                <a:extLst>
                  <a:ext uri="{FF2B5EF4-FFF2-40B4-BE49-F238E27FC236}">
                    <a16:creationId xmlns:a16="http://schemas.microsoft.com/office/drawing/2014/main" id="{65B198F9-CA5B-3F45-355A-8F8A1BE11271}"/>
                  </a:ext>
                </a:extLst>
              </p:cNvPr>
              <p:cNvSpPr/>
              <p:nvPr/>
            </p:nvSpPr>
            <p:spPr>
              <a:xfrm>
                <a:off x="9574364" y="3736099"/>
                <a:ext cx="186979" cy="446126"/>
              </a:xfrm>
              <a:custGeom>
                <a:avLst/>
                <a:gdLst>
                  <a:gd name="connsiteX0" fmla="*/ 233061 w 244469"/>
                  <a:gd name="connsiteY0" fmla="*/ 437894 h 583294"/>
                  <a:gd name="connsiteX1" fmla="*/ 236621 w 244469"/>
                  <a:gd name="connsiteY1" fmla="*/ 367813 h 583294"/>
                  <a:gd name="connsiteX2" fmla="*/ 238164 w 244469"/>
                  <a:gd name="connsiteY2" fmla="*/ 356404 h 583294"/>
                  <a:gd name="connsiteX3" fmla="*/ 206641 w 244469"/>
                  <a:gd name="connsiteY3" fmla="*/ 296402 h 583294"/>
                  <a:gd name="connsiteX4" fmla="*/ 152815 w 244469"/>
                  <a:gd name="connsiteY4" fmla="*/ 243862 h 583294"/>
                  <a:gd name="connsiteX5" fmla="*/ 138019 w 244469"/>
                  <a:gd name="connsiteY5" fmla="*/ 214140 h 583294"/>
                  <a:gd name="connsiteX6" fmla="*/ 129611 w 244469"/>
                  <a:gd name="connsiteY6" fmla="*/ 161644 h 583294"/>
                  <a:gd name="connsiteX7" fmla="*/ 153329 w 244469"/>
                  <a:gd name="connsiteY7" fmla="*/ 127933 h 583294"/>
                  <a:gd name="connsiteX8" fmla="*/ 166153 w 244469"/>
                  <a:gd name="connsiteY8" fmla="*/ 105116 h 583294"/>
                  <a:gd name="connsiteX9" fmla="*/ 192316 w 244469"/>
                  <a:gd name="connsiteY9" fmla="*/ 85086 h 583294"/>
                  <a:gd name="connsiteX10" fmla="*/ 195146 w 244469"/>
                  <a:gd name="connsiteY10" fmla="*/ 82299 h 583294"/>
                  <a:gd name="connsiteX11" fmla="*/ 188285 w 244469"/>
                  <a:gd name="connsiteY11" fmla="*/ 75951 h 583294"/>
                  <a:gd name="connsiteX12" fmla="*/ 155302 w 244469"/>
                  <a:gd name="connsiteY12" fmla="*/ 47001 h 583294"/>
                  <a:gd name="connsiteX13" fmla="*/ 146081 w 244469"/>
                  <a:gd name="connsiteY13" fmla="*/ 24141 h 583294"/>
                  <a:gd name="connsiteX14" fmla="*/ 118418 w 244469"/>
                  <a:gd name="connsiteY14" fmla="*/ 7328 h 583294"/>
                  <a:gd name="connsiteX15" fmla="*/ 92040 w 244469"/>
                  <a:gd name="connsiteY15" fmla="*/ 27186 h 583294"/>
                  <a:gd name="connsiteX16" fmla="*/ 69609 w 244469"/>
                  <a:gd name="connsiteY16" fmla="*/ 31732 h 583294"/>
                  <a:gd name="connsiteX17" fmla="*/ 40616 w 244469"/>
                  <a:gd name="connsiteY17" fmla="*/ 31732 h 583294"/>
                  <a:gd name="connsiteX18" fmla="*/ 15526 w 244469"/>
                  <a:gd name="connsiteY18" fmla="*/ 34777 h 583294"/>
                  <a:gd name="connsiteX19" fmla="*/ 6433 w 244469"/>
                  <a:gd name="connsiteY19" fmla="*/ 42969 h 583294"/>
                  <a:gd name="connsiteX20" fmla="*/ 18486 w 244469"/>
                  <a:gd name="connsiteY20" fmla="*/ 63342 h 583294"/>
                  <a:gd name="connsiteX21" fmla="*/ 35384 w 244469"/>
                  <a:gd name="connsiteY21" fmla="*/ 92721 h 583294"/>
                  <a:gd name="connsiteX22" fmla="*/ 62919 w 244469"/>
                  <a:gd name="connsiteY22" fmla="*/ 109833 h 583294"/>
                  <a:gd name="connsiteX23" fmla="*/ 86165 w 244469"/>
                  <a:gd name="connsiteY23" fmla="*/ 117168 h 583294"/>
                  <a:gd name="connsiteX24" fmla="*/ 96759 w 244469"/>
                  <a:gd name="connsiteY24" fmla="*/ 146547 h 583294"/>
                  <a:gd name="connsiteX25" fmla="*/ 71368 w 244469"/>
                  <a:gd name="connsiteY25" fmla="*/ 163660 h 583294"/>
                  <a:gd name="connsiteX26" fmla="*/ 107309 w 244469"/>
                  <a:gd name="connsiteY26" fmla="*/ 200330 h 583294"/>
                  <a:gd name="connsiteX27" fmla="*/ 124250 w 244469"/>
                  <a:gd name="connsiteY27" fmla="*/ 234556 h 583294"/>
                  <a:gd name="connsiteX28" fmla="*/ 151743 w 244469"/>
                  <a:gd name="connsiteY28" fmla="*/ 276158 h 583294"/>
                  <a:gd name="connsiteX29" fmla="*/ 179278 w 244469"/>
                  <a:gd name="connsiteY29" fmla="*/ 305494 h 583294"/>
                  <a:gd name="connsiteX30" fmla="*/ 185625 w 244469"/>
                  <a:gd name="connsiteY30" fmla="*/ 344652 h 583294"/>
                  <a:gd name="connsiteX31" fmla="*/ 196219 w 244469"/>
                  <a:gd name="connsiteY31" fmla="*/ 408257 h 583294"/>
                  <a:gd name="connsiteX32" fmla="*/ 172973 w 244469"/>
                  <a:gd name="connsiteY32" fmla="*/ 452305 h 583294"/>
                  <a:gd name="connsiteX33" fmla="*/ 143337 w 244469"/>
                  <a:gd name="connsiteY33" fmla="*/ 474307 h 583294"/>
                  <a:gd name="connsiteX34" fmla="*/ 143337 w 244469"/>
                  <a:gd name="connsiteY34" fmla="*/ 508532 h 583294"/>
                  <a:gd name="connsiteX35" fmla="*/ 105251 w 244469"/>
                  <a:gd name="connsiteY35" fmla="*/ 508532 h 583294"/>
                  <a:gd name="connsiteX36" fmla="*/ 84663 w 244469"/>
                  <a:gd name="connsiteY36" fmla="*/ 527232 h 583294"/>
                  <a:gd name="connsiteX37" fmla="*/ 99460 w 244469"/>
                  <a:gd name="connsiteY37" fmla="*/ 540142 h 583294"/>
                  <a:gd name="connsiteX38" fmla="*/ 90110 w 244469"/>
                  <a:gd name="connsiteY38" fmla="*/ 573810 h 583294"/>
                  <a:gd name="connsiteX39" fmla="*/ 90583 w 244469"/>
                  <a:gd name="connsiteY39" fmla="*/ 578142 h 583294"/>
                  <a:gd name="connsiteX40" fmla="*/ 101133 w 244469"/>
                  <a:gd name="connsiteY40" fmla="*/ 572609 h 583294"/>
                  <a:gd name="connsiteX41" fmla="*/ 122449 w 244469"/>
                  <a:gd name="connsiteY41" fmla="*/ 565275 h 583294"/>
                  <a:gd name="connsiteX42" fmla="*/ 130255 w 244469"/>
                  <a:gd name="connsiteY42" fmla="*/ 566090 h 583294"/>
                  <a:gd name="connsiteX43" fmla="*/ 140377 w 244469"/>
                  <a:gd name="connsiteY43" fmla="*/ 546232 h 583294"/>
                  <a:gd name="connsiteX44" fmla="*/ 151185 w 244469"/>
                  <a:gd name="connsiteY44" fmla="*/ 538812 h 583294"/>
                  <a:gd name="connsiteX45" fmla="*/ 153759 w 244469"/>
                  <a:gd name="connsiteY45" fmla="*/ 526975 h 583294"/>
                  <a:gd name="connsiteX46" fmla="*/ 174474 w 244469"/>
                  <a:gd name="connsiteY46" fmla="*/ 522986 h 583294"/>
                  <a:gd name="connsiteX47" fmla="*/ 202824 w 244469"/>
                  <a:gd name="connsiteY47" fmla="*/ 510334 h 583294"/>
                  <a:gd name="connsiteX48" fmla="*/ 202523 w 244469"/>
                  <a:gd name="connsiteY48" fmla="*/ 507761 h 583294"/>
                  <a:gd name="connsiteX49" fmla="*/ 213203 w 244469"/>
                  <a:gd name="connsiteY49" fmla="*/ 481212 h 583294"/>
                  <a:gd name="connsiteX50" fmla="*/ 238979 w 244469"/>
                  <a:gd name="connsiteY50" fmla="*/ 470232 h 583294"/>
                  <a:gd name="connsiteX51" fmla="*/ 239451 w 244469"/>
                  <a:gd name="connsiteY51" fmla="*/ 470232 h 583294"/>
                  <a:gd name="connsiteX52" fmla="*/ 233061 w 244469"/>
                  <a:gd name="connsiteY52" fmla="*/ 437894 h 58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44469" h="583294">
                    <a:moveTo>
                      <a:pt x="233061" y="437894"/>
                    </a:moveTo>
                    <a:cubicBezTo>
                      <a:pt x="237178" y="414948"/>
                      <a:pt x="236621" y="391102"/>
                      <a:pt x="236621" y="367813"/>
                    </a:cubicBezTo>
                    <a:cubicBezTo>
                      <a:pt x="236621" y="363652"/>
                      <a:pt x="237178" y="359878"/>
                      <a:pt x="238164" y="356404"/>
                    </a:cubicBezTo>
                    <a:cubicBezTo>
                      <a:pt x="237135" y="344695"/>
                      <a:pt x="214919" y="295844"/>
                      <a:pt x="206641" y="296402"/>
                    </a:cubicBezTo>
                    <a:cubicBezTo>
                      <a:pt x="198234" y="297002"/>
                      <a:pt x="159763" y="251283"/>
                      <a:pt x="152815" y="243862"/>
                    </a:cubicBezTo>
                    <a:cubicBezTo>
                      <a:pt x="145910" y="236443"/>
                      <a:pt x="147882" y="223876"/>
                      <a:pt x="138019" y="214140"/>
                    </a:cubicBezTo>
                    <a:cubicBezTo>
                      <a:pt x="128154" y="204447"/>
                      <a:pt x="127167" y="179314"/>
                      <a:pt x="129611" y="161644"/>
                    </a:cubicBezTo>
                    <a:cubicBezTo>
                      <a:pt x="132099" y="143930"/>
                      <a:pt x="153802" y="139942"/>
                      <a:pt x="153329" y="127933"/>
                    </a:cubicBezTo>
                    <a:cubicBezTo>
                      <a:pt x="152858" y="115967"/>
                      <a:pt x="155259" y="105673"/>
                      <a:pt x="166153" y="105116"/>
                    </a:cubicBezTo>
                    <a:cubicBezTo>
                      <a:pt x="177047" y="104515"/>
                      <a:pt x="187383" y="94222"/>
                      <a:pt x="192316" y="85086"/>
                    </a:cubicBezTo>
                    <a:cubicBezTo>
                      <a:pt x="193045" y="83757"/>
                      <a:pt x="194031" y="82899"/>
                      <a:pt x="195146" y="82299"/>
                    </a:cubicBezTo>
                    <a:cubicBezTo>
                      <a:pt x="192402" y="78610"/>
                      <a:pt x="190000" y="76251"/>
                      <a:pt x="188285" y="75951"/>
                    </a:cubicBezTo>
                    <a:cubicBezTo>
                      <a:pt x="179063" y="74407"/>
                      <a:pt x="155302" y="54592"/>
                      <a:pt x="155302" y="47001"/>
                    </a:cubicBezTo>
                    <a:cubicBezTo>
                      <a:pt x="155302" y="39366"/>
                      <a:pt x="167182" y="27186"/>
                      <a:pt x="146081" y="24141"/>
                    </a:cubicBezTo>
                    <a:cubicBezTo>
                      <a:pt x="125023" y="21053"/>
                      <a:pt x="122363" y="11917"/>
                      <a:pt x="118418" y="7328"/>
                    </a:cubicBezTo>
                    <a:cubicBezTo>
                      <a:pt x="114471" y="2782"/>
                      <a:pt x="97316" y="16506"/>
                      <a:pt x="92040" y="27186"/>
                    </a:cubicBezTo>
                    <a:cubicBezTo>
                      <a:pt x="86765" y="37865"/>
                      <a:pt x="81490" y="24141"/>
                      <a:pt x="69609" y="31732"/>
                    </a:cubicBezTo>
                    <a:cubicBezTo>
                      <a:pt x="57729" y="39366"/>
                      <a:pt x="45891" y="21053"/>
                      <a:pt x="40616" y="31732"/>
                    </a:cubicBezTo>
                    <a:cubicBezTo>
                      <a:pt x="35341" y="42412"/>
                      <a:pt x="22132" y="25642"/>
                      <a:pt x="15526" y="34777"/>
                    </a:cubicBezTo>
                    <a:cubicBezTo>
                      <a:pt x="13039" y="38251"/>
                      <a:pt x="9736" y="41082"/>
                      <a:pt x="6433" y="42969"/>
                    </a:cubicBezTo>
                    <a:cubicBezTo>
                      <a:pt x="12224" y="50432"/>
                      <a:pt x="18486" y="57723"/>
                      <a:pt x="18486" y="63342"/>
                    </a:cubicBezTo>
                    <a:cubicBezTo>
                      <a:pt x="18486" y="73120"/>
                      <a:pt x="35384" y="80454"/>
                      <a:pt x="35384" y="92721"/>
                    </a:cubicBezTo>
                    <a:cubicBezTo>
                      <a:pt x="35384" y="104944"/>
                      <a:pt x="56571" y="114766"/>
                      <a:pt x="62919" y="109833"/>
                    </a:cubicBezTo>
                    <a:cubicBezTo>
                      <a:pt x="69267" y="104944"/>
                      <a:pt x="84106" y="100055"/>
                      <a:pt x="86165" y="117168"/>
                    </a:cubicBezTo>
                    <a:cubicBezTo>
                      <a:pt x="88267" y="134323"/>
                      <a:pt x="96759" y="134323"/>
                      <a:pt x="96759" y="146547"/>
                    </a:cubicBezTo>
                    <a:cubicBezTo>
                      <a:pt x="96759" y="158770"/>
                      <a:pt x="75571" y="151479"/>
                      <a:pt x="71368" y="163660"/>
                    </a:cubicBezTo>
                    <a:cubicBezTo>
                      <a:pt x="67122" y="175883"/>
                      <a:pt x="107309" y="190551"/>
                      <a:pt x="107309" y="200330"/>
                    </a:cubicBezTo>
                    <a:cubicBezTo>
                      <a:pt x="107309" y="210109"/>
                      <a:pt x="120004" y="222375"/>
                      <a:pt x="124250" y="234556"/>
                    </a:cubicBezTo>
                    <a:cubicBezTo>
                      <a:pt x="128496" y="246779"/>
                      <a:pt x="147540" y="261490"/>
                      <a:pt x="151743" y="276158"/>
                    </a:cubicBezTo>
                    <a:cubicBezTo>
                      <a:pt x="155989" y="290826"/>
                      <a:pt x="172930" y="298161"/>
                      <a:pt x="179278" y="305494"/>
                    </a:cubicBezTo>
                    <a:cubicBezTo>
                      <a:pt x="185625" y="312829"/>
                      <a:pt x="187727" y="329984"/>
                      <a:pt x="185625" y="344652"/>
                    </a:cubicBezTo>
                    <a:cubicBezTo>
                      <a:pt x="183524" y="359321"/>
                      <a:pt x="183481" y="386255"/>
                      <a:pt x="196219" y="408257"/>
                    </a:cubicBezTo>
                    <a:cubicBezTo>
                      <a:pt x="208914" y="430302"/>
                      <a:pt x="181422" y="440081"/>
                      <a:pt x="172973" y="452305"/>
                    </a:cubicBezTo>
                    <a:cubicBezTo>
                      <a:pt x="164524" y="464528"/>
                      <a:pt x="168727" y="481684"/>
                      <a:pt x="143337" y="474307"/>
                    </a:cubicBezTo>
                    <a:cubicBezTo>
                      <a:pt x="117946" y="466973"/>
                      <a:pt x="147583" y="498754"/>
                      <a:pt x="143337" y="508532"/>
                    </a:cubicBezTo>
                    <a:cubicBezTo>
                      <a:pt x="139091" y="518354"/>
                      <a:pt x="105251" y="498754"/>
                      <a:pt x="105251" y="508532"/>
                    </a:cubicBezTo>
                    <a:cubicBezTo>
                      <a:pt x="105251" y="514408"/>
                      <a:pt x="93799" y="522043"/>
                      <a:pt x="84663" y="527232"/>
                    </a:cubicBezTo>
                    <a:cubicBezTo>
                      <a:pt x="88309" y="532722"/>
                      <a:pt x="93456" y="535810"/>
                      <a:pt x="99460" y="540142"/>
                    </a:cubicBezTo>
                    <a:cubicBezTo>
                      <a:pt x="107395" y="545846"/>
                      <a:pt x="89639" y="555582"/>
                      <a:pt x="90110" y="573810"/>
                    </a:cubicBezTo>
                    <a:cubicBezTo>
                      <a:pt x="90153" y="575397"/>
                      <a:pt x="90368" y="576769"/>
                      <a:pt x="90583" y="578142"/>
                    </a:cubicBezTo>
                    <a:cubicBezTo>
                      <a:pt x="93799" y="575654"/>
                      <a:pt x="97401" y="573896"/>
                      <a:pt x="101133" y="572609"/>
                    </a:cubicBezTo>
                    <a:cubicBezTo>
                      <a:pt x="107395" y="568020"/>
                      <a:pt x="114643" y="565661"/>
                      <a:pt x="122449" y="565275"/>
                    </a:cubicBezTo>
                    <a:cubicBezTo>
                      <a:pt x="125109" y="565146"/>
                      <a:pt x="127724" y="565490"/>
                      <a:pt x="130255" y="566090"/>
                    </a:cubicBezTo>
                    <a:cubicBezTo>
                      <a:pt x="131627" y="558670"/>
                      <a:pt x="135531" y="551250"/>
                      <a:pt x="140377" y="546232"/>
                    </a:cubicBezTo>
                    <a:cubicBezTo>
                      <a:pt x="143507" y="543015"/>
                      <a:pt x="147196" y="540571"/>
                      <a:pt x="151185" y="538812"/>
                    </a:cubicBezTo>
                    <a:cubicBezTo>
                      <a:pt x="151829" y="534824"/>
                      <a:pt x="152214" y="530277"/>
                      <a:pt x="153759" y="526975"/>
                    </a:cubicBezTo>
                    <a:cubicBezTo>
                      <a:pt x="157233" y="519555"/>
                      <a:pt x="162637" y="522386"/>
                      <a:pt x="174474" y="522986"/>
                    </a:cubicBezTo>
                    <a:cubicBezTo>
                      <a:pt x="182280" y="523372"/>
                      <a:pt x="192187" y="517754"/>
                      <a:pt x="202824" y="510334"/>
                    </a:cubicBezTo>
                    <a:cubicBezTo>
                      <a:pt x="202738" y="509476"/>
                      <a:pt x="202566" y="508618"/>
                      <a:pt x="202523" y="507761"/>
                    </a:cubicBezTo>
                    <a:cubicBezTo>
                      <a:pt x="202138" y="498411"/>
                      <a:pt x="206898" y="487731"/>
                      <a:pt x="213203" y="481212"/>
                    </a:cubicBezTo>
                    <a:cubicBezTo>
                      <a:pt x="219808" y="474393"/>
                      <a:pt x="229630" y="470232"/>
                      <a:pt x="238979" y="470232"/>
                    </a:cubicBezTo>
                    <a:lnTo>
                      <a:pt x="239451" y="470232"/>
                    </a:lnTo>
                    <a:cubicBezTo>
                      <a:pt x="233318" y="461354"/>
                      <a:pt x="231002" y="449560"/>
                      <a:pt x="233061" y="43789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96" name="Freeform: Shape 138">
                <a:extLst>
                  <a:ext uri="{FF2B5EF4-FFF2-40B4-BE49-F238E27FC236}">
                    <a16:creationId xmlns:a16="http://schemas.microsoft.com/office/drawing/2014/main" id="{1130B82F-6580-6A3D-727B-DF1012211D47}"/>
                  </a:ext>
                </a:extLst>
              </p:cNvPr>
              <p:cNvSpPr/>
              <p:nvPr/>
            </p:nvSpPr>
            <p:spPr>
              <a:xfrm>
                <a:off x="9579400" y="4006755"/>
                <a:ext cx="150896" cy="134494"/>
              </a:xfrm>
              <a:custGeom>
                <a:avLst/>
                <a:gdLst>
                  <a:gd name="connsiteX0" fmla="*/ 189678 w 197290"/>
                  <a:gd name="connsiteY0" fmla="*/ 54469 h 175846"/>
                  <a:gd name="connsiteX1" fmla="*/ 178098 w 197290"/>
                  <a:gd name="connsiteY1" fmla="*/ 6433 h 175846"/>
                  <a:gd name="connsiteX2" fmla="*/ 154381 w 197290"/>
                  <a:gd name="connsiteY2" fmla="*/ 11880 h 175846"/>
                  <a:gd name="connsiteX3" fmla="*/ 131563 w 197290"/>
                  <a:gd name="connsiteY3" fmla="*/ 20115 h 175846"/>
                  <a:gd name="connsiteX4" fmla="*/ 121571 w 197290"/>
                  <a:gd name="connsiteY4" fmla="*/ 30023 h 175846"/>
                  <a:gd name="connsiteX5" fmla="*/ 103042 w 197290"/>
                  <a:gd name="connsiteY5" fmla="*/ 15183 h 175846"/>
                  <a:gd name="connsiteX6" fmla="*/ 57408 w 197290"/>
                  <a:gd name="connsiteY6" fmla="*/ 13553 h 175846"/>
                  <a:gd name="connsiteX7" fmla="*/ 11817 w 197290"/>
                  <a:gd name="connsiteY7" fmla="*/ 39930 h 175846"/>
                  <a:gd name="connsiteX8" fmla="*/ 13189 w 197290"/>
                  <a:gd name="connsiteY8" fmla="*/ 74542 h 175846"/>
                  <a:gd name="connsiteX9" fmla="*/ 17478 w 197290"/>
                  <a:gd name="connsiteY9" fmla="*/ 104221 h 175846"/>
                  <a:gd name="connsiteX10" fmla="*/ 17135 w 197290"/>
                  <a:gd name="connsiteY10" fmla="*/ 105422 h 175846"/>
                  <a:gd name="connsiteX11" fmla="*/ 26013 w 197290"/>
                  <a:gd name="connsiteY11" fmla="*/ 137889 h 175846"/>
                  <a:gd name="connsiteX12" fmla="*/ 33004 w 197290"/>
                  <a:gd name="connsiteY12" fmla="*/ 146424 h 175846"/>
                  <a:gd name="connsiteX13" fmla="*/ 46900 w 197290"/>
                  <a:gd name="connsiteY13" fmla="*/ 144194 h 175846"/>
                  <a:gd name="connsiteX14" fmla="*/ 47758 w 197290"/>
                  <a:gd name="connsiteY14" fmla="*/ 163751 h 175846"/>
                  <a:gd name="connsiteX15" fmla="*/ 49774 w 197290"/>
                  <a:gd name="connsiteY15" fmla="*/ 166110 h 175846"/>
                  <a:gd name="connsiteX16" fmla="*/ 75035 w 197290"/>
                  <a:gd name="connsiteY16" fmla="*/ 167654 h 175846"/>
                  <a:gd name="connsiteX17" fmla="*/ 78037 w 197290"/>
                  <a:gd name="connsiteY17" fmla="*/ 173573 h 175846"/>
                  <a:gd name="connsiteX18" fmla="*/ 98624 w 197290"/>
                  <a:gd name="connsiteY18" fmla="*/ 154873 h 175846"/>
                  <a:gd name="connsiteX19" fmla="*/ 136711 w 197290"/>
                  <a:gd name="connsiteY19" fmla="*/ 154873 h 175846"/>
                  <a:gd name="connsiteX20" fmla="*/ 136711 w 197290"/>
                  <a:gd name="connsiteY20" fmla="*/ 120648 h 175846"/>
                  <a:gd name="connsiteX21" fmla="*/ 166347 w 197290"/>
                  <a:gd name="connsiteY21" fmla="*/ 98645 h 175846"/>
                  <a:gd name="connsiteX22" fmla="*/ 189678 w 197290"/>
                  <a:gd name="connsiteY22" fmla="*/ 54469 h 17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7290" h="175846">
                    <a:moveTo>
                      <a:pt x="189678" y="54469"/>
                    </a:moveTo>
                    <a:cubicBezTo>
                      <a:pt x="180672" y="38858"/>
                      <a:pt x="178098" y="20844"/>
                      <a:pt x="178098" y="6433"/>
                    </a:cubicBezTo>
                    <a:cubicBezTo>
                      <a:pt x="169907" y="13896"/>
                      <a:pt x="159999" y="14454"/>
                      <a:pt x="154381" y="11880"/>
                    </a:cubicBezTo>
                    <a:cubicBezTo>
                      <a:pt x="147261" y="8578"/>
                      <a:pt x="131563" y="6948"/>
                      <a:pt x="131563" y="20115"/>
                    </a:cubicBezTo>
                    <a:cubicBezTo>
                      <a:pt x="131563" y="33282"/>
                      <a:pt x="120155" y="36584"/>
                      <a:pt x="121571" y="30023"/>
                    </a:cubicBezTo>
                    <a:cubicBezTo>
                      <a:pt x="122985" y="23418"/>
                      <a:pt x="110204" y="25047"/>
                      <a:pt x="103042" y="15183"/>
                    </a:cubicBezTo>
                    <a:cubicBezTo>
                      <a:pt x="95923" y="5275"/>
                      <a:pt x="70275" y="18485"/>
                      <a:pt x="57408" y="13553"/>
                    </a:cubicBezTo>
                    <a:cubicBezTo>
                      <a:pt x="44585" y="8578"/>
                      <a:pt x="24640" y="21745"/>
                      <a:pt x="11817" y="39930"/>
                    </a:cubicBezTo>
                    <a:cubicBezTo>
                      <a:pt x="-1050" y="58072"/>
                      <a:pt x="13189" y="58072"/>
                      <a:pt x="13189" y="74542"/>
                    </a:cubicBezTo>
                    <a:cubicBezTo>
                      <a:pt x="13189" y="91054"/>
                      <a:pt x="21767" y="91054"/>
                      <a:pt x="17478" y="104221"/>
                    </a:cubicBezTo>
                    <a:cubicBezTo>
                      <a:pt x="17349" y="104564"/>
                      <a:pt x="17264" y="105036"/>
                      <a:pt x="17135" y="105422"/>
                    </a:cubicBezTo>
                    <a:cubicBezTo>
                      <a:pt x="28843" y="111383"/>
                      <a:pt x="25412" y="127424"/>
                      <a:pt x="26013" y="137889"/>
                    </a:cubicBezTo>
                    <a:cubicBezTo>
                      <a:pt x="28329" y="140720"/>
                      <a:pt x="30646" y="143593"/>
                      <a:pt x="33004" y="146424"/>
                    </a:cubicBezTo>
                    <a:cubicBezTo>
                      <a:pt x="37421" y="146553"/>
                      <a:pt x="42997" y="144494"/>
                      <a:pt x="46900" y="144194"/>
                    </a:cubicBezTo>
                    <a:cubicBezTo>
                      <a:pt x="53548" y="143636"/>
                      <a:pt x="43384" y="155688"/>
                      <a:pt x="47758" y="163751"/>
                    </a:cubicBezTo>
                    <a:cubicBezTo>
                      <a:pt x="48444" y="164523"/>
                      <a:pt x="49130" y="165338"/>
                      <a:pt x="49774" y="166110"/>
                    </a:cubicBezTo>
                    <a:cubicBezTo>
                      <a:pt x="56679" y="170785"/>
                      <a:pt x="71819" y="158605"/>
                      <a:pt x="75035" y="167654"/>
                    </a:cubicBezTo>
                    <a:cubicBezTo>
                      <a:pt x="75850" y="169927"/>
                      <a:pt x="76879" y="171857"/>
                      <a:pt x="78037" y="173573"/>
                    </a:cubicBezTo>
                    <a:cubicBezTo>
                      <a:pt x="87173" y="168426"/>
                      <a:pt x="98624" y="160792"/>
                      <a:pt x="98624" y="154873"/>
                    </a:cubicBezTo>
                    <a:cubicBezTo>
                      <a:pt x="98624" y="145095"/>
                      <a:pt x="132465" y="164695"/>
                      <a:pt x="136711" y="154873"/>
                    </a:cubicBezTo>
                    <a:cubicBezTo>
                      <a:pt x="140957" y="145095"/>
                      <a:pt x="111320" y="113271"/>
                      <a:pt x="136711" y="120648"/>
                    </a:cubicBezTo>
                    <a:cubicBezTo>
                      <a:pt x="162101" y="127982"/>
                      <a:pt x="157898" y="110869"/>
                      <a:pt x="166347" y="98645"/>
                    </a:cubicBezTo>
                    <a:cubicBezTo>
                      <a:pt x="174839" y="86250"/>
                      <a:pt x="202373" y="76515"/>
                      <a:pt x="189678" y="54469"/>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97" name="Freeform: Shape 139">
                <a:extLst>
                  <a:ext uri="{FF2B5EF4-FFF2-40B4-BE49-F238E27FC236}">
                    <a16:creationId xmlns:a16="http://schemas.microsoft.com/office/drawing/2014/main" id="{65B7A1F2-3EEB-4DD5-5D25-0C18048C9B2C}"/>
                  </a:ext>
                </a:extLst>
              </p:cNvPr>
              <p:cNvSpPr/>
              <p:nvPr/>
            </p:nvSpPr>
            <p:spPr>
              <a:xfrm>
                <a:off x="9524078" y="3764076"/>
                <a:ext cx="196820" cy="272268"/>
              </a:xfrm>
              <a:custGeom>
                <a:avLst/>
                <a:gdLst>
                  <a:gd name="connsiteX0" fmla="*/ 173144 w 257335"/>
                  <a:gd name="connsiteY0" fmla="*/ 163794 h 355981"/>
                  <a:gd name="connsiteX1" fmla="*/ 137203 w 257335"/>
                  <a:gd name="connsiteY1" fmla="*/ 127124 h 355981"/>
                  <a:gd name="connsiteX2" fmla="*/ 162593 w 257335"/>
                  <a:gd name="connsiteY2" fmla="*/ 110011 h 355981"/>
                  <a:gd name="connsiteX3" fmla="*/ 151999 w 257335"/>
                  <a:gd name="connsiteY3" fmla="*/ 80632 h 355981"/>
                  <a:gd name="connsiteX4" fmla="*/ 128753 w 257335"/>
                  <a:gd name="connsiteY4" fmla="*/ 73298 h 355981"/>
                  <a:gd name="connsiteX5" fmla="*/ 101218 w 257335"/>
                  <a:gd name="connsiteY5" fmla="*/ 56185 h 355981"/>
                  <a:gd name="connsiteX6" fmla="*/ 84320 w 257335"/>
                  <a:gd name="connsiteY6" fmla="*/ 26806 h 355981"/>
                  <a:gd name="connsiteX7" fmla="*/ 72268 w 257335"/>
                  <a:gd name="connsiteY7" fmla="*/ 6433 h 355981"/>
                  <a:gd name="connsiteX8" fmla="*/ 58973 w 257335"/>
                  <a:gd name="connsiteY8" fmla="*/ 7377 h 355981"/>
                  <a:gd name="connsiteX9" fmla="*/ 53696 w 257335"/>
                  <a:gd name="connsiteY9" fmla="*/ 27192 h 355981"/>
                  <a:gd name="connsiteX10" fmla="*/ 52368 w 257335"/>
                  <a:gd name="connsiteY10" fmla="*/ 57729 h 355981"/>
                  <a:gd name="connsiteX11" fmla="*/ 35212 w 257335"/>
                  <a:gd name="connsiteY11" fmla="*/ 39415 h 355981"/>
                  <a:gd name="connsiteX12" fmla="*/ 18099 w 257335"/>
                  <a:gd name="connsiteY12" fmla="*/ 71453 h 355981"/>
                  <a:gd name="connsiteX13" fmla="*/ 6433 w 257335"/>
                  <a:gd name="connsiteY13" fmla="*/ 82648 h 355981"/>
                  <a:gd name="connsiteX14" fmla="*/ 12952 w 257335"/>
                  <a:gd name="connsiteY14" fmla="*/ 90153 h 355981"/>
                  <a:gd name="connsiteX15" fmla="*/ 15826 w 257335"/>
                  <a:gd name="connsiteY15" fmla="*/ 119833 h 355981"/>
                  <a:gd name="connsiteX16" fmla="*/ 38643 w 257335"/>
                  <a:gd name="connsiteY16" fmla="*/ 129740 h 355981"/>
                  <a:gd name="connsiteX17" fmla="*/ 35812 w 257335"/>
                  <a:gd name="connsiteY17" fmla="*/ 170914 h 355981"/>
                  <a:gd name="connsiteX18" fmla="*/ 27277 w 257335"/>
                  <a:gd name="connsiteY18" fmla="*/ 200636 h 355981"/>
                  <a:gd name="connsiteX19" fmla="*/ 57171 w 257335"/>
                  <a:gd name="connsiteY19" fmla="*/ 187426 h 355981"/>
                  <a:gd name="connsiteX20" fmla="*/ 81404 w 257335"/>
                  <a:gd name="connsiteY20" fmla="*/ 185797 h 355981"/>
                  <a:gd name="connsiteX21" fmla="*/ 102806 w 257335"/>
                  <a:gd name="connsiteY21" fmla="*/ 179148 h 355981"/>
                  <a:gd name="connsiteX22" fmla="*/ 134157 w 257335"/>
                  <a:gd name="connsiteY22" fmla="*/ 177519 h 355981"/>
                  <a:gd name="connsiteX23" fmla="*/ 158390 w 257335"/>
                  <a:gd name="connsiteY23" fmla="*/ 205568 h 355981"/>
                  <a:gd name="connsiteX24" fmla="*/ 161263 w 257335"/>
                  <a:gd name="connsiteY24" fmla="*/ 251717 h 355981"/>
                  <a:gd name="connsiteX25" fmla="*/ 184081 w 257335"/>
                  <a:gd name="connsiteY25" fmla="*/ 292934 h 355981"/>
                  <a:gd name="connsiteX26" fmla="*/ 179749 w 257335"/>
                  <a:gd name="connsiteY26" fmla="*/ 336724 h 355981"/>
                  <a:gd name="connsiteX27" fmla="*/ 194031 w 257335"/>
                  <a:gd name="connsiteY27" fmla="*/ 347360 h 355981"/>
                  <a:gd name="connsiteX28" fmla="*/ 204024 w 257335"/>
                  <a:gd name="connsiteY28" fmla="*/ 337453 h 355981"/>
                  <a:gd name="connsiteX29" fmla="*/ 226841 w 257335"/>
                  <a:gd name="connsiteY29" fmla="*/ 329218 h 355981"/>
                  <a:gd name="connsiteX30" fmla="*/ 250559 w 257335"/>
                  <a:gd name="connsiteY30" fmla="*/ 323771 h 355981"/>
                  <a:gd name="connsiteX31" fmla="*/ 251545 w 257335"/>
                  <a:gd name="connsiteY31" fmla="*/ 308203 h 355981"/>
                  <a:gd name="connsiteX32" fmla="*/ 245198 w 257335"/>
                  <a:gd name="connsiteY32" fmla="*/ 269045 h 355981"/>
                  <a:gd name="connsiteX33" fmla="*/ 217663 w 257335"/>
                  <a:gd name="connsiteY33" fmla="*/ 239708 h 355981"/>
                  <a:gd name="connsiteX34" fmla="*/ 190171 w 257335"/>
                  <a:gd name="connsiteY34" fmla="*/ 198106 h 355981"/>
                  <a:gd name="connsiteX35" fmla="*/ 173144 w 257335"/>
                  <a:gd name="connsiteY35" fmla="*/ 163794 h 35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57335" h="355981">
                    <a:moveTo>
                      <a:pt x="173144" y="163794"/>
                    </a:moveTo>
                    <a:cubicBezTo>
                      <a:pt x="173144" y="154015"/>
                      <a:pt x="132957" y="139347"/>
                      <a:pt x="137203" y="127124"/>
                    </a:cubicBezTo>
                    <a:cubicBezTo>
                      <a:pt x="141449" y="114900"/>
                      <a:pt x="162593" y="122235"/>
                      <a:pt x="162593" y="110011"/>
                    </a:cubicBezTo>
                    <a:cubicBezTo>
                      <a:pt x="162593" y="97788"/>
                      <a:pt x="154101" y="97788"/>
                      <a:pt x="151999" y="80632"/>
                    </a:cubicBezTo>
                    <a:cubicBezTo>
                      <a:pt x="149898" y="63476"/>
                      <a:pt x="135101" y="68408"/>
                      <a:pt x="128753" y="73298"/>
                    </a:cubicBezTo>
                    <a:cubicBezTo>
                      <a:pt x="122405" y="78230"/>
                      <a:pt x="101218" y="68408"/>
                      <a:pt x="101218" y="56185"/>
                    </a:cubicBezTo>
                    <a:cubicBezTo>
                      <a:pt x="101218" y="43962"/>
                      <a:pt x="84320" y="36627"/>
                      <a:pt x="84320" y="26806"/>
                    </a:cubicBezTo>
                    <a:cubicBezTo>
                      <a:pt x="84320" y="21187"/>
                      <a:pt x="78058" y="13896"/>
                      <a:pt x="72268" y="6433"/>
                    </a:cubicBezTo>
                    <a:cubicBezTo>
                      <a:pt x="66907" y="9564"/>
                      <a:pt x="61417" y="10250"/>
                      <a:pt x="58973" y="7377"/>
                    </a:cubicBezTo>
                    <a:cubicBezTo>
                      <a:pt x="55026" y="2788"/>
                      <a:pt x="49751" y="22602"/>
                      <a:pt x="53696" y="27192"/>
                    </a:cubicBezTo>
                    <a:cubicBezTo>
                      <a:pt x="57643" y="31781"/>
                      <a:pt x="62918" y="60774"/>
                      <a:pt x="52368" y="57729"/>
                    </a:cubicBezTo>
                    <a:cubicBezTo>
                      <a:pt x="41817" y="54684"/>
                      <a:pt x="41817" y="37914"/>
                      <a:pt x="35212" y="39415"/>
                    </a:cubicBezTo>
                    <a:cubicBezTo>
                      <a:pt x="35212" y="39415"/>
                      <a:pt x="18099" y="62318"/>
                      <a:pt x="18099" y="71453"/>
                    </a:cubicBezTo>
                    <a:cubicBezTo>
                      <a:pt x="18099" y="77630"/>
                      <a:pt x="11537" y="79645"/>
                      <a:pt x="6433" y="82648"/>
                    </a:cubicBezTo>
                    <a:cubicBezTo>
                      <a:pt x="9478" y="85779"/>
                      <a:pt x="12094" y="88609"/>
                      <a:pt x="12952" y="90153"/>
                    </a:cubicBezTo>
                    <a:cubicBezTo>
                      <a:pt x="15826" y="95086"/>
                      <a:pt x="11537" y="108296"/>
                      <a:pt x="15826" y="119833"/>
                    </a:cubicBezTo>
                    <a:cubicBezTo>
                      <a:pt x="20115" y="131370"/>
                      <a:pt x="34354" y="113228"/>
                      <a:pt x="38643" y="129740"/>
                    </a:cubicBezTo>
                    <a:cubicBezTo>
                      <a:pt x="42932" y="146167"/>
                      <a:pt x="35812" y="154444"/>
                      <a:pt x="35812" y="170914"/>
                    </a:cubicBezTo>
                    <a:cubicBezTo>
                      <a:pt x="35812" y="187426"/>
                      <a:pt x="24404" y="185797"/>
                      <a:pt x="27277" y="200636"/>
                    </a:cubicBezTo>
                    <a:cubicBezTo>
                      <a:pt x="30107" y="215476"/>
                      <a:pt x="45805" y="197333"/>
                      <a:pt x="57171" y="187426"/>
                    </a:cubicBezTo>
                    <a:cubicBezTo>
                      <a:pt x="68580" y="177519"/>
                      <a:pt x="77158" y="179148"/>
                      <a:pt x="81404" y="185797"/>
                    </a:cubicBezTo>
                    <a:cubicBezTo>
                      <a:pt x="85693" y="192358"/>
                      <a:pt x="99931" y="187426"/>
                      <a:pt x="102806" y="179148"/>
                    </a:cubicBezTo>
                    <a:cubicBezTo>
                      <a:pt x="105679" y="170957"/>
                      <a:pt x="127038" y="167611"/>
                      <a:pt x="134157" y="177519"/>
                    </a:cubicBezTo>
                    <a:cubicBezTo>
                      <a:pt x="141320" y="187383"/>
                      <a:pt x="148396" y="198921"/>
                      <a:pt x="158390" y="205568"/>
                    </a:cubicBezTo>
                    <a:cubicBezTo>
                      <a:pt x="168383" y="212130"/>
                      <a:pt x="151270" y="248415"/>
                      <a:pt x="161263" y="251717"/>
                    </a:cubicBezTo>
                    <a:cubicBezTo>
                      <a:pt x="171257" y="254977"/>
                      <a:pt x="185496" y="273162"/>
                      <a:pt x="184081" y="292934"/>
                    </a:cubicBezTo>
                    <a:cubicBezTo>
                      <a:pt x="182837" y="309918"/>
                      <a:pt x="191071" y="322099"/>
                      <a:pt x="179749" y="336724"/>
                    </a:cubicBezTo>
                    <a:cubicBezTo>
                      <a:pt x="186782" y="341999"/>
                      <a:pt x="195189" y="341956"/>
                      <a:pt x="194031" y="347360"/>
                    </a:cubicBezTo>
                    <a:cubicBezTo>
                      <a:pt x="192616" y="353965"/>
                      <a:pt x="204024" y="350620"/>
                      <a:pt x="204024" y="337453"/>
                    </a:cubicBezTo>
                    <a:cubicBezTo>
                      <a:pt x="204024" y="324243"/>
                      <a:pt x="219679" y="325916"/>
                      <a:pt x="226841" y="329218"/>
                    </a:cubicBezTo>
                    <a:cubicBezTo>
                      <a:pt x="232417" y="331792"/>
                      <a:pt x="242368" y="331234"/>
                      <a:pt x="250559" y="323771"/>
                    </a:cubicBezTo>
                    <a:cubicBezTo>
                      <a:pt x="250559" y="317853"/>
                      <a:pt x="250902" y="312491"/>
                      <a:pt x="251545" y="308203"/>
                    </a:cubicBezTo>
                    <a:cubicBezTo>
                      <a:pt x="253647" y="293534"/>
                      <a:pt x="251545" y="276379"/>
                      <a:pt x="245198" y="269045"/>
                    </a:cubicBezTo>
                    <a:cubicBezTo>
                      <a:pt x="238850" y="261710"/>
                      <a:pt x="221909" y="254376"/>
                      <a:pt x="217663" y="239708"/>
                    </a:cubicBezTo>
                    <a:cubicBezTo>
                      <a:pt x="213459" y="225040"/>
                      <a:pt x="194417" y="210329"/>
                      <a:pt x="190171" y="198106"/>
                    </a:cubicBezTo>
                    <a:cubicBezTo>
                      <a:pt x="185839" y="185839"/>
                      <a:pt x="173144" y="173573"/>
                      <a:pt x="173144" y="16379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98" name="Freeform: Shape 140">
                <a:extLst>
                  <a:ext uri="{FF2B5EF4-FFF2-40B4-BE49-F238E27FC236}">
                    <a16:creationId xmlns:a16="http://schemas.microsoft.com/office/drawing/2014/main" id="{D6F4BBD6-A431-FB0F-9C40-324FF058FCBF}"/>
                  </a:ext>
                </a:extLst>
              </p:cNvPr>
              <p:cNvSpPr/>
              <p:nvPr/>
            </p:nvSpPr>
            <p:spPr>
              <a:xfrm>
                <a:off x="9458307" y="3822334"/>
                <a:ext cx="209942" cy="455967"/>
              </a:xfrm>
              <a:custGeom>
                <a:avLst/>
                <a:gdLst>
                  <a:gd name="connsiteX0" fmla="*/ 269988 w 274491"/>
                  <a:gd name="connsiteY0" fmla="*/ 216720 h 596161"/>
                  <a:gd name="connsiteX1" fmla="*/ 247171 w 274491"/>
                  <a:gd name="connsiteY1" fmla="*/ 175503 h 596161"/>
                  <a:gd name="connsiteX2" fmla="*/ 244297 w 274491"/>
                  <a:gd name="connsiteY2" fmla="*/ 129354 h 596161"/>
                  <a:gd name="connsiteX3" fmla="*/ 220065 w 274491"/>
                  <a:gd name="connsiteY3" fmla="*/ 101305 h 596161"/>
                  <a:gd name="connsiteX4" fmla="*/ 188713 w 274491"/>
                  <a:gd name="connsiteY4" fmla="*/ 102934 h 596161"/>
                  <a:gd name="connsiteX5" fmla="*/ 167311 w 274491"/>
                  <a:gd name="connsiteY5" fmla="*/ 109582 h 596161"/>
                  <a:gd name="connsiteX6" fmla="*/ 143078 w 274491"/>
                  <a:gd name="connsiteY6" fmla="*/ 111212 h 596161"/>
                  <a:gd name="connsiteX7" fmla="*/ 113184 w 274491"/>
                  <a:gd name="connsiteY7" fmla="*/ 124422 h 596161"/>
                  <a:gd name="connsiteX8" fmla="*/ 121719 w 274491"/>
                  <a:gd name="connsiteY8" fmla="*/ 94700 h 596161"/>
                  <a:gd name="connsiteX9" fmla="*/ 124551 w 274491"/>
                  <a:gd name="connsiteY9" fmla="*/ 53526 h 596161"/>
                  <a:gd name="connsiteX10" fmla="*/ 101733 w 274491"/>
                  <a:gd name="connsiteY10" fmla="*/ 43619 h 596161"/>
                  <a:gd name="connsiteX11" fmla="*/ 98860 w 274491"/>
                  <a:gd name="connsiteY11" fmla="*/ 13939 h 596161"/>
                  <a:gd name="connsiteX12" fmla="*/ 92341 w 274491"/>
                  <a:gd name="connsiteY12" fmla="*/ 6433 h 596161"/>
                  <a:gd name="connsiteX13" fmla="*/ 86851 w 274491"/>
                  <a:gd name="connsiteY13" fmla="*/ 12009 h 596161"/>
                  <a:gd name="connsiteX14" fmla="*/ 56528 w 274491"/>
                  <a:gd name="connsiteY14" fmla="*/ 31824 h 596161"/>
                  <a:gd name="connsiteX15" fmla="*/ 31480 w 274491"/>
                  <a:gd name="connsiteY15" fmla="*/ 40959 h 596161"/>
                  <a:gd name="connsiteX16" fmla="*/ 13039 w 274491"/>
                  <a:gd name="connsiteY16" fmla="*/ 53183 h 596161"/>
                  <a:gd name="connsiteX17" fmla="*/ 6433 w 274491"/>
                  <a:gd name="connsiteY17" fmla="*/ 114172 h 596161"/>
                  <a:gd name="connsiteX18" fmla="*/ 31480 w 274491"/>
                  <a:gd name="connsiteY18" fmla="*/ 149212 h 596161"/>
                  <a:gd name="connsiteX19" fmla="*/ 38042 w 274491"/>
                  <a:gd name="connsiteY19" fmla="*/ 175160 h 596161"/>
                  <a:gd name="connsiteX20" fmla="*/ 36755 w 274491"/>
                  <a:gd name="connsiteY20" fmla="*/ 193431 h 596161"/>
                  <a:gd name="connsiteX21" fmla="*/ 31480 w 274491"/>
                  <a:gd name="connsiteY21" fmla="*/ 220880 h 596161"/>
                  <a:gd name="connsiteX22" fmla="*/ 43361 w 274491"/>
                  <a:gd name="connsiteY22" fmla="*/ 262097 h 596161"/>
                  <a:gd name="connsiteX23" fmla="*/ 56528 w 274491"/>
                  <a:gd name="connsiteY23" fmla="*/ 309361 h 596161"/>
                  <a:gd name="connsiteX24" fmla="*/ 67078 w 274491"/>
                  <a:gd name="connsiteY24" fmla="*/ 338311 h 596161"/>
                  <a:gd name="connsiteX25" fmla="*/ 38429 w 274491"/>
                  <a:gd name="connsiteY25" fmla="*/ 401959 h 596161"/>
                  <a:gd name="connsiteX26" fmla="*/ 29036 w 274491"/>
                  <a:gd name="connsiteY26" fmla="*/ 458830 h 596161"/>
                  <a:gd name="connsiteX27" fmla="*/ 31009 w 274491"/>
                  <a:gd name="connsiteY27" fmla="*/ 493099 h 596161"/>
                  <a:gd name="connsiteX28" fmla="*/ 74927 w 274491"/>
                  <a:gd name="connsiteY28" fmla="*/ 542764 h 596161"/>
                  <a:gd name="connsiteX29" fmla="*/ 84921 w 274491"/>
                  <a:gd name="connsiteY29" fmla="*/ 561893 h 596161"/>
                  <a:gd name="connsiteX30" fmla="*/ 104306 w 274491"/>
                  <a:gd name="connsiteY30" fmla="*/ 563394 h 596161"/>
                  <a:gd name="connsiteX31" fmla="*/ 120690 w 274491"/>
                  <a:gd name="connsiteY31" fmla="*/ 586168 h 596161"/>
                  <a:gd name="connsiteX32" fmla="*/ 147025 w 274491"/>
                  <a:gd name="connsiteY32" fmla="*/ 589943 h 596161"/>
                  <a:gd name="connsiteX33" fmla="*/ 157318 w 274491"/>
                  <a:gd name="connsiteY33" fmla="*/ 574374 h 596161"/>
                  <a:gd name="connsiteX34" fmla="*/ 118889 w 274491"/>
                  <a:gd name="connsiteY34" fmla="*/ 548468 h 596161"/>
                  <a:gd name="connsiteX35" fmla="*/ 95686 w 274491"/>
                  <a:gd name="connsiteY35" fmla="*/ 504507 h 596161"/>
                  <a:gd name="connsiteX36" fmla="*/ 83334 w 274491"/>
                  <a:gd name="connsiteY36" fmla="*/ 468523 h 596161"/>
                  <a:gd name="connsiteX37" fmla="*/ 62104 w 274491"/>
                  <a:gd name="connsiteY37" fmla="*/ 450252 h 596161"/>
                  <a:gd name="connsiteX38" fmla="*/ 66049 w 274491"/>
                  <a:gd name="connsiteY38" fmla="*/ 388577 h 596161"/>
                  <a:gd name="connsiteX39" fmla="*/ 78615 w 274491"/>
                  <a:gd name="connsiteY39" fmla="*/ 347618 h 596161"/>
                  <a:gd name="connsiteX40" fmla="*/ 85435 w 274491"/>
                  <a:gd name="connsiteY40" fmla="*/ 319054 h 596161"/>
                  <a:gd name="connsiteX41" fmla="*/ 84320 w 274491"/>
                  <a:gd name="connsiteY41" fmla="*/ 309790 h 596161"/>
                  <a:gd name="connsiteX42" fmla="*/ 112456 w 274491"/>
                  <a:gd name="connsiteY42" fmla="*/ 300054 h 596161"/>
                  <a:gd name="connsiteX43" fmla="*/ 113056 w 274491"/>
                  <a:gd name="connsiteY43" fmla="*/ 302541 h 596161"/>
                  <a:gd name="connsiteX44" fmla="*/ 145394 w 274491"/>
                  <a:gd name="connsiteY44" fmla="*/ 321112 h 596161"/>
                  <a:gd name="connsiteX45" fmla="*/ 147496 w 274491"/>
                  <a:gd name="connsiteY45" fmla="*/ 324887 h 596161"/>
                  <a:gd name="connsiteX46" fmla="*/ 173229 w 274491"/>
                  <a:gd name="connsiteY46" fmla="*/ 345216 h 596161"/>
                  <a:gd name="connsiteX47" fmla="*/ 175546 w 274491"/>
                  <a:gd name="connsiteY47" fmla="*/ 346417 h 596161"/>
                  <a:gd name="connsiteX48" fmla="*/ 175889 w 274491"/>
                  <a:gd name="connsiteY48" fmla="*/ 345216 h 596161"/>
                  <a:gd name="connsiteX49" fmla="*/ 171600 w 274491"/>
                  <a:gd name="connsiteY49" fmla="*/ 315537 h 596161"/>
                  <a:gd name="connsiteX50" fmla="*/ 170227 w 274491"/>
                  <a:gd name="connsiteY50" fmla="*/ 280925 h 596161"/>
                  <a:gd name="connsiteX51" fmla="*/ 215818 w 274491"/>
                  <a:gd name="connsiteY51" fmla="*/ 254548 h 596161"/>
                  <a:gd name="connsiteX52" fmla="*/ 261453 w 274491"/>
                  <a:gd name="connsiteY52" fmla="*/ 256178 h 596161"/>
                  <a:gd name="connsiteX53" fmla="*/ 265699 w 274491"/>
                  <a:gd name="connsiteY53" fmla="*/ 260381 h 596161"/>
                  <a:gd name="connsiteX54" fmla="*/ 269988 w 274491"/>
                  <a:gd name="connsiteY54" fmla="*/ 216720 h 596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74491" h="596161">
                    <a:moveTo>
                      <a:pt x="269988" y="216720"/>
                    </a:moveTo>
                    <a:cubicBezTo>
                      <a:pt x="271404" y="196948"/>
                      <a:pt x="257121" y="178806"/>
                      <a:pt x="247171" y="175503"/>
                    </a:cubicBezTo>
                    <a:cubicBezTo>
                      <a:pt x="237178" y="172201"/>
                      <a:pt x="254291" y="135916"/>
                      <a:pt x="244297" y="129354"/>
                    </a:cubicBezTo>
                    <a:cubicBezTo>
                      <a:pt x="234304" y="122749"/>
                      <a:pt x="227227" y="111212"/>
                      <a:pt x="220065" y="101305"/>
                    </a:cubicBezTo>
                    <a:cubicBezTo>
                      <a:pt x="212945" y="91397"/>
                      <a:pt x="191586" y="94700"/>
                      <a:pt x="188713" y="102934"/>
                    </a:cubicBezTo>
                    <a:cubicBezTo>
                      <a:pt x="185882" y="111212"/>
                      <a:pt x="171600" y="116144"/>
                      <a:pt x="167311" y="109582"/>
                    </a:cubicBezTo>
                    <a:cubicBezTo>
                      <a:pt x="163065" y="102934"/>
                      <a:pt x="154487" y="101305"/>
                      <a:pt x="143078" y="111212"/>
                    </a:cubicBezTo>
                    <a:cubicBezTo>
                      <a:pt x="131713" y="121120"/>
                      <a:pt x="116016" y="139219"/>
                      <a:pt x="113184" y="124422"/>
                    </a:cubicBezTo>
                    <a:cubicBezTo>
                      <a:pt x="110311" y="109582"/>
                      <a:pt x="121719" y="111212"/>
                      <a:pt x="121719" y="94700"/>
                    </a:cubicBezTo>
                    <a:cubicBezTo>
                      <a:pt x="121719" y="78230"/>
                      <a:pt x="128840" y="69953"/>
                      <a:pt x="124551" y="53526"/>
                    </a:cubicBezTo>
                    <a:cubicBezTo>
                      <a:pt x="120262" y="37013"/>
                      <a:pt x="106022" y="55156"/>
                      <a:pt x="101733" y="43619"/>
                    </a:cubicBezTo>
                    <a:cubicBezTo>
                      <a:pt x="97487" y="32081"/>
                      <a:pt x="101776" y="18871"/>
                      <a:pt x="98860" y="13939"/>
                    </a:cubicBezTo>
                    <a:cubicBezTo>
                      <a:pt x="98001" y="12395"/>
                      <a:pt x="95386" y="9564"/>
                      <a:pt x="92341" y="6433"/>
                    </a:cubicBezTo>
                    <a:cubicBezTo>
                      <a:pt x="89896" y="7892"/>
                      <a:pt x="87708" y="9564"/>
                      <a:pt x="86851" y="12009"/>
                    </a:cubicBezTo>
                    <a:cubicBezTo>
                      <a:pt x="84191" y="19643"/>
                      <a:pt x="61803" y="21145"/>
                      <a:pt x="56528" y="31824"/>
                    </a:cubicBezTo>
                    <a:cubicBezTo>
                      <a:pt x="51253" y="42503"/>
                      <a:pt x="35427" y="40959"/>
                      <a:pt x="31480" y="40959"/>
                    </a:cubicBezTo>
                    <a:cubicBezTo>
                      <a:pt x="27492" y="40959"/>
                      <a:pt x="14324" y="42461"/>
                      <a:pt x="13039" y="53183"/>
                    </a:cubicBezTo>
                    <a:cubicBezTo>
                      <a:pt x="11752" y="63819"/>
                      <a:pt x="6433" y="106537"/>
                      <a:pt x="6433" y="114172"/>
                    </a:cubicBezTo>
                    <a:cubicBezTo>
                      <a:pt x="6433" y="121763"/>
                      <a:pt x="24876" y="146167"/>
                      <a:pt x="31480" y="149212"/>
                    </a:cubicBezTo>
                    <a:cubicBezTo>
                      <a:pt x="38042" y="152257"/>
                      <a:pt x="30151" y="170571"/>
                      <a:pt x="38042" y="175160"/>
                    </a:cubicBezTo>
                    <a:cubicBezTo>
                      <a:pt x="45977" y="179706"/>
                      <a:pt x="40702" y="194975"/>
                      <a:pt x="36755" y="193431"/>
                    </a:cubicBezTo>
                    <a:cubicBezTo>
                      <a:pt x="32810" y="191887"/>
                      <a:pt x="39415" y="213289"/>
                      <a:pt x="31480" y="220880"/>
                    </a:cubicBezTo>
                    <a:cubicBezTo>
                      <a:pt x="23546" y="228471"/>
                      <a:pt x="30151" y="248329"/>
                      <a:pt x="43361" y="262097"/>
                    </a:cubicBezTo>
                    <a:cubicBezTo>
                      <a:pt x="56528" y="275821"/>
                      <a:pt x="56528" y="297137"/>
                      <a:pt x="56528" y="309361"/>
                    </a:cubicBezTo>
                    <a:cubicBezTo>
                      <a:pt x="56528" y="321541"/>
                      <a:pt x="67078" y="323085"/>
                      <a:pt x="67078" y="338311"/>
                    </a:cubicBezTo>
                    <a:cubicBezTo>
                      <a:pt x="67078" y="338311"/>
                      <a:pt x="51295" y="404832"/>
                      <a:pt x="38429" y="401959"/>
                    </a:cubicBezTo>
                    <a:cubicBezTo>
                      <a:pt x="35683" y="418557"/>
                      <a:pt x="32210" y="444677"/>
                      <a:pt x="29036" y="458830"/>
                    </a:cubicBezTo>
                    <a:cubicBezTo>
                      <a:pt x="25090" y="476543"/>
                      <a:pt x="22131" y="491940"/>
                      <a:pt x="31009" y="493099"/>
                    </a:cubicBezTo>
                    <a:cubicBezTo>
                      <a:pt x="39887" y="494257"/>
                      <a:pt x="57686" y="517631"/>
                      <a:pt x="74927" y="542764"/>
                    </a:cubicBezTo>
                    <a:cubicBezTo>
                      <a:pt x="79131" y="548898"/>
                      <a:pt x="82390" y="555331"/>
                      <a:pt x="84921" y="561893"/>
                    </a:cubicBezTo>
                    <a:cubicBezTo>
                      <a:pt x="90925" y="561507"/>
                      <a:pt x="97573" y="561893"/>
                      <a:pt x="104306" y="563394"/>
                    </a:cubicBezTo>
                    <a:cubicBezTo>
                      <a:pt x="117430" y="566225"/>
                      <a:pt x="120690" y="578577"/>
                      <a:pt x="120690" y="586168"/>
                    </a:cubicBezTo>
                    <a:cubicBezTo>
                      <a:pt x="120690" y="593803"/>
                      <a:pt x="142906" y="590929"/>
                      <a:pt x="147025" y="589943"/>
                    </a:cubicBezTo>
                    <a:cubicBezTo>
                      <a:pt x="150156" y="589213"/>
                      <a:pt x="146123" y="578534"/>
                      <a:pt x="157318" y="574374"/>
                    </a:cubicBezTo>
                    <a:cubicBezTo>
                      <a:pt x="150584" y="563351"/>
                      <a:pt x="133172" y="549927"/>
                      <a:pt x="118889" y="548468"/>
                    </a:cubicBezTo>
                    <a:cubicBezTo>
                      <a:pt x="102120" y="546753"/>
                      <a:pt x="94185" y="517631"/>
                      <a:pt x="95686" y="504507"/>
                    </a:cubicBezTo>
                    <a:cubicBezTo>
                      <a:pt x="97187" y="491383"/>
                      <a:pt x="83334" y="479931"/>
                      <a:pt x="83334" y="468523"/>
                    </a:cubicBezTo>
                    <a:cubicBezTo>
                      <a:pt x="83334" y="457071"/>
                      <a:pt x="73469" y="456514"/>
                      <a:pt x="62104" y="450252"/>
                    </a:cubicBezTo>
                    <a:cubicBezTo>
                      <a:pt x="50737" y="443947"/>
                      <a:pt x="64549" y="405132"/>
                      <a:pt x="66049" y="388577"/>
                    </a:cubicBezTo>
                    <a:cubicBezTo>
                      <a:pt x="66778" y="380128"/>
                      <a:pt x="73297" y="363702"/>
                      <a:pt x="78615" y="347618"/>
                    </a:cubicBezTo>
                    <a:cubicBezTo>
                      <a:pt x="76643" y="336853"/>
                      <a:pt x="79688" y="326902"/>
                      <a:pt x="85435" y="319054"/>
                    </a:cubicBezTo>
                    <a:cubicBezTo>
                      <a:pt x="85650" y="315322"/>
                      <a:pt x="85392" y="312149"/>
                      <a:pt x="84320" y="309790"/>
                    </a:cubicBezTo>
                    <a:cubicBezTo>
                      <a:pt x="77415" y="294950"/>
                      <a:pt x="108510" y="283541"/>
                      <a:pt x="112456" y="300054"/>
                    </a:cubicBezTo>
                    <a:cubicBezTo>
                      <a:pt x="112670" y="300912"/>
                      <a:pt x="112842" y="301726"/>
                      <a:pt x="113056" y="302541"/>
                    </a:cubicBezTo>
                    <a:cubicBezTo>
                      <a:pt x="125279" y="301083"/>
                      <a:pt x="137803" y="306187"/>
                      <a:pt x="145394" y="321112"/>
                    </a:cubicBezTo>
                    <a:cubicBezTo>
                      <a:pt x="146038" y="322399"/>
                      <a:pt x="146810" y="323600"/>
                      <a:pt x="147496" y="324887"/>
                    </a:cubicBezTo>
                    <a:cubicBezTo>
                      <a:pt x="158046" y="329047"/>
                      <a:pt x="160620" y="341099"/>
                      <a:pt x="173229" y="345216"/>
                    </a:cubicBezTo>
                    <a:cubicBezTo>
                      <a:pt x="174130" y="345517"/>
                      <a:pt x="174774" y="345988"/>
                      <a:pt x="175546" y="346417"/>
                    </a:cubicBezTo>
                    <a:cubicBezTo>
                      <a:pt x="175632" y="346031"/>
                      <a:pt x="175760" y="345559"/>
                      <a:pt x="175889" y="345216"/>
                    </a:cubicBezTo>
                    <a:cubicBezTo>
                      <a:pt x="180135" y="332049"/>
                      <a:pt x="171600" y="332049"/>
                      <a:pt x="171600" y="315537"/>
                    </a:cubicBezTo>
                    <a:cubicBezTo>
                      <a:pt x="171600" y="299067"/>
                      <a:pt x="157361" y="299067"/>
                      <a:pt x="170227" y="280925"/>
                    </a:cubicBezTo>
                    <a:cubicBezTo>
                      <a:pt x="183008" y="262740"/>
                      <a:pt x="202994" y="249573"/>
                      <a:pt x="215818" y="254548"/>
                    </a:cubicBezTo>
                    <a:cubicBezTo>
                      <a:pt x="228643" y="259480"/>
                      <a:pt x="254291" y="246271"/>
                      <a:pt x="261453" y="256178"/>
                    </a:cubicBezTo>
                    <a:cubicBezTo>
                      <a:pt x="262740" y="257979"/>
                      <a:pt x="264198" y="259223"/>
                      <a:pt x="265699" y="260381"/>
                    </a:cubicBezTo>
                    <a:cubicBezTo>
                      <a:pt x="276978" y="245884"/>
                      <a:pt x="268744" y="233747"/>
                      <a:pt x="269988" y="21672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99" name="Freeform: Shape 165">
                <a:extLst>
                  <a:ext uri="{FF2B5EF4-FFF2-40B4-BE49-F238E27FC236}">
                    <a16:creationId xmlns:a16="http://schemas.microsoft.com/office/drawing/2014/main" id="{08928A23-D3F7-9C70-936C-1FF8EDF9972B}"/>
                  </a:ext>
                </a:extLst>
              </p:cNvPr>
              <p:cNvSpPr/>
              <p:nvPr/>
            </p:nvSpPr>
            <p:spPr>
              <a:xfrm>
                <a:off x="8312025" y="3675769"/>
                <a:ext cx="209942" cy="272268"/>
              </a:xfrm>
              <a:custGeom>
                <a:avLst/>
                <a:gdLst>
                  <a:gd name="connsiteX0" fmla="*/ 199306 w 274491"/>
                  <a:gd name="connsiteY0" fmla="*/ 206298 h 355981"/>
                  <a:gd name="connsiteX1" fmla="*/ 255534 w 274491"/>
                  <a:gd name="connsiteY1" fmla="*/ 127596 h 355981"/>
                  <a:gd name="connsiteX2" fmla="*/ 270503 w 274491"/>
                  <a:gd name="connsiteY2" fmla="*/ 113700 h 355981"/>
                  <a:gd name="connsiteX3" fmla="*/ 266214 w 274491"/>
                  <a:gd name="connsiteY3" fmla="*/ 112027 h 355981"/>
                  <a:gd name="connsiteX4" fmla="*/ 238079 w 274491"/>
                  <a:gd name="connsiteY4" fmla="*/ 71454 h 355981"/>
                  <a:gd name="connsiteX5" fmla="*/ 182280 w 274491"/>
                  <a:gd name="connsiteY5" fmla="*/ 47478 h 355981"/>
                  <a:gd name="connsiteX6" fmla="*/ 164309 w 274491"/>
                  <a:gd name="connsiteY6" fmla="*/ 6433 h 355981"/>
                  <a:gd name="connsiteX7" fmla="*/ 152729 w 274491"/>
                  <a:gd name="connsiteY7" fmla="*/ 14111 h 355981"/>
                  <a:gd name="connsiteX8" fmla="*/ 140077 w 274491"/>
                  <a:gd name="connsiteY8" fmla="*/ 14111 h 355981"/>
                  <a:gd name="connsiteX9" fmla="*/ 140077 w 274491"/>
                  <a:gd name="connsiteY9" fmla="*/ 43361 h 355981"/>
                  <a:gd name="connsiteX10" fmla="*/ 118975 w 274491"/>
                  <a:gd name="connsiteY10" fmla="*/ 74241 h 355981"/>
                  <a:gd name="connsiteX11" fmla="*/ 107695 w 274491"/>
                  <a:gd name="connsiteY11" fmla="*/ 106794 h 355981"/>
                  <a:gd name="connsiteX12" fmla="*/ 114514 w 274491"/>
                  <a:gd name="connsiteY12" fmla="*/ 106880 h 355981"/>
                  <a:gd name="connsiteX13" fmla="*/ 131670 w 274491"/>
                  <a:gd name="connsiteY13" fmla="*/ 134458 h 355981"/>
                  <a:gd name="connsiteX14" fmla="*/ 108767 w 274491"/>
                  <a:gd name="connsiteY14" fmla="*/ 215047 h 355981"/>
                  <a:gd name="connsiteX15" fmla="*/ 6433 w 274491"/>
                  <a:gd name="connsiteY15" fmla="*/ 254977 h 355981"/>
                  <a:gd name="connsiteX16" fmla="*/ 47350 w 274491"/>
                  <a:gd name="connsiteY16" fmla="*/ 352550 h 355981"/>
                  <a:gd name="connsiteX17" fmla="*/ 55799 w 274491"/>
                  <a:gd name="connsiteY17" fmla="*/ 347832 h 355981"/>
                  <a:gd name="connsiteX18" fmla="*/ 66521 w 274491"/>
                  <a:gd name="connsiteY18" fmla="*/ 342600 h 355981"/>
                  <a:gd name="connsiteX19" fmla="*/ 73298 w 274491"/>
                  <a:gd name="connsiteY19" fmla="*/ 339212 h 355981"/>
                  <a:gd name="connsiteX20" fmla="*/ 117345 w 274491"/>
                  <a:gd name="connsiteY20" fmla="*/ 319354 h 355981"/>
                  <a:gd name="connsiteX21" fmla="*/ 123007 w 274491"/>
                  <a:gd name="connsiteY21" fmla="*/ 306744 h 355981"/>
                  <a:gd name="connsiteX22" fmla="*/ 139304 w 274491"/>
                  <a:gd name="connsiteY22" fmla="*/ 300311 h 355981"/>
                  <a:gd name="connsiteX23" fmla="*/ 149598 w 274491"/>
                  <a:gd name="connsiteY23" fmla="*/ 291690 h 355981"/>
                  <a:gd name="connsiteX24" fmla="*/ 157189 w 274491"/>
                  <a:gd name="connsiteY24" fmla="*/ 287659 h 355981"/>
                  <a:gd name="connsiteX25" fmla="*/ 164566 w 274491"/>
                  <a:gd name="connsiteY25" fmla="*/ 283155 h 355981"/>
                  <a:gd name="connsiteX26" fmla="*/ 170228 w 274491"/>
                  <a:gd name="connsiteY26" fmla="*/ 279338 h 355981"/>
                  <a:gd name="connsiteX27" fmla="*/ 181293 w 274491"/>
                  <a:gd name="connsiteY27" fmla="*/ 264499 h 355981"/>
                  <a:gd name="connsiteX28" fmla="*/ 187512 w 274491"/>
                  <a:gd name="connsiteY28" fmla="*/ 262354 h 355981"/>
                  <a:gd name="connsiteX29" fmla="*/ 194889 w 274491"/>
                  <a:gd name="connsiteY29" fmla="*/ 251589 h 355981"/>
                  <a:gd name="connsiteX30" fmla="*/ 199306 w 274491"/>
                  <a:gd name="connsiteY30" fmla="*/ 206298 h 35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4491" h="355981">
                    <a:moveTo>
                      <a:pt x="199306" y="206298"/>
                    </a:moveTo>
                    <a:cubicBezTo>
                      <a:pt x="221523" y="182709"/>
                      <a:pt x="237263" y="154316"/>
                      <a:pt x="255534" y="127596"/>
                    </a:cubicBezTo>
                    <a:cubicBezTo>
                      <a:pt x="259566" y="121677"/>
                      <a:pt x="264756" y="116959"/>
                      <a:pt x="270503" y="113700"/>
                    </a:cubicBezTo>
                    <a:cubicBezTo>
                      <a:pt x="269388" y="112971"/>
                      <a:pt x="268058" y="112370"/>
                      <a:pt x="266214" y="112027"/>
                    </a:cubicBezTo>
                    <a:cubicBezTo>
                      <a:pt x="256821" y="110311"/>
                      <a:pt x="242025" y="80032"/>
                      <a:pt x="238079" y="71454"/>
                    </a:cubicBezTo>
                    <a:cubicBezTo>
                      <a:pt x="234133" y="62876"/>
                      <a:pt x="205483" y="68580"/>
                      <a:pt x="182280" y="47478"/>
                    </a:cubicBezTo>
                    <a:cubicBezTo>
                      <a:pt x="172844" y="38901"/>
                      <a:pt x="167611" y="22689"/>
                      <a:pt x="164309" y="6433"/>
                    </a:cubicBezTo>
                    <a:lnTo>
                      <a:pt x="152729" y="14111"/>
                    </a:lnTo>
                    <a:lnTo>
                      <a:pt x="140077" y="14111"/>
                    </a:lnTo>
                    <a:lnTo>
                      <a:pt x="140077" y="43361"/>
                    </a:lnTo>
                    <a:lnTo>
                      <a:pt x="118975" y="74241"/>
                    </a:lnTo>
                    <a:lnTo>
                      <a:pt x="107695" y="106794"/>
                    </a:lnTo>
                    <a:cubicBezTo>
                      <a:pt x="110869" y="107009"/>
                      <a:pt x="113357" y="107052"/>
                      <a:pt x="114514" y="106880"/>
                    </a:cubicBezTo>
                    <a:cubicBezTo>
                      <a:pt x="123135" y="105765"/>
                      <a:pt x="131670" y="126738"/>
                      <a:pt x="131670" y="134458"/>
                    </a:cubicBezTo>
                    <a:cubicBezTo>
                      <a:pt x="131670" y="142221"/>
                      <a:pt x="113528" y="210630"/>
                      <a:pt x="108767" y="215047"/>
                    </a:cubicBezTo>
                    <a:cubicBezTo>
                      <a:pt x="105293" y="218221"/>
                      <a:pt x="45806" y="240909"/>
                      <a:pt x="6433" y="254977"/>
                    </a:cubicBezTo>
                    <a:cubicBezTo>
                      <a:pt x="14968" y="275435"/>
                      <a:pt x="31995" y="316180"/>
                      <a:pt x="47350" y="352550"/>
                    </a:cubicBezTo>
                    <a:cubicBezTo>
                      <a:pt x="49966" y="351306"/>
                      <a:pt x="52754" y="349891"/>
                      <a:pt x="55799" y="347832"/>
                    </a:cubicBezTo>
                    <a:cubicBezTo>
                      <a:pt x="59316" y="345474"/>
                      <a:pt x="62876" y="343801"/>
                      <a:pt x="66521" y="342600"/>
                    </a:cubicBezTo>
                    <a:cubicBezTo>
                      <a:pt x="68666" y="341313"/>
                      <a:pt x="70939" y="340155"/>
                      <a:pt x="73298" y="339212"/>
                    </a:cubicBezTo>
                    <a:cubicBezTo>
                      <a:pt x="88395" y="333036"/>
                      <a:pt x="103406" y="327031"/>
                      <a:pt x="117345" y="319354"/>
                    </a:cubicBezTo>
                    <a:cubicBezTo>
                      <a:pt x="117603" y="315236"/>
                      <a:pt x="118718" y="310905"/>
                      <a:pt x="123007" y="306744"/>
                    </a:cubicBezTo>
                    <a:cubicBezTo>
                      <a:pt x="127939" y="301984"/>
                      <a:pt x="133729" y="300568"/>
                      <a:pt x="139304" y="300311"/>
                    </a:cubicBezTo>
                    <a:cubicBezTo>
                      <a:pt x="142006" y="296708"/>
                      <a:pt x="145395" y="293663"/>
                      <a:pt x="149598" y="291690"/>
                    </a:cubicBezTo>
                    <a:cubicBezTo>
                      <a:pt x="152300" y="290404"/>
                      <a:pt x="154702" y="289031"/>
                      <a:pt x="157189" y="287659"/>
                    </a:cubicBezTo>
                    <a:cubicBezTo>
                      <a:pt x="159591" y="285771"/>
                      <a:pt x="162079" y="284228"/>
                      <a:pt x="164566" y="283155"/>
                    </a:cubicBezTo>
                    <a:cubicBezTo>
                      <a:pt x="166454" y="281912"/>
                      <a:pt x="168469" y="280668"/>
                      <a:pt x="170228" y="279338"/>
                    </a:cubicBezTo>
                    <a:cubicBezTo>
                      <a:pt x="173187" y="272776"/>
                      <a:pt x="176661" y="266686"/>
                      <a:pt x="181293" y="264499"/>
                    </a:cubicBezTo>
                    <a:cubicBezTo>
                      <a:pt x="183352" y="263512"/>
                      <a:pt x="185453" y="262869"/>
                      <a:pt x="187512" y="262354"/>
                    </a:cubicBezTo>
                    <a:cubicBezTo>
                      <a:pt x="190214" y="258923"/>
                      <a:pt x="192659" y="255320"/>
                      <a:pt x="194889" y="251589"/>
                    </a:cubicBezTo>
                    <a:cubicBezTo>
                      <a:pt x="186697" y="238465"/>
                      <a:pt x="185668" y="220794"/>
                      <a:pt x="199306" y="20629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300" name="Freeform: Shape 270">
                <a:extLst>
                  <a:ext uri="{FF2B5EF4-FFF2-40B4-BE49-F238E27FC236}">
                    <a16:creationId xmlns:a16="http://schemas.microsoft.com/office/drawing/2014/main" id="{023D4E92-DFCD-3E29-8D63-2891BE39E5A0}"/>
                  </a:ext>
                </a:extLst>
              </p:cNvPr>
              <p:cNvSpPr/>
              <p:nvPr/>
            </p:nvSpPr>
            <p:spPr>
              <a:xfrm>
                <a:off x="9742633" y="3839390"/>
                <a:ext cx="68887" cy="59046"/>
              </a:xfrm>
              <a:custGeom>
                <a:avLst/>
                <a:gdLst>
                  <a:gd name="connsiteX0" fmla="*/ 20906 w 90067"/>
                  <a:gd name="connsiteY0" fmla="*/ 73387 h 77200"/>
                  <a:gd name="connsiteX1" fmla="*/ 24980 w 90067"/>
                  <a:gd name="connsiteY1" fmla="*/ 70299 h 77200"/>
                  <a:gd name="connsiteX2" fmla="*/ 68383 w 90067"/>
                  <a:gd name="connsiteY2" fmla="*/ 47310 h 77200"/>
                  <a:gd name="connsiteX3" fmla="*/ 83438 w 90067"/>
                  <a:gd name="connsiteY3" fmla="*/ 11155 h 77200"/>
                  <a:gd name="connsiteX4" fmla="*/ 41964 w 90067"/>
                  <a:gd name="connsiteY4" fmla="*/ 7723 h 77200"/>
                  <a:gd name="connsiteX5" fmla="*/ 9368 w 90067"/>
                  <a:gd name="connsiteY5" fmla="*/ 60220 h 77200"/>
                  <a:gd name="connsiteX6" fmla="*/ 20906 w 90067"/>
                  <a:gd name="connsiteY6" fmla="*/ 73387 h 7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67" h="77200">
                    <a:moveTo>
                      <a:pt x="20906" y="73387"/>
                    </a:moveTo>
                    <a:cubicBezTo>
                      <a:pt x="22192" y="72315"/>
                      <a:pt x="23521" y="71285"/>
                      <a:pt x="24980" y="70299"/>
                    </a:cubicBezTo>
                    <a:cubicBezTo>
                      <a:pt x="38790" y="61206"/>
                      <a:pt x="53501" y="54044"/>
                      <a:pt x="68383" y="47310"/>
                    </a:cubicBezTo>
                    <a:cubicBezTo>
                      <a:pt x="73873" y="34529"/>
                      <a:pt x="85496" y="19389"/>
                      <a:pt x="83438" y="11155"/>
                    </a:cubicBezTo>
                    <a:cubicBezTo>
                      <a:pt x="81465" y="3177"/>
                      <a:pt x="54831" y="7723"/>
                      <a:pt x="41964" y="7723"/>
                    </a:cubicBezTo>
                    <a:cubicBezTo>
                      <a:pt x="29140" y="7723"/>
                      <a:pt x="-3456" y="29383"/>
                      <a:pt x="9368" y="60220"/>
                    </a:cubicBezTo>
                    <a:cubicBezTo>
                      <a:pt x="12070" y="66782"/>
                      <a:pt x="16187" y="70899"/>
                      <a:pt x="20906" y="7338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301" name="Freeform: Shape 273">
                <a:extLst>
                  <a:ext uri="{FF2B5EF4-FFF2-40B4-BE49-F238E27FC236}">
                    <a16:creationId xmlns:a16="http://schemas.microsoft.com/office/drawing/2014/main" id="{33021E9A-951C-FEF6-C2F0-547A0652CF08}"/>
                  </a:ext>
                </a:extLst>
              </p:cNvPr>
              <p:cNvSpPr/>
              <p:nvPr/>
            </p:nvSpPr>
            <p:spPr>
              <a:xfrm>
                <a:off x="10043932" y="4042482"/>
                <a:ext cx="36084" cy="42644"/>
              </a:xfrm>
              <a:custGeom>
                <a:avLst/>
                <a:gdLst>
                  <a:gd name="connsiteX0" fmla="*/ 6494 w 47178"/>
                  <a:gd name="connsiteY0" fmla="*/ 8315 h 55756"/>
                  <a:gd name="connsiteX1" fmla="*/ 38103 w 47178"/>
                  <a:gd name="connsiteY1" fmla="*/ 49403 h 55756"/>
                  <a:gd name="connsiteX2" fmla="*/ 6494 w 47178"/>
                  <a:gd name="connsiteY2" fmla="*/ 8315 h 55756"/>
                </a:gdLst>
                <a:ahLst/>
                <a:cxnLst>
                  <a:cxn ang="0">
                    <a:pos x="connsiteX0" y="connsiteY0"/>
                  </a:cxn>
                  <a:cxn ang="0">
                    <a:pos x="connsiteX1" y="connsiteY1"/>
                  </a:cxn>
                  <a:cxn ang="0">
                    <a:pos x="connsiteX2" y="connsiteY2"/>
                  </a:cxn>
                </a:cxnLst>
                <a:rect l="l" t="t" r="r" b="b"/>
                <a:pathLst>
                  <a:path w="47178" h="55756">
                    <a:moveTo>
                      <a:pt x="6494" y="8315"/>
                    </a:moveTo>
                    <a:cubicBezTo>
                      <a:pt x="9453" y="24312"/>
                      <a:pt x="16358" y="57466"/>
                      <a:pt x="38103" y="49403"/>
                    </a:cubicBezTo>
                    <a:cubicBezTo>
                      <a:pt x="59848" y="41425"/>
                      <a:pt x="4350" y="-3180"/>
                      <a:pt x="6494" y="831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302" name="Freeform: Shape 274">
                <a:extLst>
                  <a:ext uri="{FF2B5EF4-FFF2-40B4-BE49-F238E27FC236}">
                    <a16:creationId xmlns:a16="http://schemas.microsoft.com/office/drawing/2014/main" id="{4738358D-B5EA-16E4-25D7-211B815EB0D5}"/>
                  </a:ext>
                </a:extLst>
              </p:cNvPr>
              <p:cNvSpPr/>
              <p:nvPr/>
            </p:nvSpPr>
            <p:spPr>
              <a:xfrm>
                <a:off x="10122273" y="4069344"/>
                <a:ext cx="62327" cy="82008"/>
              </a:xfrm>
              <a:custGeom>
                <a:avLst/>
                <a:gdLst>
                  <a:gd name="connsiteX0" fmla="*/ 6444 w 81489"/>
                  <a:gd name="connsiteY0" fmla="*/ 6433 h 107223"/>
                  <a:gd name="connsiteX1" fmla="*/ 17681 w 81489"/>
                  <a:gd name="connsiteY1" fmla="*/ 31395 h 107223"/>
                  <a:gd name="connsiteX2" fmla="*/ 31492 w 81489"/>
                  <a:gd name="connsiteY2" fmla="*/ 48508 h 107223"/>
                  <a:gd name="connsiteX3" fmla="*/ 48261 w 81489"/>
                  <a:gd name="connsiteY3" fmla="*/ 96501 h 107223"/>
                  <a:gd name="connsiteX4" fmla="*/ 59155 w 81489"/>
                  <a:gd name="connsiteY4" fmla="*/ 86207 h 107223"/>
                  <a:gd name="connsiteX5" fmla="*/ 73952 w 81489"/>
                  <a:gd name="connsiteY5" fmla="*/ 63390 h 107223"/>
                  <a:gd name="connsiteX6" fmla="*/ 72022 w 81489"/>
                  <a:gd name="connsiteY6" fmla="*/ 31566 h 107223"/>
                  <a:gd name="connsiteX7" fmla="*/ 44187 w 81489"/>
                  <a:gd name="connsiteY7" fmla="*/ 29551 h 107223"/>
                  <a:gd name="connsiteX8" fmla="*/ 6444 w 81489"/>
                  <a:gd name="connsiteY8" fmla="*/ 6433 h 10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489" h="107223">
                    <a:moveTo>
                      <a:pt x="6444" y="6433"/>
                    </a:moveTo>
                    <a:cubicBezTo>
                      <a:pt x="6186" y="19815"/>
                      <a:pt x="10690" y="38557"/>
                      <a:pt x="17681" y="31395"/>
                    </a:cubicBezTo>
                    <a:cubicBezTo>
                      <a:pt x="26559" y="22302"/>
                      <a:pt x="40412" y="33668"/>
                      <a:pt x="31492" y="48508"/>
                    </a:cubicBezTo>
                    <a:cubicBezTo>
                      <a:pt x="22613" y="63390"/>
                      <a:pt x="45302" y="78187"/>
                      <a:pt x="48261" y="96501"/>
                    </a:cubicBezTo>
                    <a:cubicBezTo>
                      <a:pt x="51220" y="114772"/>
                      <a:pt x="61085" y="99932"/>
                      <a:pt x="59155" y="86207"/>
                    </a:cubicBezTo>
                    <a:cubicBezTo>
                      <a:pt x="57182" y="72483"/>
                      <a:pt x="61128" y="73641"/>
                      <a:pt x="73952" y="63390"/>
                    </a:cubicBezTo>
                    <a:cubicBezTo>
                      <a:pt x="83344" y="55885"/>
                      <a:pt x="78455" y="44648"/>
                      <a:pt x="72022" y="31566"/>
                    </a:cubicBezTo>
                    <a:cubicBezTo>
                      <a:pt x="62200" y="31352"/>
                      <a:pt x="52122" y="31824"/>
                      <a:pt x="44187" y="29551"/>
                    </a:cubicBezTo>
                    <a:cubicBezTo>
                      <a:pt x="29304" y="25262"/>
                      <a:pt x="16609" y="17327"/>
                      <a:pt x="6444" y="643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303" name="Freeform: Shape 275">
                <a:extLst>
                  <a:ext uri="{FF2B5EF4-FFF2-40B4-BE49-F238E27FC236}">
                    <a16:creationId xmlns:a16="http://schemas.microsoft.com/office/drawing/2014/main" id="{5E60CD5B-F3F3-77FA-C112-D5082086B186}"/>
                  </a:ext>
                </a:extLst>
              </p:cNvPr>
              <p:cNvSpPr/>
              <p:nvPr/>
            </p:nvSpPr>
            <p:spPr>
              <a:xfrm>
                <a:off x="10131367" y="4146203"/>
                <a:ext cx="29523" cy="26242"/>
              </a:xfrm>
              <a:custGeom>
                <a:avLst/>
                <a:gdLst>
                  <a:gd name="connsiteX0" fmla="*/ 6733 w 38600"/>
                  <a:gd name="connsiteY0" fmla="*/ 28006 h 34311"/>
                  <a:gd name="connsiteX1" fmla="*/ 31437 w 38600"/>
                  <a:gd name="connsiteY1" fmla="*/ 9735 h 34311"/>
                  <a:gd name="connsiteX2" fmla="*/ 6733 w 38600"/>
                  <a:gd name="connsiteY2" fmla="*/ 28006 h 34311"/>
                </a:gdLst>
                <a:ahLst/>
                <a:cxnLst>
                  <a:cxn ang="0">
                    <a:pos x="connsiteX0" y="connsiteY0"/>
                  </a:cxn>
                  <a:cxn ang="0">
                    <a:pos x="connsiteX1" y="connsiteY1"/>
                  </a:cxn>
                  <a:cxn ang="0">
                    <a:pos x="connsiteX2" y="connsiteY2"/>
                  </a:cxn>
                </a:cxnLst>
                <a:rect l="l" t="t" r="r" b="b"/>
                <a:pathLst>
                  <a:path w="38600" h="34311">
                    <a:moveTo>
                      <a:pt x="6733" y="28006"/>
                    </a:moveTo>
                    <a:cubicBezTo>
                      <a:pt x="10678" y="39414"/>
                      <a:pt x="39328" y="21186"/>
                      <a:pt x="31437" y="9735"/>
                    </a:cubicBezTo>
                    <a:cubicBezTo>
                      <a:pt x="23545" y="-1674"/>
                      <a:pt x="3774" y="19471"/>
                      <a:pt x="6733" y="2800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304" name="Freeform: Shape 276">
                <a:extLst>
                  <a:ext uri="{FF2B5EF4-FFF2-40B4-BE49-F238E27FC236}">
                    <a16:creationId xmlns:a16="http://schemas.microsoft.com/office/drawing/2014/main" id="{4C7486C9-DCE1-5C1C-DA6E-36478C994EAA}"/>
                  </a:ext>
                </a:extLst>
              </p:cNvPr>
              <p:cNvSpPr/>
              <p:nvPr/>
            </p:nvSpPr>
            <p:spPr>
              <a:xfrm>
                <a:off x="9964362" y="4110586"/>
                <a:ext cx="65607" cy="91849"/>
              </a:xfrm>
              <a:custGeom>
                <a:avLst/>
                <a:gdLst>
                  <a:gd name="connsiteX0" fmla="*/ 49326 w 85778"/>
                  <a:gd name="connsiteY0" fmla="*/ 51757 h 120090"/>
                  <a:gd name="connsiteX1" fmla="*/ 6822 w 85778"/>
                  <a:gd name="connsiteY1" fmla="*/ 115705 h 120090"/>
                  <a:gd name="connsiteX2" fmla="*/ 67082 w 85778"/>
                  <a:gd name="connsiteY2" fmla="*/ 50599 h 120090"/>
                  <a:gd name="connsiteX3" fmla="*/ 75960 w 85778"/>
                  <a:gd name="connsiteY3" fmla="*/ 9511 h 120090"/>
                  <a:gd name="connsiteX4" fmla="*/ 49326 w 85778"/>
                  <a:gd name="connsiteY4" fmla="*/ 51757 h 120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78" h="120090">
                    <a:moveTo>
                      <a:pt x="49326" y="51757"/>
                    </a:moveTo>
                    <a:cubicBezTo>
                      <a:pt x="35516" y="72301"/>
                      <a:pt x="2490" y="106484"/>
                      <a:pt x="6822" y="115705"/>
                    </a:cubicBezTo>
                    <a:cubicBezTo>
                      <a:pt x="12741" y="128272"/>
                      <a:pt x="49326" y="65439"/>
                      <a:pt x="67082" y="50599"/>
                    </a:cubicBezTo>
                    <a:cubicBezTo>
                      <a:pt x="84838" y="35759"/>
                      <a:pt x="81878" y="23193"/>
                      <a:pt x="75960" y="9511"/>
                    </a:cubicBezTo>
                    <a:cubicBezTo>
                      <a:pt x="70041" y="-4213"/>
                      <a:pt x="63136" y="31213"/>
                      <a:pt x="49326" y="5175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305" name="Freeform: Shape 277">
                <a:extLst>
                  <a:ext uri="{FF2B5EF4-FFF2-40B4-BE49-F238E27FC236}">
                    <a16:creationId xmlns:a16="http://schemas.microsoft.com/office/drawing/2014/main" id="{98613C50-C687-E0E2-453C-83B11DFAF8E9}"/>
                  </a:ext>
                </a:extLst>
              </p:cNvPr>
              <p:cNvSpPr/>
              <p:nvPr/>
            </p:nvSpPr>
            <p:spPr>
              <a:xfrm>
                <a:off x="10028826" y="3887379"/>
                <a:ext cx="85289" cy="160737"/>
              </a:xfrm>
              <a:custGeom>
                <a:avLst/>
                <a:gdLst>
                  <a:gd name="connsiteX0" fmla="*/ 89463 w 111512"/>
                  <a:gd name="connsiteY0" fmla="*/ 200856 h 210157"/>
                  <a:gd name="connsiteX1" fmla="*/ 105803 w 111512"/>
                  <a:gd name="connsiteY1" fmla="*/ 204073 h 210157"/>
                  <a:gd name="connsiteX2" fmla="*/ 97612 w 111512"/>
                  <a:gd name="connsiteY2" fmla="*/ 175294 h 210157"/>
                  <a:gd name="connsiteX3" fmla="*/ 80585 w 111512"/>
                  <a:gd name="connsiteY3" fmla="*/ 180269 h 210157"/>
                  <a:gd name="connsiteX4" fmla="*/ 63773 w 111512"/>
                  <a:gd name="connsiteY4" fmla="*/ 144886 h 210157"/>
                  <a:gd name="connsiteX5" fmla="*/ 86503 w 111512"/>
                  <a:gd name="connsiteY5" fmla="*/ 90073 h 210157"/>
                  <a:gd name="connsiteX6" fmla="*/ 84487 w 111512"/>
                  <a:gd name="connsiteY6" fmla="*/ 27283 h 210157"/>
                  <a:gd name="connsiteX7" fmla="*/ 78569 w 111512"/>
                  <a:gd name="connsiteY7" fmla="*/ 13601 h 210157"/>
                  <a:gd name="connsiteX8" fmla="*/ 30190 w 111512"/>
                  <a:gd name="connsiteY8" fmla="*/ 9012 h 210157"/>
                  <a:gd name="connsiteX9" fmla="*/ 23241 w 111512"/>
                  <a:gd name="connsiteY9" fmla="*/ 99251 h 210157"/>
                  <a:gd name="connsiteX10" fmla="*/ 7415 w 111512"/>
                  <a:gd name="connsiteY10" fmla="*/ 94662 h 210157"/>
                  <a:gd name="connsiteX11" fmla="*/ 16337 w 111512"/>
                  <a:gd name="connsiteY11" fmla="*/ 147202 h 210157"/>
                  <a:gd name="connsiteX12" fmla="*/ 25215 w 111512"/>
                  <a:gd name="connsiteY12" fmla="*/ 176881 h 210157"/>
                  <a:gd name="connsiteX13" fmla="*/ 58754 w 111512"/>
                  <a:gd name="connsiteY13" fmla="*/ 189448 h 210157"/>
                  <a:gd name="connsiteX14" fmla="*/ 89463 w 111512"/>
                  <a:gd name="connsiteY14" fmla="*/ 200856 h 210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1512" h="210157">
                    <a:moveTo>
                      <a:pt x="89463" y="200856"/>
                    </a:moveTo>
                    <a:cubicBezTo>
                      <a:pt x="94653" y="199913"/>
                      <a:pt x="100356" y="201328"/>
                      <a:pt x="105803" y="204073"/>
                    </a:cubicBezTo>
                    <a:cubicBezTo>
                      <a:pt x="102501" y="194852"/>
                      <a:pt x="99670" y="185244"/>
                      <a:pt x="97612" y="175294"/>
                    </a:cubicBezTo>
                    <a:cubicBezTo>
                      <a:pt x="91608" y="175423"/>
                      <a:pt x="85560" y="176881"/>
                      <a:pt x="80585" y="180269"/>
                    </a:cubicBezTo>
                    <a:cubicBezTo>
                      <a:pt x="63815" y="191721"/>
                      <a:pt x="75610" y="159725"/>
                      <a:pt x="63773" y="144886"/>
                    </a:cubicBezTo>
                    <a:cubicBezTo>
                      <a:pt x="51892" y="130046"/>
                      <a:pt x="72650" y="108344"/>
                      <a:pt x="86503" y="90073"/>
                    </a:cubicBezTo>
                    <a:cubicBezTo>
                      <a:pt x="100314" y="71845"/>
                      <a:pt x="82558" y="40965"/>
                      <a:pt x="84487" y="27283"/>
                    </a:cubicBezTo>
                    <a:cubicBezTo>
                      <a:pt x="86503" y="13601"/>
                      <a:pt x="85474" y="9012"/>
                      <a:pt x="78569" y="13601"/>
                    </a:cubicBezTo>
                    <a:cubicBezTo>
                      <a:pt x="71663" y="18148"/>
                      <a:pt x="43014" y="-80"/>
                      <a:pt x="30190" y="9012"/>
                    </a:cubicBezTo>
                    <a:cubicBezTo>
                      <a:pt x="17323" y="18148"/>
                      <a:pt x="29203" y="93504"/>
                      <a:pt x="23241" y="99251"/>
                    </a:cubicBezTo>
                    <a:cubicBezTo>
                      <a:pt x="17323" y="104913"/>
                      <a:pt x="9646" y="87028"/>
                      <a:pt x="7415" y="94662"/>
                    </a:cubicBezTo>
                    <a:cubicBezTo>
                      <a:pt x="4456" y="104913"/>
                      <a:pt x="8402" y="147202"/>
                      <a:pt x="16337" y="147202"/>
                    </a:cubicBezTo>
                    <a:cubicBezTo>
                      <a:pt x="24271" y="147202"/>
                      <a:pt x="30190" y="158610"/>
                      <a:pt x="25215" y="176881"/>
                    </a:cubicBezTo>
                    <a:cubicBezTo>
                      <a:pt x="20282" y="195152"/>
                      <a:pt x="40012" y="197425"/>
                      <a:pt x="58754" y="189448"/>
                    </a:cubicBezTo>
                    <a:cubicBezTo>
                      <a:pt x="77626" y="181427"/>
                      <a:pt x="70677" y="204244"/>
                      <a:pt x="89463" y="20085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306" name="Freeform: Shape 279">
                <a:extLst>
                  <a:ext uri="{FF2B5EF4-FFF2-40B4-BE49-F238E27FC236}">
                    <a16:creationId xmlns:a16="http://schemas.microsoft.com/office/drawing/2014/main" id="{E0F29ECF-E278-8230-40DB-BA88243AE126}"/>
                  </a:ext>
                </a:extLst>
              </p:cNvPr>
              <p:cNvSpPr/>
              <p:nvPr/>
            </p:nvSpPr>
            <p:spPr>
              <a:xfrm>
                <a:off x="10077795" y="4088323"/>
                <a:ext cx="62327" cy="95130"/>
              </a:xfrm>
              <a:custGeom>
                <a:avLst/>
                <a:gdLst>
                  <a:gd name="connsiteX0" fmla="*/ 17503 w 81489"/>
                  <a:gd name="connsiteY0" fmla="*/ 59163 h 124378"/>
                  <a:gd name="connsiteX1" fmla="*/ 35259 w 81489"/>
                  <a:gd name="connsiteY1" fmla="*/ 47754 h 124378"/>
                  <a:gd name="connsiteX2" fmla="*/ 38219 w 81489"/>
                  <a:gd name="connsiteY2" fmla="*/ 78592 h 124378"/>
                  <a:gd name="connsiteX3" fmla="*/ 43151 w 81489"/>
                  <a:gd name="connsiteY3" fmla="*/ 120880 h 124378"/>
                  <a:gd name="connsiteX4" fmla="*/ 78706 w 81489"/>
                  <a:gd name="connsiteY4" fmla="*/ 59206 h 124378"/>
                  <a:gd name="connsiteX5" fmla="*/ 65882 w 81489"/>
                  <a:gd name="connsiteY5" fmla="*/ 52386 h 124378"/>
                  <a:gd name="connsiteX6" fmla="*/ 15530 w 81489"/>
                  <a:gd name="connsiteY6" fmla="*/ 6666 h 124378"/>
                  <a:gd name="connsiteX7" fmla="*/ 17503 w 81489"/>
                  <a:gd name="connsiteY7" fmla="*/ 59163 h 124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489" h="124378">
                    <a:moveTo>
                      <a:pt x="17503" y="59163"/>
                    </a:moveTo>
                    <a:cubicBezTo>
                      <a:pt x="22478" y="58048"/>
                      <a:pt x="34315" y="59163"/>
                      <a:pt x="35259" y="47754"/>
                    </a:cubicBezTo>
                    <a:cubicBezTo>
                      <a:pt x="36246" y="36346"/>
                      <a:pt x="47139" y="68298"/>
                      <a:pt x="38219" y="78592"/>
                    </a:cubicBezTo>
                    <a:cubicBezTo>
                      <a:pt x="29340" y="88885"/>
                      <a:pt x="29340" y="117449"/>
                      <a:pt x="43151" y="120880"/>
                    </a:cubicBezTo>
                    <a:cubicBezTo>
                      <a:pt x="56961" y="124311"/>
                      <a:pt x="82652" y="69499"/>
                      <a:pt x="78706" y="59206"/>
                    </a:cubicBezTo>
                    <a:cubicBezTo>
                      <a:pt x="74761" y="48912"/>
                      <a:pt x="62880" y="66068"/>
                      <a:pt x="65882" y="52386"/>
                    </a:cubicBezTo>
                    <a:cubicBezTo>
                      <a:pt x="68841" y="38662"/>
                      <a:pt x="30327" y="3235"/>
                      <a:pt x="15530" y="6666"/>
                    </a:cubicBezTo>
                    <a:cubicBezTo>
                      <a:pt x="734" y="10055"/>
                      <a:pt x="5880" y="61822"/>
                      <a:pt x="17503" y="5916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307" name="Freeform: Shape 281">
                <a:extLst>
                  <a:ext uri="{FF2B5EF4-FFF2-40B4-BE49-F238E27FC236}">
                    <a16:creationId xmlns:a16="http://schemas.microsoft.com/office/drawing/2014/main" id="{B94D15E4-CD20-8833-57BD-01B7ECAD1801}"/>
                  </a:ext>
                </a:extLst>
              </p:cNvPr>
              <p:cNvSpPr/>
              <p:nvPr/>
            </p:nvSpPr>
            <p:spPr>
              <a:xfrm>
                <a:off x="9029885" y="4154854"/>
                <a:ext cx="62327" cy="118093"/>
              </a:xfrm>
              <a:custGeom>
                <a:avLst/>
                <a:gdLst>
                  <a:gd name="connsiteX0" fmla="*/ 9576 w 81489"/>
                  <a:gd name="connsiteY0" fmla="*/ 116198 h 154401"/>
                  <a:gd name="connsiteX1" fmla="*/ 16911 w 81489"/>
                  <a:gd name="connsiteY1" fmla="*/ 119972 h 154401"/>
                  <a:gd name="connsiteX2" fmla="*/ 47019 w 81489"/>
                  <a:gd name="connsiteY2" fmla="*/ 150381 h 154401"/>
                  <a:gd name="connsiteX3" fmla="*/ 76227 w 81489"/>
                  <a:gd name="connsiteY3" fmla="*/ 96641 h 154401"/>
                  <a:gd name="connsiteX4" fmla="*/ 21886 w 81489"/>
                  <a:gd name="connsiteY4" fmla="*/ 6445 h 154401"/>
                  <a:gd name="connsiteX5" fmla="*/ 10006 w 81489"/>
                  <a:gd name="connsiteY5" fmla="*/ 42986 h 154401"/>
                  <a:gd name="connsiteX6" fmla="*/ 8032 w 81489"/>
                  <a:gd name="connsiteY6" fmla="*/ 94368 h 154401"/>
                  <a:gd name="connsiteX7" fmla="*/ 9576 w 81489"/>
                  <a:gd name="connsiteY7" fmla="*/ 116198 h 15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489" h="154401">
                    <a:moveTo>
                      <a:pt x="9576" y="116198"/>
                    </a:moveTo>
                    <a:cubicBezTo>
                      <a:pt x="12150" y="117099"/>
                      <a:pt x="14595" y="118300"/>
                      <a:pt x="16911" y="119972"/>
                    </a:cubicBezTo>
                    <a:cubicBezTo>
                      <a:pt x="28877" y="128679"/>
                      <a:pt x="38570" y="138929"/>
                      <a:pt x="47019" y="150381"/>
                    </a:cubicBezTo>
                    <a:cubicBezTo>
                      <a:pt x="61816" y="141031"/>
                      <a:pt x="75540" y="117742"/>
                      <a:pt x="76227" y="96641"/>
                    </a:cubicBezTo>
                    <a:cubicBezTo>
                      <a:pt x="77213" y="64688"/>
                      <a:pt x="29349" y="5501"/>
                      <a:pt x="21886" y="6445"/>
                    </a:cubicBezTo>
                    <a:cubicBezTo>
                      <a:pt x="13008" y="7602"/>
                      <a:pt x="14981" y="28147"/>
                      <a:pt x="10006" y="42986"/>
                    </a:cubicBezTo>
                    <a:cubicBezTo>
                      <a:pt x="5073" y="57826"/>
                      <a:pt x="6103" y="72666"/>
                      <a:pt x="8032" y="94368"/>
                    </a:cubicBezTo>
                    <a:cubicBezTo>
                      <a:pt x="8719" y="101659"/>
                      <a:pt x="8934" y="109079"/>
                      <a:pt x="9576" y="116198"/>
                    </a:cubicBezTo>
                    <a:close/>
                  </a:path>
                </a:pathLst>
              </a:custGeom>
              <a:grpFill/>
              <a:ln w="1905" cap="flat">
                <a:solidFill>
                  <a:schemeClr val="bg1"/>
                </a:solidFill>
                <a:prstDash val="solid"/>
                <a:miter/>
              </a:ln>
            </p:spPr>
            <p:txBody>
              <a:bodyPr rtlCol="0" anchor="ctr"/>
              <a:lstStyle/>
              <a:p>
                <a:endParaRPr lang="en-US" dirty="0">
                  <a:sym typeface="+mn-lt"/>
                </a:endParaRPr>
              </a:p>
            </p:txBody>
          </p:sp>
        </p:grpSp>
        <p:grpSp>
          <p:nvGrpSpPr>
            <p:cNvPr id="191" name="Group 13">
              <a:extLst>
                <a:ext uri="{FF2B5EF4-FFF2-40B4-BE49-F238E27FC236}">
                  <a16:creationId xmlns:a16="http://schemas.microsoft.com/office/drawing/2014/main" id="{6A19FE26-0CFC-E26A-D844-E414B227A895}"/>
                </a:ext>
              </a:extLst>
            </p:cNvPr>
            <p:cNvGrpSpPr/>
            <p:nvPr/>
          </p:nvGrpSpPr>
          <p:grpSpPr>
            <a:xfrm>
              <a:off x="7856452" y="3051023"/>
              <a:ext cx="558149" cy="1015008"/>
              <a:chOff x="7856452" y="3051023"/>
              <a:chExt cx="558149" cy="1015008"/>
            </a:xfrm>
            <a:grpFill/>
          </p:grpSpPr>
          <p:sp>
            <p:nvSpPr>
              <p:cNvPr id="284" name="Freeform: Shape 120">
                <a:extLst>
                  <a:ext uri="{FF2B5EF4-FFF2-40B4-BE49-F238E27FC236}">
                    <a16:creationId xmlns:a16="http://schemas.microsoft.com/office/drawing/2014/main" id="{6E5D843B-64AE-0CCC-93C2-EDEAF4676742}"/>
                  </a:ext>
                </a:extLst>
              </p:cNvPr>
              <p:cNvSpPr/>
              <p:nvPr/>
            </p:nvSpPr>
            <p:spPr>
              <a:xfrm>
                <a:off x="7880726" y="3357767"/>
                <a:ext cx="42644" cy="62327"/>
              </a:xfrm>
              <a:custGeom>
                <a:avLst/>
                <a:gdLst>
                  <a:gd name="connsiteX0" fmla="*/ 47736 w 55756"/>
                  <a:gd name="connsiteY0" fmla="*/ 36550 h 81489"/>
                  <a:gd name="connsiteX1" fmla="*/ 31566 w 55756"/>
                  <a:gd name="connsiteY1" fmla="*/ 6484 h 81489"/>
                  <a:gd name="connsiteX2" fmla="*/ 31224 w 55756"/>
                  <a:gd name="connsiteY2" fmla="*/ 11545 h 81489"/>
                  <a:gd name="connsiteX3" fmla="*/ 6433 w 55756"/>
                  <a:gd name="connsiteY3" fmla="*/ 69446 h 81489"/>
                  <a:gd name="connsiteX4" fmla="*/ 22174 w 55756"/>
                  <a:gd name="connsiteY4" fmla="*/ 77166 h 81489"/>
                  <a:gd name="connsiteX5" fmla="*/ 47736 w 55756"/>
                  <a:gd name="connsiteY5" fmla="*/ 36550 h 8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756" h="81489">
                    <a:moveTo>
                      <a:pt x="47736" y="36550"/>
                    </a:moveTo>
                    <a:cubicBezTo>
                      <a:pt x="54040" y="30159"/>
                      <a:pt x="57729" y="5155"/>
                      <a:pt x="31566" y="6484"/>
                    </a:cubicBezTo>
                    <a:cubicBezTo>
                      <a:pt x="31309" y="8114"/>
                      <a:pt x="31224" y="9830"/>
                      <a:pt x="31224" y="11545"/>
                    </a:cubicBezTo>
                    <a:cubicBezTo>
                      <a:pt x="31224" y="23126"/>
                      <a:pt x="15225" y="47401"/>
                      <a:pt x="6433" y="69446"/>
                    </a:cubicBezTo>
                    <a:lnTo>
                      <a:pt x="22174" y="77166"/>
                    </a:lnTo>
                    <a:cubicBezTo>
                      <a:pt x="30323" y="60311"/>
                      <a:pt x="42718" y="41654"/>
                      <a:pt x="47736" y="3655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85" name="Freeform: Shape 121">
                <a:extLst>
                  <a:ext uri="{FF2B5EF4-FFF2-40B4-BE49-F238E27FC236}">
                    <a16:creationId xmlns:a16="http://schemas.microsoft.com/office/drawing/2014/main" id="{70655523-9890-C4DA-1B69-5094D44D65E7}"/>
                  </a:ext>
                </a:extLst>
              </p:cNvPr>
              <p:cNvSpPr/>
              <p:nvPr/>
            </p:nvSpPr>
            <p:spPr>
              <a:xfrm>
                <a:off x="7892765" y="3274879"/>
                <a:ext cx="183699" cy="170577"/>
              </a:xfrm>
              <a:custGeom>
                <a:avLst/>
                <a:gdLst>
                  <a:gd name="connsiteX0" fmla="*/ 31995 w 240180"/>
                  <a:gd name="connsiteY0" fmla="*/ 144923 h 223024"/>
                  <a:gd name="connsiteX1" fmla="*/ 6433 w 240180"/>
                  <a:gd name="connsiteY1" fmla="*/ 185539 h 223024"/>
                  <a:gd name="connsiteX2" fmla="*/ 8149 w 240180"/>
                  <a:gd name="connsiteY2" fmla="*/ 186397 h 223024"/>
                  <a:gd name="connsiteX3" fmla="*/ 10808 w 240180"/>
                  <a:gd name="connsiteY3" fmla="*/ 200121 h 223024"/>
                  <a:gd name="connsiteX4" fmla="*/ 41131 w 240180"/>
                  <a:gd name="connsiteY4" fmla="*/ 218435 h 223024"/>
                  <a:gd name="connsiteX5" fmla="*/ 72783 w 240180"/>
                  <a:gd name="connsiteY5" fmla="*/ 198620 h 223024"/>
                  <a:gd name="connsiteX6" fmla="*/ 187469 w 240180"/>
                  <a:gd name="connsiteY6" fmla="*/ 131499 h 223024"/>
                  <a:gd name="connsiteX7" fmla="*/ 195403 w 240180"/>
                  <a:gd name="connsiteY7" fmla="*/ 108596 h 223024"/>
                  <a:gd name="connsiteX8" fmla="*/ 198020 w 240180"/>
                  <a:gd name="connsiteY8" fmla="*/ 78101 h 223024"/>
                  <a:gd name="connsiteX9" fmla="*/ 195403 w 240180"/>
                  <a:gd name="connsiteY9" fmla="*/ 46063 h 223024"/>
                  <a:gd name="connsiteX10" fmla="*/ 216505 w 240180"/>
                  <a:gd name="connsiteY10" fmla="*/ 27792 h 223024"/>
                  <a:gd name="connsiteX11" fmla="*/ 236277 w 240180"/>
                  <a:gd name="connsiteY11" fmla="*/ 11023 h 223024"/>
                  <a:gd name="connsiteX12" fmla="*/ 223110 w 240180"/>
                  <a:gd name="connsiteY12" fmla="*/ 6433 h 223024"/>
                  <a:gd name="connsiteX13" fmla="*/ 186182 w 240180"/>
                  <a:gd name="connsiteY13" fmla="*/ 12524 h 223024"/>
                  <a:gd name="connsiteX14" fmla="*/ 141363 w 240180"/>
                  <a:gd name="connsiteY14" fmla="*/ 27792 h 223024"/>
                  <a:gd name="connsiteX15" fmla="*/ 103106 w 240180"/>
                  <a:gd name="connsiteY15" fmla="*/ 26291 h 223024"/>
                  <a:gd name="connsiteX16" fmla="*/ 82004 w 240180"/>
                  <a:gd name="connsiteY16" fmla="*/ 30837 h 223024"/>
                  <a:gd name="connsiteX17" fmla="*/ 51681 w 240180"/>
                  <a:gd name="connsiteY17" fmla="*/ 30837 h 223024"/>
                  <a:gd name="connsiteX18" fmla="*/ 38472 w 240180"/>
                  <a:gd name="connsiteY18" fmla="*/ 39973 h 223024"/>
                  <a:gd name="connsiteX19" fmla="*/ 18700 w 240180"/>
                  <a:gd name="connsiteY19" fmla="*/ 66779 h 223024"/>
                  <a:gd name="connsiteX20" fmla="*/ 18399 w 240180"/>
                  <a:gd name="connsiteY20" fmla="*/ 86250 h 223024"/>
                  <a:gd name="connsiteX21" fmla="*/ 15826 w 240180"/>
                  <a:gd name="connsiteY21" fmla="*/ 114857 h 223024"/>
                  <a:gd name="connsiteX22" fmla="*/ 31995 w 240180"/>
                  <a:gd name="connsiteY22" fmla="*/ 144923 h 22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0180" h="223024">
                    <a:moveTo>
                      <a:pt x="31995" y="144923"/>
                    </a:moveTo>
                    <a:cubicBezTo>
                      <a:pt x="26977" y="149984"/>
                      <a:pt x="14625" y="168683"/>
                      <a:pt x="6433" y="185539"/>
                    </a:cubicBezTo>
                    <a:lnTo>
                      <a:pt x="8149" y="186397"/>
                    </a:lnTo>
                    <a:lnTo>
                      <a:pt x="10808" y="200121"/>
                    </a:lnTo>
                    <a:lnTo>
                      <a:pt x="41131" y="218435"/>
                    </a:lnTo>
                    <a:cubicBezTo>
                      <a:pt x="41131" y="218435"/>
                      <a:pt x="63562" y="200121"/>
                      <a:pt x="72783" y="198620"/>
                    </a:cubicBezTo>
                    <a:cubicBezTo>
                      <a:pt x="82004" y="197119"/>
                      <a:pt x="187469" y="131499"/>
                      <a:pt x="187469" y="131499"/>
                    </a:cubicBezTo>
                    <a:cubicBezTo>
                      <a:pt x="187469" y="131499"/>
                      <a:pt x="196690" y="114729"/>
                      <a:pt x="195403" y="108596"/>
                    </a:cubicBezTo>
                    <a:cubicBezTo>
                      <a:pt x="194074" y="102505"/>
                      <a:pt x="192744" y="85693"/>
                      <a:pt x="198020" y="78101"/>
                    </a:cubicBezTo>
                    <a:cubicBezTo>
                      <a:pt x="203295" y="70467"/>
                      <a:pt x="191414" y="58286"/>
                      <a:pt x="195403" y="46063"/>
                    </a:cubicBezTo>
                    <a:cubicBezTo>
                      <a:pt x="199349" y="33839"/>
                      <a:pt x="216505" y="27792"/>
                      <a:pt x="216505" y="27792"/>
                    </a:cubicBezTo>
                    <a:lnTo>
                      <a:pt x="236277" y="11023"/>
                    </a:lnTo>
                    <a:lnTo>
                      <a:pt x="223110" y="6433"/>
                    </a:lnTo>
                    <a:cubicBezTo>
                      <a:pt x="223110" y="6433"/>
                      <a:pt x="205997" y="14068"/>
                      <a:pt x="186182" y="12524"/>
                    </a:cubicBezTo>
                    <a:cubicBezTo>
                      <a:pt x="166410" y="10980"/>
                      <a:pt x="162464" y="27792"/>
                      <a:pt x="141363" y="27792"/>
                    </a:cubicBezTo>
                    <a:cubicBezTo>
                      <a:pt x="120261" y="27792"/>
                      <a:pt x="108381" y="33839"/>
                      <a:pt x="103106" y="26291"/>
                    </a:cubicBezTo>
                    <a:cubicBezTo>
                      <a:pt x="97830" y="18657"/>
                      <a:pt x="96501" y="23246"/>
                      <a:pt x="82004" y="30837"/>
                    </a:cubicBezTo>
                    <a:cubicBezTo>
                      <a:pt x="67508" y="38472"/>
                      <a:pt x="58286" y="36971"/>
                      <a:pt x="51681" y="30837"/>
                    </a:cubicBezTo>
                    <a:cubicBezTo>
                      <a:pt x="45076" y="24747"/>
                      <a:pt x="39801" y="32381"/>
                      <a:pt x="38472" y="39973"/>
                    </a:cubicBezTo>
                    <a:cubicBezTo>
                      <a:pt x="37228" y="47135"/>
                      <a:pt x="39157" y="63519"/>
                      <a:pt x="18700" y="66779"/>
                    </a:cubicBezTo>
                    <a:cubicBezTo>
                      <a:pt x="17284" y="73812"/>
                      <a:pt x="14882" y="81146"/>
                      <a:pt x="18399" y="86250"/>
                    </a:cubicBezTo>
                    <a:cubicBezTo>
                      <a:pt x="23632" y="93799"/>
                      <a:pt x="17370" y="102677"/>
                      <a:pt x="15826" y="114857"/>
                    </a:cubicBezTo>
                    <a:cubicBezTo>
                      <a:pt x="41988" y="113528"/>
                      <a:pt x="38257" y="138575"/>
                      <a:pt x="31995" y="14492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86" name="Freeform: Shape 126">
                <a:extLst>
                  <a:ext uri="{FF2B5EF4-FFF2-40B4-BE49-F238E27FC236}">
                    <a16:creationId xmlns:a16="http://schemas.microsoft.com/office/drawing/2014/main" id="{5CA069FF-F51F-F5CA-8E10-4BE0A427D590}"/>
                  </a:ext>
                </a:extLst>
              </p:cNvPr>
              <p:cNvSpPr/>
              <p:nvPr/>
            </p:nvSpPr>
            <p:spPr>
              <a:xfrm>
                <a:off x="7878365" y="3431786"/>
                <a:ext cx="22963" cy="49205"/>
              </a:xfrm>
              <a:custGeom>
                <a:avLst/>
                <a:gdLst>
                  <a:gd name="connsiteX0" fmla="*/ 13467 w 30022"/>
                  <a:gd name="connsiteY0" fmla="*/ 6937 h 64333"/>
                  <a:gd name="connsiteX1" fmla="*/ 6433 w 30022"/>
                  <a:gd name="connsiteY1" fmla="*/ 34857 h 64333"/>
                  <a:gd name="connsiteX2" fmla="*/ 18786 w 30022"/>
                  <a:gd name="connsiteY2" fmla="*/ 59390 h 64333"/>
                  <a:gd name="connsiteX3" fmla="*/ 22431 w 30022"/>
                  <a:gd name="connsiteY3" fmla="*/ 14185 h 64333"/>
                  <a:gd name="connsiteX4" fmla="*/ 23589 w 30022"/>
                  <a:gd name="connsiteY4" fmla="*/ 6679 h 64333"/>
                  <a:gd name="connsiteX5" fmla="*/ 13467 w 30022"/>
                  <a:gd name="connsiteY5" fmla="*/ 6937 h 64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22" h="64333">
                    <a:moveTo>
                      <a:pt x="13467" y="6937"/>
                    </a:moveTo>
                    <a:cubicBezTo>
                      <a:pt x="8406" y="9295"/>
                      <a:pt x="6433" y="31383"/>
                      <a:pt x="6433" y="34857"/>
                    </a:cubicBezTo>
                    <a:cubicBezTo>
                      <a:pt x="6433" y="37345"/>
                      <a:pt x="9564" y="48539"/>
                      <a:pt x="18786" y="59390"/>
                    </a:cubicBezTo>
                    <a:cubicBezTo>
                      <a:pt x="20672" y="42449"/>
                      <a:pt x="21144" y="20232"/>
                      <a:pt x="22431" y="14185"/>
                    </a:cubicBezTo>
                    <a:cubicBezTo>
                      <a:pt x="22774" y="12641"/>
                      <a:pt x="23160" y="9939"/>
                      <a:pt x="23589" y="6679"/>
                    </a:cubicBezTo>
                    <a:cubicBezTo>
                      <a:pt x="18614" y="6336"/>
                      <a:pt x="14882" y="6293"/>
                      <a:pt x="13467" y="693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87" name="Freeform: Shape 127">
                <a:extLst>
                  <a:ext uri="{FF2B5EF4-FFF2-40B4-BE49-F238E27FC236}">
                    <a16:creationId xmlns:a16="http://schemas.microsoft.com/office/drawing/2014/main" id="{DB99071A-2D2F-077D-726C-75D3780B3941}"/>
                  </a:ext>
                </a:extLst>
              </p:cNvPr>
              <p:cNvSpPr/>
              <p:nvPr/>
            </p:nvSpPr>
            <p:spPr>
              <a:xfrm>
                <a:off x="7856452" y="3405961"/>
                <a:ext cx="45925" cy="131213"/>
              </a:xfrm>
              <a:custGeom>
                <a:avLst/>
                <a:gdLst>
                  <a:gd name="connsiteX0" fmla="*/ 29036 w 60045"/>
                  <a:gd name="connsiteY0" fmla="*/ 165724 h 171557"/>
                  <a:gd name="connsiteX1" fmla="*/ 32467 w 60045"/>
                  <a:gd name="connsiteY1" fmla="*/ 167912 h 171557"/>
                  <a:gd name="connsiteX2" fmla="*/ 43190 w 60045"/>
                  <a:gd name="connsiteY2" fmla="*/ 111898 h 171557"/>
                  <a:gd name="connsiteX3" fmla="*/ 47436 w 60045"/>
                  <a:gd name="connsiteY3" fmla="*/ 93156 h 171557"/>
                  <a:gd name="connsiteX4" fmla="*/ 35084 w 60045"/>
                  <a:gd name="connsiteY4" fmla="*/ 68623 h 171557"/>
                  <a:gd name="connsiteX5" fmla="*/ 42118 w 60045"/>
                  <a:gd name="connsiteY5" fmla="*/ 40702 h 171557"/>
                  <a:gd name="connsiteX6" fmla="*/ 52239 w 60045"/>
                  <a:gd name="connsiteY6" fmla="*/ 40402 h 171557"/>
                  <a:gd name="connsiteX7" fmla="*/ 54984 w 60045"/>
                  <a:gd name="connsiteY7" fmla="*/ 14754 h 171557"/>
                  <a:gd name="connsiteX8" fmla="*/ 38129 w 60045"/>
                  <a:gd name="connsiteY8" fmla="*/ 6433 h 171557"/>
                  <a:gd name="connsiteX9" fmla="*/ 32810 w 60045"/>
                  <a:gd name="connsiteY9" fmla="*/ 24533 h 171557"/>
                  <a:gd name="connsiteX10" fmla="*/ 6433 w 60045"/>
                  <a:gd name="connsiteY10" fmla="*/ 93242 h 171557"/>
                  <a:gd name="connsiteX11" fmla="*/ 30408 w 60045"/>
                  <a:gd name="connsiteY11" fmla="*/ 161264 h 171557"/>
                  <a:gd name="connsiteX12" fmla="*/ 29036 w 60045"/>
                  <a:gd name="connsiteY12" fmla="*/ 165724 h 171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045" h="171557">
                    <a:moveTo>
                      <a:pt x="29036" y="165724"/>
                    </a:moveTo>
                    <a:cubicBezTo>
                      <a:pt x="30151" y="166453"/>
                      <a:pt x="31266" y="167183"/>
                      <a:pt x="32467" y="167912"/>
                    </a:cubicBezTo>
                    <a:cubicBezTo>
                      <a:pt x="35255" y="144709"/>
                      <a:pt x="39587" y="117431"/>
                      <a:pt x="43190" y="111898"/>
                    </a:cubicBezTo>
                    <a:cubicBezTo>
                      <a:pt x="45163" y="108853"/>
                      <a:pt x="46492" y="101648"/>
                      <a:pt x="47436" y="93156"/>
                    </a:cubicBezTo>
                    <a:cubicBezTo>
                      <a:pt x="38215" y="82305"/>
                      <a:pt x="35084" y="71111"/>
                      <a:pt x="35084" y="68623"/>
                    </a:cubicBezTo>
                    <a:cubicBezTo>
                      <a:pt x="35084" y="65149"/>
                      <a:pt x="37056" y="43018"/>
                      <a:pt x="42118" y="40702"/>
                    </a:cubicBezTo>
                    <a:cubicBezTo>
                      <a:pt x="43533" y="40059"/>
                      <a:pt x="47264" y="40102"/>
                      <a:pt x="52239" y="40402"/>
                    </a:cubicBezTo>
                    <a:cubicBezTo>
                      <a:pt x="53140" y="33497"/>
                      <a:pt x="54169" y="23675"/>
                      <a:pt x="54984" y="14754"/>
                    </a:cubicBezTo>
                    <a:lnTo>
                      <a:pt x="38129" y="6433"/>
                    </a:lnTo>
                    <a:cubicBezTo>
                      <a:pt x="35598" y="12738"/>
                      <a:pt x="33582" y="18957"/>
                      <a:pt x="32810" y="24533"/>
                    </a:cubicBezTo>
                    <a:cubicBezTo>
                      <a:pt x="29980" y="45163"/>
                      <a:pt x="14197" y="79174"/>
                      <a:pt x="6433" y="93242"/>
                    </a:cubicBezTo>
                    <a:lnTo>
                      <a:pt x="30408" y="161264"/>
                    </a:lnTo>
                    <a:lnTo>
                      <a:pt x="29036" y="165724"/>
                    </a:ln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88" name="Freeform: Shape 128">
                <a:extLst>
                  <a:ext uri="{FF2B5EF4-FFF2-40B4-BE49-F238E27FC236}">
                    <a16:creationId xmlns:a16="http://schemas.microsoft.com/office/drawing/2014/main" id="{D50A8182-463C-684D-4D01-6BBB858493B4}"/>
                  </a:ext>
                </a:extLst>
              </p:cNvPr>
              <p:cNvSpPr/>
              <p:nvPr/>
            </p:nvSpPr>
            <p:spPr>
              <a:xfrm>
                <a:off x="7876396" y="3404026"/>
                <a:ext cx="114812" cy="144335"/>
              </a:xfrm>
              <a:custGeom>
                <a:avLst/>
                <a:gdLst>
                  <a:gd name="connsiteX0" fmla="*/ 136903 w 150112"/>
                  <a:gd name="connsiteY0" fmla="*/ 6433 h 188712"/>
                  <a:gd name="connsiteX1" fmla="*/ 94185 w 150112"/>
                  <a:gd name="connsiteY1" fmla="*/ 29765 h 188712"/>
                  <a:gd name="connsiteX2" fmla="*/ 62533 w 150112"/>
                  <a:gd name="connsiteY2" fmla="*/ 49580 h 188712"/>
                  <a:gd name="connsiteX3" fmla="*/ 32210 w 150112"/>
                  <a:gd name="connsiteY3" fmla="*/ 31266 h 188712"/>
                  <a:gd name="connsiteX4" fmla="*/ 29551 w 150112"/>
                  <a:gd name="connsiteY4" fmla="*/ 17542 h 188712"/>
                  <a:gd name="connsiteX5" fmla="*/ 28950 w 150112"/>
                  <a:gd name="connsiteY5" fmla="*/ 17241 h 188712"/>
                  <a:gd name="connsiteX6" fmla="*/ 25048 w 150112"/>
                  <a:gd name="connsiteY6" fmla="*/ 50438 h 188712"/>
                  <a:gd name="connsiteX7" fmla="*/ 17156 w 150112"/>
                  <a:gd name="connsiteY7" fmla="*/ 114429 h 188712"/>
                  <a:gd name="connsiteX8" fmla="*/ 6433 w 150112"/>
                  <a:gd name="connsiteY8" fmla="*/ 170442 h 188712"/>
                  <a:gd name="connsiteX9" fmla="*/ 36156 w 150112"/>
                  <a:gd name="connsiteY9" fmla="*/ 185325 h 188712"/>
                  <a:gd name="connsiteX10" fmla="*/ 62533 w 150112"/>
                  <a:gd name="connsiteY10" fmla="*/ 162465 h 188712"/>
                  <a:gd name="connsiteX11" fmla="*/ 83634 w 150112"/>
                  <a:gd name="connsiteY11" fmla="*/ 151785 h 188712"/>
                  <a:gd name="connsiteX12" fmla="*/ 103407 w 150112"/>
                  <a:gd name="connsiteY12" fmla="*/ 133472 h 188712"/>
                  <a:gd name="connsiteX13" fmla="*/ 78359 w 150112"/>
                  <a:gd name="connsiteY13" fmla="*/ 99932 h 188712"/>
                  <a:gd name="connsiteX14" fmla="*/ 111341 w 150112"/>
                  <a:gd name="connsiteY14" fmla="*/ 75528 h 188712"/>
                  <a:gd name="connsiteX15" fmla="*/ 145610 w 150112"/>
                  <a:gd name="connsiteY15" fmla="*/ 63347 h 188712"/>
                  <a:gd name="connsiteX16" fmla="*/ 147453 w 150112"/>
                  <a:gd name="connsiteY16" fmla="*/ 63347 h 188712"/>
                  <a:gd name="connsiteX17" fmla="*/ 139648 w 150112"/>
                  <a:gd name="connsiteY17" fmla="*/ 25390 h 188712"/>
                  <a:gd name="connsiteX18" fmla="*/ 136903 w 150112"/>
                  <a:gd name="connsiteY18" fmla="*/ 6433 h 188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0112" h="188712">
                    <a:moveTo>
                      <a:pt x="136903" y="6433"/>
                    </a:moveTo>
                    <a:cubicBezTo>
                      <a:pt x="115973" y="18828"/>
                      <a:pt x="97745" y="29165"/>
                      <a:pt x="94185" y="29765"/>
                    </a:cubicBezTo>
                    <a:cubicBezTo>
                      <a:pt x="84921" y="31266"/>
                      <a:pt x="62533" y="49580"/>
                      <a:pt x="62533" y="49580"/>
                    </a:cubicBezTo>
                    <a:lnTo>
                      <a:pt x="32210" y="31266"/>
                    </a:lnTo>
                    <a:lnTo>
                      <a:pt x="29551" y="17542"/>
                    </a:lnTo>
                    <a:lnTo>
                      <a:pt x="28950" y="17241"/>
                    </a:lnTo>
                    <a:cubicBezTo>
                      <a:pt x="27707" y="30408"/>
                      <a:pt x="26077" y="45591"/>
                      <a:pt x="25048" y="50438"/>
                    </a:cubicBezTo>
                    <a:cubicBezTo>
                      <a:pt x="23074" y="59616"/>
                      <a:pt x="23074" y="105293"/>
                      <a:pt x="17156" y="114429"/>
                    </a:cubicBezTo>
                    <a:cubicBezTo>
                      <a:pt x="13553" y="119961"/>
                      <a:pt x="9264" y="147239"/>
                      <a:pt x="6433" y="170442"/>
                    </a:cubicBezTo>
                    <a:cubicBezTo>
                      <a:pt x="17370" y="177304"/>
                      <a:pt x="30065" y="184510"/>
                      <a:pt x="36156" y="185325"/>
                    </a:cubicBezTo>
                    <a:cubicBezTo>
                      <a:pt x="48036" y="186826"/>
                      <a:pt x="62533" y="171600"/>
                      <a:pt x="62533" y="162465"/>
                    </a:cubicBezTo>
                    <a:cubicBezTo>
                      <a:pt x="62533" y="153329"/>
                      <a:pt x="73084" y="151785"/>
                      <a:pt x="83634" y="151785"/>
                    </a:cubicBezTo>
                    <a:cubicBezTo>
                      <a:pt x="94185" y="151785"/>
                      <a:pt x="95515" y="138061"/>
                      <a:pt x="103407" y="133472"/>
                    </a:cubicBezTo>
                    <a:cubicBezTo>
                      <a:pt x="111341" y="128882"/>
                      <a:pt x="86293" y="102977"/>
                      <a:pt x="78359" y="99932"/>
                    </a:cubicBezTo>
                    <a:cubicBezTo>
                      <a:pt x="70424" y="96887"/>
                      <a:pt x="84964" y="77072"/>
                      <a:pt x="111341" y="75528"/>
                    </a:cubicBezTo>
                    <a:cubicBezTo>
                      <a:pt x="137718" y="73984"/>
                      <a:pt x="131113" y="63347"/>
                      <a:pt x="145610" y="63347"/>
                    </a:cubicBezTo>
                    <a:cubicBezTo>
                      <a:pt x="146296" y="63347"/>
                      <a:pt x="146811" y="63347"/>
                      <a:pt x="147453" y="63347"/>
                    </a:cubicBezTo>
                    <a:cubicBezTo>
                      <a:pt x="144923" y="50009"/>
                      <a:pt x="141706" y="33882"/>
                      <a:pt x="139648" y="25390"/>
                    </a:cubicBezTo>
                    <a:cubicBezTo>
                      <a:pt x="138318" y="20329"/>
                      <a:pt x="137460" y="13510"/>
                      <a:pt x="136903" y="643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89" name="Freeform: Shape 130">
                <a:extLst>
                  <a:ext uri="{FF2B5EF4-FFF2-40B4-BE49-F238E27FC236}">
                    <a16:creationId xmlns:a16="http://schemas.microsoft.com/office/drawing/2014/main" id="{27C15F20-1730-DCBF-029E-11E32B6736A5}"/>
                  </a:ext>
                </a:extLst>
              </p:cNvPr>
              <p:cNvSpPr/>
              <p:nvPr/>
            </p:nvSpPr>
            <p:spPr>
              <a:xfrm>
                <a:off x="8003378" y="3051023"/>
                <a:ext cx="183699" cy="98410"/>
              </a:xfrm>
              <a:custGeom>
                <a:avLst/>
                <a:gdLst>
                  <a:gd name="connsiteX0" fmla="*/ 98002 w 240180"/>
                  <a:gd name="connsiteY0" fmla="*/ 98610 h 128667"/>
                  <a:gd name="connsiteX1" fmla="*/ 121677 w 240180"/>
                  <a:gd name="connsiteY1" fmla="*/ 120312 h 128667"/>
                  <a:gd name="connsiteX2" fmla="*/ 123135 w 240180"/>
                  <a:gd name="connsiteY2" fmla="*/ 122885 h 128667"/>
                  <a:gd name="connsiteX3" fmla="*/ 156975 w 240180"/>
                  <a:gd name="connsiteY3" fmla="*/ 114951 h 128667"/>
                  <a:gd name="connsiteX4" fmla="*/ 186611 w 240180"/>
                  <a:gd name="connsiteY4" fmla="*/ 118468 h 128667"/>
                  <a:gd name="connsiteX5" fmla="*/ 184896 w 240180"/>
                  <a:gd name="connsiteY5" fmla="*/ 110061 h 128667"/>
                  <a:gd name="connsiteX6" fmla="*/ 207627 w 240180"/>
                  <a:gd name="connsiteY6" fmla="*/ 118039 h 128667"/>
                  <a:gd name="connsiteX7" fmla="*/ 233275 w 240180"/>
                  <a:gd name="connsiteY7" fmla="*/ 120312 h 128667"/>
                  <a:gd name="connsiteX8" fmla="*/ 222424 w 240180"/>
                  <a:gd name="connsiteY8" fmla="*/ 103199 h 128667"/>
                  <a:gd name="connsiteX9" fmla="*/ 229114 w 240180"/>
                  <a:gd name="connsiteY9" fmla="*/ 89131 h 128667"/>
                  <a:gd name="connsiteX10" fmla="*/ 208571 w 240180"/>
                  <a:gd name="connsiteY10" fmla="*/ 76908 h 128667"/>
                  <a:gd name="connsiteX11" fmla="*/ 198191 w 240180"/>
                  <a:gd name="connsiteY11" fmla="*/ 52933 h 128667"/>
                  <a:gd name="connsiteX12" fmla="*/ 186354 w 240180"/>
                  <a:gd name="connsiteY12" fmla="*/ 47786 h 128667"/>
                  <a:gd name="connsiteX13" fmla="*/ 152300 w 240180"/>
                  <a:gd name="connsiteY13" fmla="*/ 52933 h 128667"/>
                  <a:gd name="connsiteX14" fmla="*/ 131584 w 240180"/>
                  <a:gd name="connsiteY14" fmla="*/ 40924 h 128667"/>
                  <a:gd name="connsiteX15" fmla="*/ 110826 w 240180"/>
                  <a:gd name="connsiteY15" fmla="*/ 25526 h 128667"/>
                  <a:gd name="connsiteX16" fmla="*/ 58973 w 240180"/>
                  <a:gd name="connsiteY16" fmla="*/ 20380 h 128667"/>
                  <a:gd name="connsiteX17" fmla="*/ 18957 w 240180"/>
                  <a:gd name="connsiteY17" fmla="*/ 6698 h 128667"/>
                  <a:gd name="connsiteX18" fmla="*/ 6433 w 240180"/>
                  <a:gd name="connsiteY18" fmla="*/ 13432 h 128667"/>
                  <a:gd name="connsiteX19" fmla="*/ 57986 w 240180"/>
                  <a:gd name="connsiteY19" fmla="*/ 46671 h 128667"/>
                  <a:gd name="connsiteX20" fmla="*/ 70810 w 240180"/>
                  <a:gd name="connsiteY20" fmla="*/ 86601 h 128667"/>
                  <a:gd name="connsiteX21" fmla="*/ 63090 w 240180"/>
                  <a:gd name="connsiteY21" fmla="*/ 99811 h 128667"/>
                  <a:gd name="connsiteX22" fmla="*/ 98002 w 240180"/>
                  <a:gd name="connsiteY22" fmla="*/ 98610 h 12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0180" h="128667">
                    <a:moveTo>
                      <a:pt x="98002" y="98610"/>
                    </a:moveTo>
                    <a:cubicBezTo>
                      <a:pt x="108853" y="92948"/>
                      <a:pt x="112799" y="106630"/>
                      <a:pt x="121677" y="120312"/>
                    </a:cubicBezTo>
                    <a:cubicBezTo>
                      <a:pt x="122277" y="121255"/>
                      <a:pt x="122663" y="122027"/>
                      <a:pt x="123135" y="122885"/>
                    </a:cubicBezTo>
                    <a:cubicBezTo>
                      <a:pt x="135315" y="120698"/>
                      <a:pt x="144580" y="116666"/>
                      <a:pt x="156975" y="114951"/>
                    </a:cubicBezTo>
                    <a:cubicBezTo>
                      <a:pt x="165896" y="113750"/>
                      <a:pt x="177476" y="115980"/>
                      <a:pt x="186611" y="118468"/>
                    </a:cubicBezTo>
                    <a:cubicBezTo>
                      <a:pt x="184982" y="115208"/>
                      <a:pt x="183952" y="112206"/>
                      <a:pt x="184896" y="110061"/>
                    </a:cubicBezTo>
                    <a:cubicBezTo>
                      <a:pt x="187855" y="103199"/>
                      <a:pt x="202652" y="112335"/>
                      <a:pt x="207627" y="118039"/>
                    </a:cubicBezTo>
                    <a:cubicBezTo>
                      <a:pt x="212559" y="123743"/>
                      <a:pt x="228343" y="126059"/>
                      <a:pt x="233275" y="120312"/>
                    </a:cubicBezTo>
                    <a:cubicBezTo>
                      <a:pt x="238207" y="114608"/>
                      <a:pt x="225383" y="108860"/>
                      <a:pt x="222424" y="103199"/>
                    </a:cubicBezTo>
                    <a:cubicBezTo>
                      <a:pt x="220923" y="100368"/>
                      <a:pt x="224825" y="94449"/>
                      <a:pt x="229114" y="89131"/>
                    </a:cubicBezTo>
                    <a:cubicBezTo>
                      <a:pt x="220536" y="83599"/>
                      <a:pt x="211659" y="75750"/>
                      <a:pt x="208571" y="76908"/>
                    </a:cubicBezTo>
                    <a:cubicBezTo>
                      <a:pt x="204110" y="78623"/>
                      <a:pt x="204110" y="52933"/>
                      <a:pt x="198191" y="52933"/>
                    </a:cubicBezTo>
                    <a:cubicBezTo>
                      <a:pt x="192273" y="52933"/>
                      <a:pt x="192273" y="47786"/>
                      <a:pt x="186354" y="47786"/>
                    </a:cubicBezTo>
                    <a:cubicBezTo>
                      <a:pt x="180435" y="47786"/>
                      <a:pt x="158219" y="47786"/>
                      <a:pt x="152300" y="52933"/>
                    </a:cubicBezTo>
                    <a:cubicBezTo>
                      <a:pt x="146381" y="58079"/>
                      <a:pt x="138961" y="40924"/>
                      <a:pt x="131584" y="40924"/>
                    </a:cubicBezTo>
                    <a:cubicBezTo>
                      <a:pt x="124164" y="40924"/>
                      <a:pt x="115286" y="32346"/>
                      <a:pt x="110826" y="25526"/>
                    </a:cubicBezTo>
                    <a:cubicBezTo>
                      <a:pt x="106365" y="18707"/>
                      <a:pt x="69352" y="28958"/>
                      <a:pt x="58973" y="20380"/>
                    </a:cubicBezTo>
                    <a:cubicBezTo>
                      <a:pt x="48593" y="11845"/>
                      <a:pt x="29336" y="4982"/>
                      <a:pt x="18957" y="6698"/>
                    </a:cubicBezTo>
                    <a:cubicBezTo>
                      <a:pt x="16298" y="7127"/>
                      <a:pt x="11709" y="9786"/>
                      <a:pt x="6433" y="13432"/>
                    </a:cubicBezTo>
                    <a:cubicBezTo>
                      <a:pt x="25905" y="26513"/>
                      <a:pt x="54169" y="23082"/>
                      <a:pt x="57986" y="46671"/>
                    </a:cubicBezTo>
                    <a:cubicBezTo>
                      <a:pt x="62447" y="74077"/>
                      <a:pt x="75785" y="63183"/>
                      <a:pt x="70810" y="86601"/>
                    </a:cubicBezTo>
                    <a:cubicBezTo>
                      <a:pt x="69824" y="91233"/>
                      <a:pt x="67036" y="95693"/>
                      <a:pt x="63090" y="99811"/>
                    </a:cubicBezTo>
                    <a:cubicBezTo>
                      <a:pt x="78487" y="101183"/>
                      <a:pt x="92941" y="101226"/>
                      <a:pt x="98002" y="9861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90" name="Freeform: Shape 164">
                <a:extLst>
                  <a:ext uri="{FF2B5EF4-FFF2-40B4-BE49-F238E27FC236}">
                    <a16:creationId xmlns:a16="http://schemas.microsoft.com/office/drawing/2014/main" id="{553A9BB3-17EA-F17A-3162-B51A1D7CDAFB}"/>
                  </a:ext>
                </a:extLst>
              </p:cNvPr>
              <p:cNvSpPr/>
              <p:nvPr/>
            </p:nvSpPr>
            <p:spPr>
              <a:xfrm>
                <a:off x="7870065" y="3447031"/>
                <a:ext cx="544536" cy="508452"/>
              </a:xfrm>
              <a:custGeom>
                <a:avLst/>
                <a:gdLst>
                  <a:gd name="connsiteX0" fmla="*/ 426834 w 711962"/>
                  <a:gd name="connsiteY0" fmla="*/ 142821 h 664784"/>
                  <a:gd name="connsiteX1" fmla="*/ 367475 w 711962"/>
                  <a:gd name="connsiteY1" fmla="*/ 135230 h 664784"/>
                  <a:gd name="connsiteX2" fmla="*/ 327931 w 711962"/>
                  <a:gd name="connsiteY2" fmla="*/ 119962 h 664784"/>
                  <a:gd name="connsiteX3" fmla="*/ 247514 w 711962"/>
                  <a:gd name="connsiteY3" fmla="*/ 51339 h 664784"/>
                  <a:gd name="connsiteX4" fmla="*/ 181550 w 711962"/>
                  <a:gd name="connsiteY4" fmla="*/ 7120 h 664784"/>
                  <a:gd name="connsiteX5" fmla="*/ 153844 w 711962"/>
                  <a:gd name="connsiteY5" fmla="*/ 7120 h 664784"/>
                  <a:gd name="connsiteX6" fmla="*/ 119575 w 711962"/>
                  <a:gd name="connsiteY6" fmla="*/ 19300 h 664784"/>
                  <a:gd name="connsiteX7" fmla="*/ 86593 w 711962"/>
                  <a:gd name="connsiteY7" fmla="*/ 43704 h 664784"/>
                  <a:gd name="connsiteX8" fmla="*/ 111641 w 711962"/>
                  <a:gd name="connsiteY8" fmla="*/ 77244 h 664784"/>
                  <a:gd name="connsiteX9" fmla="*/ 91869 w 711962"/>
                  <a:gd name="connsiteY9" fmla="*/ 95558 h 664784"/>
                  <a:gd name="connsiteX10" fmla="*/ 70767 w 711962"/>
                  <a:gd name="connsiteY10" fmla="*/ 106237 h 664784"/>
                  <a:gd name="connsiteX11" fmla="*/ 44390 w 711962"/>
                  <a:gd name="connsiteY11" fmla="*/ 129097 h 664784"/>
                  <a:gd name="connsiteX12" fmla="*/ 11194 w 711962"/>
                  <a:gd name="connsiteY12" fmla="*/ 112027 h 664784"/>
                  <a:gd name="connsiteX13" fmla="*/ 7720 w 711962"/>
                  <a:gd name="connsiteY13" fmla="*/ 123092 h 664784"/>
                  <a:gd name="connsiteX14" fmla="*/ 6433 w 711962"/>
                  <a:gd name="connsiteY14" fmla="*/ 133557 h 664784"/>
                  <a:gd name="connsiteX15" fmla="*/ 12009 w 711962"/>
                  <a:gd name="connsiteY15" fmla="*/ 177562 h 664784"/>
                  <a:gd name="connsiteX16" fmla="*/ 39158 w 711962"/>
                  <a:gd name="connsiteY16" fmla="*/ 215819 h 664784"/>
                  <a:gd name="connsiteX17" fmla="*/ 87537 w 711962"/>
                  <a:gd name="connsiteY17" fmla="*/ 302584 h 664784"/>
                  <a:gd name="connsiteX18" fmla="*/ 113185 w 711962"/>
                  <a:gd name="connsiteY18" fmla="*/ 345430 h 664784"/>
                  <a:gd name="connsiteX19" fmla="*/ 143293 w 711962"/>
                  <a:gd name="connsiteY19" fmla="*/ 388877 h 664784"/>
                  <a:gd name="connsiteX20" fmla="*/ 151699 w 711962"/>
                  <a:gd name="connsiteY20" fmla="*/ 431681 h 664784"/>
                  <a:gd name="connsiteX21" fmla="*/ 178891 w 711962"/>
                  <a:gd name="connsiteY21" fmla="*/ 496787 h 664784"/>
                  <a:gd name="connsiteX22" fmla="*/ 217406 w 711962"/>
                  <a:gd name="connsiteY22" fmla="*/ 547611 h 664784"/>
                  <a:gd name="connsiteX23" fmla="*/ 247986 w 711962"/>
                  <a:gd name="connsiteY23" fmla="*/ 606455 h 664784"/>
                  <a:gd name="connsiteX24" fmla="*/ 259352 w 711962"/>
                  <a:gd name="connsiteY24" fmla="*/ 636134 h 664784"/>
                  <a:gd name="connsiteX25" fmla="*/ 270331 w 711962"/>
                  <a:gd name="connsiteY25" fmla="*/ 658565 h 664784"/>
                  <a:gd name="connsiteX26" fmla="*/ 285771 w 711962"/>
                  <a:gd name="connsiteY26" fmla="*/ 648830 h 664784"/>
                  <a:gd name="connsiteX27" fmla="*/ 284828 w 711962"/>
                  <a:gd name="connsiteY27" fmla="*/ 627814 h 664784"/>
                  <a:gd name="connsiteX28" fmla="*/ 299153 w 711962"/>
                  <a:gd name="connsiteY28" fmla="*/ 613489 h 664784"/>
                  <a:gd name="connsiteX29" fmla="*/ 323943 w 711962"/>
                  <a:gd name="connsiteY29" fmla="*/ 617906 h 664784"/>
                  <a:gd name="connsiteX30" fmla="*/ 364988 w 711962"/>
                  <a:gd name="connsiteY30" fmla="*/ 622324 h 664784"/>
                  <a:gd name="connsiteX31" fmla="*/ 411737 w 711962"/>
                  <a:gd name="connsiteY31" fmla="*/ 631159 h 664784"/>
                  <a:gd name="connsiteX32" fmla="*/ 434640 w 711962"/>
                  <a:gd name="connsiteY32" fmla="*/ 621209 h 664784"/>
                  <a:gd name="connsiteX33" fmla="*/ 486193 w 711962"/>
                  <a:gd name="connsiteY33" fmla="*/ 569313 h 664784"/>
                  <a:gd name="connsiteX34" fmla="*/ 552071 w 711962"/>
                  <a:gd name="connsiteY34" fmla="*/ 564895 h 664784"/>
                  <a:gd name="connsiteX35" fmla="*/ 686615 w 711962"/>
                  <a:gd name="connsiteY35" fmla="*/ 514157 h 664784"/>
                  <a:gd name="connsiteX36" fmla="*/ 709518 w 711962"/>
                  <a:gd name="connsiteY36" fmla="*/ 433568 h 664784"/>
                  <a:gd name="connsiteX37" fmla="*/ 692362 w 711962"/>
                  <a:gd name="connsiteY37" fmla="*/ 405990 h 664784"/>
                  <a:gd name="connsiteX38" fmla="*/ 608385 w 711962"/>
                  <a:gd name="connsiteY38" fmla="*/ 394968 h 664784"/>
                  <a:gd name="connsiteX39" fmla="*/ 583209 w 711962"/>
                  <a:gd name="connsiteY39" fmla="*/ 353494 h 664784"/>
                  <a:gd name="connsiteX40" fmla="*/ 569356 w 711962"/>
                  <a:gd name="connsiteY40" fmla="*/ 328789 h 664784"/>
                  <a:gd name="connsiteX41" fmla="*/ 541435 w 711962"/>
                  <a:gd name="connsiteY41" fmla="*/ 306573 h 664784"/>
                  <a:gd name="connsiteX42" fmla="*/ 523592 w 711962"/>
                  <a:gd name="connsiteY42" fmla="*/ 264927 h 664784"/>
                  <a:gd name="connsiteX43" fmla="*/ 508796 w 711962"/>
                  <a:gd name="connsiteY43" fmla="*/ 223239 h 664784"/>
                  <a:gd name="connsiteX44" fmla="*/ 474741 w 711962"/>
                  <a:gd name="connsiteY44" fmla="*/ 177562 h 664784"/>
                  <a:gd name="connsiteX45" fmla="*/ 470538 w 711962"/>
                  <a:gd name="connsiteY45" fmla="*/ 161178 h 664784"/>
                  <a:gd name="connsiteX46" fmla="*/ 443947 w 711962"/>
                  <a:gd name="connsiteY46" fmla="*/ 159591 h 664784"/>
                  <a:gd name="connsiteX47" fmla="*/ 426834 w 711962"/>
                  <a:gd name="connsiteY47" fmla="*/ 142821 h 66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11962" h="664784">
                    <a:moveTo>
                      <a:pt x="426834" y="142821"/>
                    </a:moveTo>
                    <a:cubicBezTo>
                      <a:pt x="426834" y="142821"/>
                      <a:pt x="375410" y="135230"/>
                      <a:pt x="367475" y="135230"/>
                    </a:cubicBezTo>
                    <a:cubicBezTo>
                      <a:pt x="359541" y="135230"/>
                      <a:pt x="339812" y="132185"/>
                      <a:pt x="327931" y="119962"/>
                    </a:cubicBezTo>
                    <a:cubicBezTo>
                      <a:pt x="316051" y="107738"/>
                      <a:pt x="258065" y="57429"/>
                      <a:pt x="247514" y="51339"/>
                    </a:cubicBezTo>
                    <a:cubicBezTo>
                      <a:pt x="236963" y="45248"/>
                      <a:pt x="193431" y="8621"/>
                      <a:pt x="181550" y="7120"/>
                    </a:cubicBezTo>
                    <a:cubicBezTo>
                      <a:pt x="169670" y="5576"/>
                      <a:pt x="168383" y="7120"/>
                      <a:pt x="153844" y="7120"/>
                    </a:cubicBezTo>
                    <a:cubicBezTo>
                      <a:pt x="139347" y="7120"/>
                      <a:pt x="145952" y="17799"/>
                      <a:pt x="119575" y="19300"/>
                    </a:cubicBezTo>
                    <a:cubicBezTo>
                      <a:pt x="93198" y="20844"/>
                      <a:pt x="78702" y="40659"/>
                      <a:pt x="86593" y="43704"/>
                    </a:cubicBezTo>
                    <a:cubicBezTo>
                      <a:pt x="94528" y="46750"/>
                      <a:pt x="119575" y="72655"/>
                      <a:pt x="111641" y="77244"/>
                    </a:cubicBezTo>
                    <a:cubicBezTo>
                      <a:pt x="103749" y="81833"/>
                      <a:pt x="102420" y="95558"/>
                      <a:pt x="91869" y="95558"/>
                    </a:cubicBezTo>
                    <a:cubicBezTo>
                      <a:pt x="81318" y="95558"/>
                      <a:pt x="70767" y="97102"/>
                      <a:pt x="70767" y="106237"/>
                    </a:cubicBezTo>
                    <a:cubicBezTo>
                      <a:pt x="70767" y="115372"/>
                      <a:pt x="56271" y="130598"/>
                      <a:pt x="44390" y="129097"/>
                    </a:cubicBezTo>
                    <a:cubicBezTo>
                      <a:pt x="37657" y="128239"/>
                      <a:pt x="22774" y="119447"/>
                      <a:pt x="11194" y="112027"/>
                    </a:cubicBezTo>
                    <a:lnTo>
                      <a:pt x="7720" y="123092"/>
                    </a:lnTo>
                    <a:lnTo>
                      <a:pt x="6433" y="133557"/>
                    </a:lnTo>
                    <a:cubicBezTo>
                      <a:pt x="8750" y="141621"/>
                      <a:pt x="5275" y="174945"/>
                      <a:pt x="12009" y="177562"/>
                    </a:cubicBezTo>
                    <a:cubicBezTo>
                      <a:pt x="19429" y="180435"/>
                      <a:pt x="23374" y="195833"/>
                      <a:pt x="39158" y="215819"/>
                    </a:cubicBezTo>
                    <a:cubicBezTo>
                      <a:pt x="54941" y="235763"/>
                      <a:pt x="87023" y="289460"/>
                      <a:pt x="87537" y="302584"/>
                    </a:cubicBezTo>
                    <a:cubicBezTo>
                      <a:pt x="88009" y="315751"/>
                      <a:pt x="93456" y="330033"/>
                      <a:pt x="113185" y="345430"/>
                    </a:cubicBezTo>
                    <a:cubicBezTo>
                      <a:pt x="132957" y="360871"/>
                      <a:pt x="132957" y="379699"/>
                      <a:pt x="143293" y="388877"/>
                    </a:cubicBezTo>
                    <a:cubicBezTo>
                      <a:pt x="153672" y="398013"/>
                      <a:pt x="151228" y="408821"/>
                      <a:pt x="151699" y="431681"/>
                    </a:cubicBezTo>
                    <a:cubicBezTo>
                      <a:pt x="152171" y="454498"/>
                      <a:pt x="161092" y="484178"/>
                      <a:pt x="178891" y="496787"/>
                    </a:cubicBezTo>
                    <a:cubicBezTo>
                      <a:pt x="196647" y="509354"/>
                      <a:pt x="209000" y="523035"/>
                      <a:pt x="217406" y="547611"/>
                    </a:cubicBezTo>
                    <a:cubicBezTo>
                      <a:pt x="225769" y="572186"/>
                      <a:pt x="236663" y="593288"/>
                      <a:pt x="247986" y="606455"/>
                    </a:cubicBezTo>
                    <a:cubicBezTo>
                      <a:pt x="259352" y="619579"/>
                      <a:pt x="252918" y="626398"/>
                      <a:pt x="259352" y="636134"/>
                    </a:cubicBezTo>
                    <a:cubicBezTo>
                      <a:pt x="262654" y="641109"/>
                      <a:pt x="267200" y="649645"/>
                      <a:pt x="270331" y="658565"/>
                    </a:cubicBezTo>
                    <a:cubicBezTo>
                      <a:pt x="279123" y="653719"/>
                      <a:pt x="285257" y="649945"/>
                      <a:pt x="285771" y="648830"/>
                    </a:cubicBezTo>
                    <a:cubicBezTo>
                      <a:pt x="287658" y="644412"/>
                      <a:pt x="281954" y="632231"/>
                      <a:pt x="284828" y="627814"/>
                    </a:cubicBezTo>
                    <a:cubicBezTo>
                      <a:pt x="287658" y="623396"/>
                      <a:pt x="293406" y="615676"/>
                      <a:pt x="299153" y="613489"/>
                    </a:cubicBezTo>
                    <a:cubicBezTo>
                      <a:pt x="304857" y="611259"/>
                      <a:pt x="311548" y="620094"/>
                      <a:pt x="323943" y="617906"/>
                    </a:cubicBezTo>
                    <a:cubicBezTo>
                      <a:pt x="336381" y="615719"/>
                      <a:pt x="362114" y="619022"/>
                      <a:pt x="364988" y="622324"/>
                    </a:cubicBezTo>
                    <a:cubicBezTo>
                      <a:pt x="367819" y="625626"/>
                      <a:pt x="403159" y="623439"/>
                      <a:pt x="411737" y="631159"/>
                    </a:cubicBezTo>
                    <a:cubicBezTo>
                      <a:pt x="420315" y="638879"/>
                      <a:pt x="428893" y="636649"/>
                      <a:pt x="434640" y="621209"/>
                    </a:cubicBezTo>
                    <a:cubicBezTo>
                      <a:pt x="440387" y="605769"/>
                      <a:pt x="480446" y="572658"/>
                      <a:pt x="486193" y="569313"/>
                    </a:cubicBezTo>
                    <a:cubicBezTo>
                      <a:pt x="491897" y="566010"/>
                      <a:pt x="534872" y="569313"/>
                      <a:pt x="552071" y="564895"/>
                    </a:cubicBezTo>
                    <a:cubicBezTo>
                      <a:pt x="569227" y="560478"/>
                      <a:pt x="681854" y="518575"/>
                      <a:pt x="686615" y="514157"/>
                    </a:cubicBezTo>
                    <a:cubicBezTo>
                      <a:pt x="691375" y="509739"/>
                      <a:pt x="709518" y="441331"/>
                      <a:pt x="709518" y="433568"/>
                    </a:cubicBezTo>
                    <a:cubicBezTo>
                      <a:pt x="709518" y="425848"/>
                      <a:pt x="700940" y="404875"/>
                      <a:pt x="692362" y="405990"/>
                    </a:cubicBezTo>
                    <a:cubicBezTo>
                      <a:pt x="683742" y="407062"/>
                      <a:pt x="613145" y="398270"/>
                      <a:pt x="608385" y="394968"/>
                    </a:cubicBezTo>
                    <a:cubicBezTo>
                      <a:pt x="604525" y="392266"/>
                      <a:pt x="585782" y="375968"/>
                      <a:pt x="583209" y="353494"/>
                    </a:cubicBezTo>
                    <a:cubicBezTo>
                      <a:pt x="577676" y="348562"/>
                      <a:pt x="571242" y="337968"/>
                      <a:pt x="569356" y="328789"/>
                    </a:cubicBezTo>
                    <a:cubicBezTo>
                      <a:pt x="561206" y="329990"/>
                      <a:pt x="548511" y="327846"/>
                      <a:pt x="541435" y="306573"/>
                    </a:cubicBezTo>
                    <a:cubicBezTo>
                      <a:pt x="534872" y="301383"/>
                      <a:pt x="517545" y="272905"/>
                      <a:pt x="523592" y="264927"/>
                    </a:cubicBezTo>
                    <a:cubicBezTo>
                      <a:pt x="531012" y="255234"/>
                      <a:pt x="519647" y="234691"/>
                      <a:pt x="508796" y="223239"/>
                    </a:cubicBezTo>
                    <a:cubicBezTo>
                      <a:pt x="497945" y="211830"/>
                      <a:pt x="475728" y="190686"/>
                      <a:pt x="474741" y="177562"/>
                    </a:cubicBezTo>
                    <a:cubicBezTo>
                      <a:pt x="474484" y="173959"/>
                      <a:pt x="472769" y="167997"/>
                      <a:pt x="470538" y="161178"/>
                    </a:cubicBezTo>
                    <a:lnTo>
                      <a:pt x="443947" y="159591"/>
                    </a:lnTo>
                    <a:lnTo>
                      <a:pt x="426834" y="142821"/>
                    </a:ln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91" name="Freeform: Shape 170">
                <a:extLst>
                  <a:ext uri="{FF2B5EF4-FFF2-40B4-BE49-F238E27FC236}">
                    <a16:creationId xmlns:a16="http://schemas.microsoft.com/office/drawing/2014/main" id="{90FA1556-AD47-14E8-8EF2-70A2B81EDD25}"/>
                  </a:ext>
                </a:extLst>
              </p:cNvPr>
              <p:cNvSpPr/>
              <p:nvPr/>
            </p:nvSpPr>
            <p:spPr>
              <a:xfrm>
                <a:off x="7976184" y="3268030"/>
                <a:ext cx="259147" cy="288670"/>
              </a:xfrm>
              <a:custGeom>
                <a:avLst/>
                <a:gdLst>
                  <a:gd name="connsiteX0" fmla="*/ 281354 w 338825"/>
                  <a:gd name="connsiteY0" fmla="*/ 339888 h 377425"/>
                  <a:gd name="connsiteX1" fmla="*/ 296623 w 338825"/>
                  <a:gd name="connsiteY1" fmla="*/ 325692 h 377425"/>
                  <a:gd name="connsiteX2" fmla="*/ 318711 w 338825"/>
                  <a:gd name="connsiteY2" fmla="*/ 340060 h 377425"/>
                  <a:gd name="connsiteX3" fmla="*/ 333293 w 338825"/>
                  <a:gd name="connsiteY3" fmla="*/ 331010 h 377425"/>
                  <a:gd name="connsiteX4" fmla="*/ 314465 w 338825"/>
                  <a:gd name="connsiteY4" fmla="*/ 300602 h 377425"/>
                  <a:gd name="connsiteX5" fmla="*/ 302584 w 338825"/>
                  <a:gd name="connsiteY5" fmla="*/ 274654 h 377425"/>
                  <a:gd name="connsiteX6" fmla="*/ 305243 w 338825"/>
                  <a:gd name="connsiteY6" fmla="*/ 248705 h 377425"/>
                  <a:gd name="connsiteX7" fmla="*/ 289460 w 338825"/>
                  <a:gd name="connsiteY7" fmla="*/ 225846 h 377425"/>
                  <a:gd name="connsiteX8" fmla="*/ 252489 w 338825"/>
                  <a:gd name="connsiteY8" fmla="*/ 196852 h 377425"/>
                  <a:gd name="connsiteX9" fmla="*/ 236706 w 338825"/>
                  <a:gd name="connsiteY9" fmla="*/ 175493 h 377425"/>
                  <a:gd name="connsiteX10" fmla="*/ 232760 w 338825"/>
                  <a:gd name="connsiteY10" fmla="*/ 140410 h 377425"/>
                  <a:gd name="connsiteX11" fmla="*/ 245927 w 338825"/>
                  <a:gd name="connsiteY11" fmla="*/ 109916 h 377425"/>
                  <a:gd name="connsiteX12" fmla="*/ 249873 w 338825"/>
                  <a:gd name="connsiteY12" fmla="*/ 87056 h 377425"/>
                  <a:gd name="connsiteX13" fmla="*/ 236706 w 338825"/>
                  <a:gd name="connsiteY13" fmla="*/ 73331 h 377425"/>
                  <a:gd name="connsiteX14" fmla="*/ 218221 w 338825"/>
                  <a:gd name="connsiteY14" fmla="*/ 50428 h 377425"/>
                  <a:gd name="connsiteX15" fmla="*/ 206340 w 338825"/>
                  <a:gd name="connsiteY15" fmla="*/ 19977 h 377425"/>
                  <a:gd name="connsiteX16" fmla="*/ 171086 w 338825"/>
                  <a:gd name="connsiteY16" fmla="*/ 13544 h 377425"/>
                  <a:gd name="connsiteX17" fmla="*/ 141449 w 338825"/>
                  <a:gd name="connsiteY17" fmla="*/ 6681 h 377425"/>
                  <a:gd name="connsiteX18" fmla="*/ 126566 w 338825"/>
                  <a:gd name="connsiteY18" fmla="*/ 19762 h 377425"/>
                  <a:gd name="connsiteX19" fmla="*/ 127210 w 338825"/>
                  <a:gd name="connsiteY19" fmla="*/ 19977 h 377425"/>
                  <a:gd name="connsiteX20" fmla="*/ 107438 w 338825"/>
                  <a:gd name="connsiteY20" fmla="*/ 36747 h 377425"/>
                  <a:gd name="connsiteX21" fmla="*/ 86336 w 338825"/>
                  <a:gd name="connsiteY21" fmla="*/ 55017 h 377425"/>
                  <a:gd name="connsiteX22" fmla="*/ 88952 w 338825"/>
                  <a:gd name="connsiteY22" fmla="*/ 87056 h 377425"/>
                  <a:gd name="connsiteX23" fmla="*/ 86336 w 338825"/>
                  <a:gd name="connsiteY23" fmla="*/ 117550 h 377425"/>
                  <a:gd name="connsiteX24" fmla="*/ 78402 w 338825"/>
                  <a:gd name="connsiteY24" fmla="*/ 140453 h 377425"/>
                  <a:gd name="connsiteX25" fmla="*/ 6433 w 338825"/>
                  <a:gd name="connsiteY25" fmla="*/ 184243 h 377425"/>
                  <a:gd name="connsiteX26" fmla="*/ 9135 w 338825"/>
                  <a:gd name="connsiteY26" fmla="*/ 203157 h 377425"/>
                  <a:gd name="connsiteX27" fmla="*/ 16941 w 338825"/>
                  <a:gd name="connsiteY27" fmla="*/ 241114 h 377425"/>
                  <a:gd name="connsiteX28" fmla="*/ 42803 w 338825"/>
                  <a:gd name="connsiteY28" fmla="*/ 241114 h 377425"/>
                  <a:gd name="connsiteX29" fmla="*/ 108767 w 338825"/>
                  <a:gd name="connsiteY29" fmla="*/ 285333 h 377425"/>
                  <a:gd name="connsiteX30" fmla="*/ 189185 w 338825"/>
                  <a:gd name="connsiteY30" fmla="*/ 353956 h 377425"/>
                  <a:gd name="connsiteX31" fmla="*/ 228728 w 338825"/>
                  <a:gd name="connsiteY31" fmla="*/ 369225 h 377425"/>
                  <a:gd name="connsiteX32" fmla="*/ 267458 w 338825"/>
                  <a:gd name="connsiteY32" fmla="*/ 373899 h 377425"/>
                  <a:gd name="connsiteX33" fmla="*/ 281354 w 338825"/>
                  <a:gd name="connsiteY33" fmla="*/ 339888 h 37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8825" h="377425">
                    <a:moveTo>
                      <a:pt x="281354" y="339888"/>
                    </a:moveTo>
                    <a:cubicBezTo>
                      <a:pt x="285600" y="334656"/>
                      <a:pt x="286372" y="327450"/>
                      <a:pt x="296623" y="325692"/>
                    </a:cubicBezTo>
                    <a:cubicBezTo>
                      <a:pt x="304729" y="324319"/>
                      <a:pt x="309789" y="330452"/>
                      <a:pt x="318711" y="340060"/>
                    </a:cubicBezTo>
                    <a:cubicBezTo>
                      <a:pt x="322099" y="336200"/>
                      <a:pt x="327846" y="332854"/>
                      <a:pt x="333293" y="331010"/>
                    </a:cubicBezTo>
                    <a:cubicBezTo>
                      <a:pt x="324372" y="320331"/>
                      <a:pt x="313650" y="307979"/>
                      <a:pt x="314465" y="300602"/>
                    </a:cubicBezTo>
                    <a:cubicBezTo>
                      <a:pt x="315794" y="288421"/>
                      <a:pt x="303914" y="282331"/>
                      <a:pt x="302584" y="274654"/>
                    </a:cubicBezTo>
                    <a:cubicBezTo>
                      <a:pt x="301297" y="267062"/>
                      <a:pt x="310519" y="254839"/>
                      <a:pt x="305243" y="248705"/>
                    </a:cubicBezTo>
                    <a:cubicBezTo>
                      <a:pt x="299968" y="242615"/>
                      <a:pt x="298638" y="227347"/>
                      <a:pt x="289460" y="225846"/>
                    </a:cubicBezTo>
                    <a:cubicBezTo>
                      <a:pt x="280196" y="224301"/>
                      <a:pt x="251160" y="207575"/>
                      <a:pt x="252489" y="196852"/>
                    </a:cubicBezTo>
                    <a:cubicBezTo>
                      <a:pt x="253819" y="186173"/>
                      <a:pt x="241982" y="178539"/>
                      <a:pt x="236706" y="175493"/>
                    </a:cubicBezTo>
                    <a:cubicBezTo>
                      <a:pt x="231431" y="172448"/>
                      <a:pt x="226155" y="144999"/>
                      <a:pt x="232760" y="140410"/>
                    </a:cubicBezTo>
                    <a:cubicBezTo>
                      <a:pt x="239323" y="135864"/>
                      <a:pt x="238036" y="109916"/>
                      <a:pt x="245927" y="109916"/>
                    </a:cubicBezTo>
                    <a:cubicBezTo>
                      <a:pt x="253819" y="109916"/>
                      <a:pt x="247257" y="96191"/>
                      <a:pt x="249873" y="87056"/>
                    </a:cubicBezTo>
                    <a:cubicBezTo>
                      <a:pt x="252489" y="77920"/>
                      <a:pt x="243311" y="73331"/>
                      <a:pt x="236706" y="73331"/>
                    </a:cubicBezTo>
                    <a:cubicBezTo>
                      <a:pt x="230101" y="73331"/>
                      <a:pt x="218221" y="61108"/>
                      <a:pt x="218221" y="50428"/>
                    </a:cubicBezTo>
                    <a:cubicBezTo>
                      <a:pt x="218221" y="39749"/>
                      <a:pt x="205011" y="24523"/>
                      <a:pt x="206340" y="19977"/>
                    </a:cubicBezTo>
                    <a:cubicBezTo>
                      <a:pt x="204067" y="40092"/>
                      <a:pt x="178934" y="8954"/>
                      <a:pt x="171086" y="13544"/>
                    </a:cubicBezTo>
                    <a:cubicBezTo>
                      <a:pt x="163194" y="18133"/>
                      <a:pt x="157275" y="4451"/>
                      <a:pt x="141449" y="6681"/>
                    </a:cubicBezTo>
                    <a:cubicBezTo>
                      <a:pt x="131370" y="8139"/>
                      <a:pt x="131713" y="14316"/>
                      <a:pt x="126566" y="19762"/>
                    </a:cubicBezTo>
                    <a:lnTo>
                      <a:pt x="127210" y="19977"/>
                    </a:lnTo>
                    <a:lnTo>
                      <a:pt x="107438" y="36747"/>
                    </a:lnTo>
                    <a:cubicBezTo>
                      <a:pt x="107438" y="36747"/>
                      <a:pt x="90325" y="42794"/>
                      <a:pt x="86336" y="55017"/>
                    </a:cubicBezTo>
                    <a:cubicBezTo>
                      <a:pt x="82390" y="67241"/>
                      <a:pt x="94228" y="79464"/>
                      <a:pt x="88952" y="87056"/>
                    </a:cubicBezTo>
                    <a:cubicBezTo>
                      <a:pt x="83677" y="94647"/>
                      <a:pt x="85007" y="111460"/>
                      <a:pt x="86336" y="117550"/>
                    </a:cubicBezTo>
                    <a:cubicBezTo>
                      <a:pt x="87666" y="123683"/>
                      <a:pt x="78402" y="140453"/>
                      <a:pt x="78402" y="140453"/>
                    </a:cubicBezTo>
                    <a:cubicBezTo>
                      <a:pt x="78402" y="140453"/>
                      <a:pt x="39158" y="164857"/>
                      <a:pt x="6433" y="184243"/>
                    </a:cubicBezTo>
                    <a:cubicBezTo>
                      <a:pt x="7034" y="191277"/>
                      <a:pt x="7849" y="198139"/>
                      <a:pt x="9135" y="203157"/>
                    </a:cubicBezTo>
                    <a:cubicBezTo>
                      <a:pt x="11194" y="211606"/>
                      <a:pt x="14411" y="227775"/>
                      <a:pt x="16941" y="241114"/>
                    </a:cubicBezTo>
                    <a:cubicBezTo>
                      <a:pt x="29637" y="240985"/>
                      <a:pt x="31481" y="239699"/>
                      <a:pt x="42803" y="241114"/>
                    </a:cubicBezTo>
                    <a:cubicBezTo>
                      <a:pt x="54684" y="242658"/>
                      <a:pt x="98217" y="279243"/>
                      <a:pt x="108767" y="285333"/>
                    </a:cubicBezTo>
                    <a:cubicBezTo>
                      <a:pt x="119318" y="291423"/>
                      <a:pt x="177304" y="341732"/>
                      <a:pt x="189185" y="353956"/>
                    </a:cubicBezTo>
                    <a:cubicBezTo>
                      <a:pt x="201065" y="366136"/>
                      <a:pt x="220837" y="369225"/>
                      <a:pt x="228728" y="369225"/>
                    </a:cubicBezTo>
                    <a:cubicBezTo>
                      <a:pt x="233275" y="369225"/>
                      <a:pt x="252189" y="371755"/>
                      <a:pt x="267458" y="373899"/>
                    </a:cubicBezTo>
                    <a:cubicBezTo>
                      <a:pt x="272090" y="360904"/>
                      <a:pt x="278695" y="343105"/>
                      <a:pt x="281354" y="33988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92" name="Freeform: Shape 283">
                <a:extLst>
                  <a:ext uri="{FF2B5EF4-FFF2-40B4-BE49-F238E27FC236}">
                    <a16:creationId xmlns:a16="http://schemas.microsoft.com/office/drawing/2014/main" id="{B9B47C7F-3772-F562-98FB-9CF142D44DF1}"/>
                  </a:ext>
                </a:extLst>
              </p:cNvPr>
              <p:cNvSpPr/>
              <p:nvPr/>
            </p:nvSpPr>
            <p:spPr>
              <a:xfrm>
                <a:off x="8071938" y="3865930"/>
                <a:ext cx="278829" cy="200101"/>
              </a:xfrm>
              <a:custGeom>
                <a:avLst/>
                <a:gdLst>
                  <a:gd name="connsiteX0" fmla="*/ 288173 w 364559"/>
                  <a:gd name="connsiteY0" fmla="*/ 17199 h 261624"/>
                  <a:gd name="connsiteX1" fmla="*/ 222295 w 364559"/>
                  <a:gd name="connsiteY1" fmla="*/ 21616 h 261624"/>
                  <a:gd name="connsiteX2" fmla="*/ 170742 w 364559"/>
                  <a:gd name="connsiteY2" fmla="*/ 73512 h 261624"/>
                  <a:gd name="connsiteX3" fmla="*/ 147839 w 364559"/>
                  <a:gd name="connsiteY3" fmla="*/ 83462 h 261624"/>
                  <a:gd name="connsiteX4" fmla="*/ 101090 w 364559"/>
                  <a:gd name="connsiteY4" fmla="*/ 74627 h 261624"/>
                  <a:gd name="connsiteX5" fmla="*/ 60045 w 364559"/>
                  <a:gd name="connsiteY5" fmla="*/ 70210 h 261624"/>
                  <a:gd name="connsiteX6" fmla="*/ 35255 w 364559"/>
                  <a:gd name="connsiteY6" fmla="*/ 65792 h 261624"/>
                  <a:gd name="connsiteX7" fmla="*/ 20930 w 364559"/>
                  <a:gd name="connsiteY7" fmla="*/ 80117 h 261624"/>
                  <a:gd name="connsiteX8" fmla="*/ 21873 w 364559"/>
                  <a:gd name="connsiteY8" fmla="*/ 101133 h 261624"/>
                  <a:gd name="connsiteX9" fmla="*/ 6433 w 364559"/>
                  <a:gd name="connsiteY9" fmla="*/ 110869 h 261624"/>
                  <a:gd name="connsiteX10" fmla="*/ 9264 w 364559"/>
                  <a:gd name="connsiteY10" fmla="*/ 134715 h 261624"/>
                  <a:gd name="connsiteX11" fmla="*/ 19128 w 364559"/>
                  <a:gd name="connsiteY11" fmla="*/ 196390 h 261624"/>
                  <a:gd name="connsiteX12" fmla="*/ 30451 w 364559"/>
                  <a:gd name="connsiteY12" fmla="*/ 252918 h 261624"/>
                  <a:gd name="connsiteX13" fmla="*/ 91182 w 364559"/>
                  <a:gd name="connsiteY13" fmla="*/ 244898 h 261624"/>
                  <a:gd name="connsiteX14" fmla="*/ 134200 w 364559"/>
                  <a:gd name="connsiteY14" fmla="*/ 229458 h 261624"/>
                  <a:gd name="connsiteX15" fmla="*/ 170699 w 364559"/>
                  <a:gd name="connsiteY15" fmla="*/ 208914 h 261624"/>
                  <a:gd name="connsiteX16" fmla="*/ 203810 w 364559"/>
                  <a:gd name="connsiteY16" fmla="*/ 202652 h 261624"/>
                  <a:gd name="connsiteX17" fmla="*/ 229972 w 364559"/>
                  <a:gd name="connsiteY17" fmla="*/ 182108 h 261624"/>
                  <a:gd name="connsiteX18" fmla="*/ 240652 w 364559"/>
                  <a:gd name="connsiteY18" fmla="*/ 174860 h 261624"/>
                  <a:gd name="connsiteX19" fmla="*/ 241509 w 364559"/>
                  <a:gd name="connsiteY19" fmla="*/ 169370 h 261624"/>
                  <a:gd name="connsiteX20" fmla="*/ 258236 w 364559"/>
                  <a:gd name="connsiteY20" fmla="*/ 146939 h 261624"/>
                  <a:gd name="connsiteX21" fmla="*/ 277879 w 364559"/>
                  <a:gd name="connsiteY21" fmla="*/ 139862 h 261624"/>
                  <a:gd name="connsiteX22" fmla="*/ 298509 w 364559"/>
                  <a:gd name="connsiteY22" fmla="*/ 138061 h 261624"/>
                  <a:gd name="connsiteX23" fmla="*/ 318968 w 364559"/>
                  <a:gd name="connsiteY23" fmla="*/ 144751 h 261624"/>
                  <a:gd name="connsiteX24" fmla="*/ 332649 w 364559"/>
                  <a:gd name="connsiteY24" fmla="*/ 116402 h 261624"/>
                  <a:gd name="connsiteX25" fmla="*/ 361214 w 364559"/>
                  <a:gd name="connsiteY25" fmla="*/ 104007 h 261624"/>
                  <a:gd name="connsiteX26" fmla="*/ 320297 w 364559"/>
                  <a:gd name="connsiteY26" fmla="*/ 6433 h 261624"/>
                  <a:gd name="connsiteX27" fmla="*/ 288173 w 364559"/>
                  <a:gd name="connsiteY27" fmla="*/ 17199 h 261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4559" h="261624">
                    <a:moveTo>
                      <a:pt x="288173" y="17199"/>
                    </a:moveTo>
                    <a:cubicBezTo>
                      <a:pt x="270974" y="21616"/>
                      <a:pt x="228042" y="18314"/>
                      <a:pt x="222295" y="21616"/>
                    </a:cubicBezTo>
                    <a:cubicBezTo>
                      <a:pt x="216548" y="24962"/>
                      <a:pt x="176489" y="58072"/>
                      <a:pt x="170742" y="73512"/>
                    </a:cubicBezTo>
                    <a:cubicBezTo>
                      <a:pt x="164995" y="88952"/>
                      <a:pt x="156417" y="91183"/>
                      <a:pt x="147839" y="83462"/>
                    </a:cubicBezTo>
                    <a:cubicBezTo>
                      <a:pt x="139261" y="75742"/>
                      <a:pt x="103921" y="77930"/>
                      <a:pt x="101090" y="74627"/>
                    </a:cubicBezTo>
                    <a:cubicBezTo>
                      <a:pt x="98216" y="71325"/>
                      <a:pt x="72440" y="68022"/>
                      <a:pt x="60045" y="70210"/>
                    </a:cubicBezTo>
                    <a:cubicBezTo>
                      <a:pt x="47650" y="72440"/>
                      <a:pt x="40959" y="63605"/>
                      <a:pt x="35255" y="65792"/>
                    </a:cubicBezTo>
                    <a:cubicBezTo>
                      <a:pt x="29508" y="67979"/>
                      <a:pt x="23760" y="75742"/>
                      <a:pt x="20930" y="80117"/>
                    </a:cubicBezTo>
                    <a:cubicBezTo>
                      <a:pt x="18056" y="84535"/>
                      <a:pt x="23760" y="96672"/>
                      <a:pt x="21873" y="101133"/>
                    </a:cubicBezTo>
                    <a:cubicBezTo>
                      <a:pt x="21359" y="102248"/>
                      <a:pt x="15225" y="106022"/>
                      <a:pt x="6433" y="110869"/>
                    </a:cubicBezTo>
                    <a:cubicBezTo>
                      <a:pt x="9435" y="119404"/>
                      <a:pt x="11194" y="128282"/>
                      <a:pt x="9264" y="134715"/>
                    </a:cubicBezTo>
                    <a:cubicBezTo>
                      <a:pt x="5318" y="147882"/>
                      <a:pt x="8792" y="178677"/>
                      <a:pt x="19128" y="196390"/>
                    </a:cubicBezTo>
                    <a:cubicBezTo>
                      <a:pt x="29508" y="214103"/>
                      <a:pt x="25519" y="246656"/>
                      <a:pt x="30451" y="252918"/>
                    </a:cubicBezTo>
                    <a:cubicBezTo>
                      <a:pt x="35384" y="259180"/>
                      <a:pt x="73941" y="258065"/>
                      <a:pt x="91182" y="244898"/>
                    </a:cubicBezTo>
                    <a:cubicBezTo>
                      <a:pt x="108467" y="231774"/>
                      <a:pt x="120347" y="229458"/>
                      <a:pt x="134200" y="229458"/>
                    </a:cubicBezTo>
                    <a:cubicBezTo>
                      <a:pt x="148011" y="229458"/>
                      <a:pt x="166281" y="215776"/>
                      <a:pt x="170699" y="208914"/>
                    </a:cubicBezTo>
                    <a:cubicBezTo>
                      <a:pt x="175160" y="202051"/>
                      <a:pt x="195403" y="201494"/>
                      <a:pt x="203810" y="202652"/>
                    </a:cubicBezTo>
                    <a:cubicBezTo>
                      <a:pt x="212216" y="203767"/>
                      <a:pt x="220579" y="192916"/>
                      <a:pt x="229972" y="182108"/>
                    </a:cubicBezTo>
                    <a:cubicBezTo>
                      <a:pt x="232331" y="179363"/>
                      <a:pt x="236019" y="177047"/>
                      <a:pt x="240652" y="174860"/>
                    </a:cubicBezTo>
                    <a:cubicBezTo>
                      <a:pt x="240866" y="172973"/>
                      <a:pt x="241081" y="171086"/>
                      <a:pt x="241509" y="169370"/>
                    </a:cubicBezTo>
                    <a:cubicBezTo>
                      <a:pt x="243697" y="161135"/>
                      <a:pt x="250430" y="150713"/>
                      <a:pt x="258236" y="146939"/>
                    </a:cubicBezTo>
                    <a:cubicBezTo>
                      <a:pt x="264756" y="143808"/>
                      <a:pt x="270846" y="141020"/>
                      <a:pt x="277879" y="139862"/>
                    </a:cubicBezTo>
                    <a:cubicBezTo>
                      <a:pt x="284870" y="138704"/>
                      <a:pt x="291476" y="138061"/>
                      <a:pt x="298509" y="138061"/>
                    </a:cubicBezTo>
                    <a:cubicBezTo>
                      <a:pt x="306272" y="138061"/>
                      <a:pt x="313263" y="140548"/>
                      <a:pt x="318968" y="144751"/>
                    </a:cubicBezTo>
                    <a:cubicBezTo>
                      <a:pt x="329390" y="134887"/>
                      <a:pt x="327288" y="123864"/>
                      <a:pt x="332649" y="116402"/>
                    </a:cubicBezTo>
                    <a:cubicBezTo>
                      <a:pt x="338868" y="107824"/>
                      <a:pt x="347575" y="110311"/>
                      <a:pt x="361214" y="104007"/>
                    </a:cubicBezTo>
                    <a:cubicBezTo>
                      <a:pt x="345859" y="67637"/>
                      <a:pt x="328832" y="26892"/>
                      <a:pt x="320297" y="6433"/>
                    </a:cubicBezTo>
                    <a:cubicBezTo>
                      <a:pt x="305200" y="11795"/>
                      <a:pt x="292934" y="15955"/>
                      <a:pt x="288173" y="17199"/>
                    </a:cubicBezTo>
                    <a:close/>
                  </a:path>
                </a:pathLst>
              </a:custGeom>
              <a:grpFill/>
              <a:ln w="1905" cap="flat">
                <a:solidFill>
                  <a:schemeClr val="bg1"/>
                </a:solidFill>
                <a:prstDash val="solid"/>
                <a:miter/>
              </a:ln>
            </p:spPr>
            <p:txBody>
              <a:bodyPr rtlCol="0" anchor="ctr"/>
              <a:lstStyle/>
              <a:p>
                <a:endParaRPr lang="en-US" dirty="0">
                  <a:sym typeface="+mn-lt"/>
                </a:endParaRPr>
              </a:p>
            </p:txBody>
          </p:sp>
        </p:grpSp>
        <p:sp>
          <p:nvSpPr>
            <p:cNvPr id="192" name="Freeform: Shape 337">
              <a:extLst>
                <a:ext uri="{FF2B5EF4-FFF2-40B4-BE49-F238E27FC236}">
                  <a16:creationId xmlns:a16="http://schemas.microsoft.com/office/drawing/2014/main" id="{DDFA7622-1113-6C76-C6D2-C59E7C38AABB}"/>
                </a:ext>
              </a:extLst>
            </p:cNvPr>
            <p:cNvSpPr/>
            <p:nvPr/>
          </p:nvSpPr>
          <p:spPr>
            <a:xfrm>
              <a:off x="7688285" y="1463515"/>
              <a:ext cx="4166030" cy="1679533"/>
            </a:xfrm>
            <a:custGeom>
              <a:avLst/>
              <a:gdLst>
                <a:gd name="connsiteX0" fmla="*/ 5295092 w 5446941"/>
                <a:gd name="connsiteY0" fmla="*/ 793916 h 2195932"/>
                <a:gd name="connsiteX1" fmla="*/ 5291060 w 5446941"/>
                <a:gd name="connsiteY1" fmla="*/ 797476 h 2195932"/>
                <a:gd name="connsiteX2" fmla="*/ 5306371 w 5446941"/>
                <a:gd name="connsiteY2" fmla="*/ 815189 h 2195932"/>
                <a:gd name="connsiteX3" fmla="*/ 5301397 w 5446941"/>
                <a:gd name="connsiteY3" fmla="*/ 839722 h 2195932"/>
                <a:gd name="connsiteX4" fmla="*/ 5280167 w 5446941"/>
                <a:gd name="connsiteY4" fmla="*/ 828914 h 2195932"/>
                <a:gd name="connsiteX5" fmla="*/ 5278665 w 5446941"/>
                <a:gd name="connsiteY5" fmla="*/ 789498 h 2195932"/>
                <a:gd name="connsiteX6" fmla="*/ 5278708 w 5446941"/>
                <a:gd name="connsiteY6" fmla="*/ 787139 h 2195932"/>
                <a:gd name="connsiteX7" fmla="*/ 5256621 w 5446941"/>
                <a:gd name="connsiteY7" fmla="*/ 757674 h 2195932"/>
                <a:gd name="connsiteX8" fmla="*/ 5255505 w 5446941"/>
                <a:gd name="connsiteY8" fmla="*/ 756817 h 2195932"/>
                <a:gd name="connsiteX9" fmla="*/ 5225054 w 5446941"/>
                <a:gd name="connsiteY9" fmla="*/ 753171 h 2195932"/>
                <a:gd name="connsiteX10" fmla="*/ 5148282 w 5446941"/>
                <a:gd name="connsiteY10" fmla="*/ 741462 h 2195932"/>
                <a:gd name="connsiteX11" fmla="*/ 5128596 w 5446941"/>
                <a:gd name="connsiteY11" fmla="*/ 684205 h 2195932"/>
                <a:gd name="connsiteX12" fmla="*/ 5098959 w 5446941"/>
                <a:gd name="connsiteY12" fmla="*/ 668422 h 2195932"/>
                <a:gd name="connsiteX13" fmla="*/ 5005632 w 5446941"/>
                <a:gd name="connsiteY13" fmla="*/ 623903 h 2195932"/>
                <a:gd name="connsiteX14" fmla="*/ 4980713 w 5446941"/>
                <a:gd name="connsiteY14" fmla="*/ 609749 h 2195932"/>
                <a:gd name="connsiteX15" fmla="*/ 4969176 w 5446941"/>
                <a:gd name="connsiteY15" fmla="*/ 613909 h 2195932"/>
                <a:gd name="connsiteX16" fmla="*/ 4827813 w 5446941"/>
                <a:gd name="connsiteY16" fmla="*/ 610178 h 2195932"/>
                <a:gd name="connsiteX17" fmla="*/ 4804781 w 5446941"/>
                <a:gd name="connsiteY17" fmla="*/ 589934 h 2195932"/>
                <a:gd name="connsiteX18" fmla="*/ 4788827 w 5446941"/>
                <a:gd name="connsiteY18" fmla="*/ 590792 h 2195932"/>
                <a:gd name="connsiteX19" fmla="*/ 4777975 w 5446941"/>
                <a:gd name="connsiteY19" fmla="*/ 615325 h 2195932"/>
                <a:gd name="connsiteX20" fmla="*/ 4794274 w 5446941"/>
                <a:gd name="connsiteY20" fmla="*/ 646162 h 2195932"/>
                <a:gd name="connsiteX21" fmla="*/ 4785867 w 5446941"/>
                <a:gd name="connsiteY21" fmla="*/ 683862 h 2195932"/>
                <a:gd name="connsiteX22" fmla="*/ 4739932 w 5446941"/>
                <a:gd name="connsiteY22" fmla="*/ 663875 h 2195932"/>
                <a:gd name="connsiteX23" fmla="*/ 4707637 w 5446941"/>
                <a:gd name="connsiteY23" fmla="*/ 640115 h 2195932"/>
                <a:gd name="connsiteX24" fmla="*/ 4590807 w 5446941"/>
                <a:gd name="connsiteY24" fmla="*/ 641873 h 2195932"/>
                <a:gd name="connsiteX25" fmla="*/ 4536423 w 5446941"/>
                <a:gd name="connsiteY25" fmla="*/ 621415 h 2195932"/>
                <a:gd name="connsiteX26" fmla="*/ 4482168 w 5446941"/>
                <a:gd name="connsiteY26" fmla="*/ 630164 h 2195932"/>
                <a:gd name="connsiteX27" fmla="*/ 4475262 w 5446941"/>
                <a:gd name="connsiteY27" fmla="*/ 666149 h 2195932"/>
                <a:gd name="connsiteX28" fmla="*/ 4466385 w 5446941"/>
                <a:gd name="connsiteY28" fmla="*/ 629006 h 2195932"/>
                <a:gd name="connsiteX29" fmla="*/ 4440694 w 5446941"/>
                <a:gd name="connsiteY29" fmla="*/ 618155 h 2195932"/>
                <a:gd name="connsiteX30" fmla="*/ 4422938 w 5446941"/>
                <a:gd name="connsiteY30" fmla="*/ 610135 h 2195932"/>
                <a:gd name="connsiteX31" fmla="*/ 4428857 w 5446941"/>
                <a:gd name="connsiteY31" fmla="*/ 585602 h 2195932"/>
                <a:gd name="connsiteX32" fmla="*/ 4429972 w 5446941"/>
                <a:gd name="connsiteY32" fmla="*/ 575095 h 2195932"/>
                <a:gd name="connsiteX33" fmla="*/ 4359547 w 5446941"/>
                <a:gd name="connsiteY33" fmla="*/ 553478 h 2195932"/>
                <a:gd name="connsiteX34" fmla="*/ 4240144 w 5446941"/>
                <a:gd name="connsiteY34" fmla="*/ 533449 h 2195932"/>
                <a:gd name="connsiteX35" fmla="*/ 4170105 w 5446941"/>
                <a:gd name="connsiteY35" fmla="*/ 536494 h 2195932"/>
                <a:gd name="connsiteX36" fmla="*/ 4161227 w 5446941"/>
                <a:gd name="connsiteY36" fmla="*/ 517666 h 2195932"/>
                <a:gd name="connsiteX37" fmla="*/ 4153678 w 5446941"/>
                <a:gd name="connsiteY37" fmla="*/ 510375 h 2195932"/>
                <a:gd name="connsiteX38" fmla="*/ 4137509 w 5446941"/>
                <a:gd name="connsiteY38" fmla="*/ 505056 h 2195932"/>
                <a:gd name="connsiteX39" fmla="*/ 4128759 w 5446941"/>
                <a:gd name="connsiteY39" fmla="*/ 500725 h 2195932"/>
                <a:gd name="connsiteX40" fmla="*/ 4119238 w 5446941"/>
                <a:gd name="connsiteY40" fmla="*/ 503384 h 2195932"/>
                <a:gd name="connsiteX41" fmla="*/ 4106414 w 5446941"/>
                <a:gd name="connsiteY41" fmla="*/ 497079 h 2195932"/>
                <a:gd name="connsiteX42" fmla="*/ 4064425 w 5446941"/>
                <a:gd name="connsiteY42" fmla="*/ 481081 h 2195932"/>
                <a:gd name="connsiteX43" fmla="*/ 4060952 w 5446941"/>
                <a:gd name="connsiteY43" fmla="*/ 468515 h 2195932"/>
                <a:gd name="connsiteX44" fmla="*/ 4088229 w 5446941"/>
                <a:gd name="connsiteY44" fmla="*/ 453889 h 2195932"/>
                <a:gd name="connsiteX45" fmla="*/ 4061853 w 5446941"/>
                <a:gd name="connsiteY45" fmla="*/ 452560 h 2195932"/>
                <a:gd name="connsiteX46" fmla="*/ 4036719 w 5446941"/>
                <a:gd name="connsiteY46" fmla="*/ 463754 h 2195932"/>
                <a:gd name="connsiteX47" fmla="*/ 3992801 w 5446941"/>
                <a:gd name="connsiteY47" fmla="*/ 432144 h 2195932"/>
                <a:gd name="connsiteX48" fmla="*/ 3980492 w 5446941"/>
                <a:gd name="connsiteY48" fmla="*/ 433088 h 2195932"/>
                <a:gd name="connsiteX49" fmla="*/ 3960719 w 5446941"/>
                <a:gd name="connsiteY49" fmla="*/ 470788 h 2195932"/>
                <a:gd name="connsiteX50" fmla="*/ 3925164 w 5446941"/>
                <a:gd name="connsiteY50" fmla="*/ 467357 h 2195932"/>
                <a:gd name="connsiteX51" fmla="*/ 3951327 w 5446941"/>
                <a:gd name="connsiteY51" fmla="*/ 448528 h 2195932"/>
                <a:gd name="connsiteX52" fmla="*/ 3913842 w 5446941"/>
                <a:gd name="connsiteY52" fmla="*/ 435404 h 2195932"/>
                <a:gd name="connsiteX53" fmla="*/ 3913756 w 5446941"/>
                <a:gd name="connsiteY53" fmla="*/ 428456 h 2195932"/>
                <a:gd name="connsiteX54" fmla="*/ 3881074 w 5446941"/>
                <a:gd name="connsiteY54" fmla="*/ 402422 h 2195932"/>
                <a:gd name="connsiteX55" fmla="*/ 3841230 w 5446941"/>
                <a:gd name="connsiteY55" fmla="*/ 399420 h 2195932"/>
                <a:gd name="connsiteX56" fmla="*/ 3790878 w 5446941"/>
                <a:gd name="connsiteY56" fmla="*/ 387411 h 2195932"/>
                <a:gd name="connsiteX57" fmla="*/ 3783459 w 5446941"/>
                <a:gd name="connsiteY57" fmla="*/ 405124 h 2195932"/>
                <a:gd name="connsiteX58" fmla="*/ 3753821 w 5446941"/>
                <a:gd name="connsiteY58" fmla="*/ 417133 h 2195932"/>
                <a:gd name="connsiteX59" fmla="*/ 3742370 w 5446941"/>
                <a:gd name="connsiteY59" fmla="*/ 417433 h 2195932"/>
                <a:gd name="connsiteX60" fmla="*/ 3744171 w 5446941"/>
                <a:gd name="connsiteY60" fmla="*/ 426140 h 2195932"/>
                <a:gd name="connsiteX61" fmla="*/ 3747130 w 5446941"/>
                <a:gd name="connsiteY61" fmla="*/ 440937 h 2195932"/>
                <a:gd name="connsiteX62" fmla="*/ 3749876 w 5446941"/>
                <a:gd name="connsiteY62" fmla="*/ 441666 h 2195932"/>
                <a:gd name="connsiteX63" fmla="*/ 3747946 w 5446941"/>
                <a:gd name="connsiteY63" fmla="*/ 448056 h 2195932"/>
                <a:gd name="connsiteX64" fmla="*/ 3746917 w 5446941"/>
                <a:gd name="connsiteY64" fmla="*/ 467314 h 2195932"/>
                <a:gd name="connsiteX65" fmla="*/ 3751376 w 5446941"/>
                <a:gd name="connsiteY65" fmla="*/ 488501 h 2195932"/>
                <a:gd name="connsiteX66" fmla="*/ 3730747 w 5446941"/>
                <a:gd name="connsiteY66" fmla="*/ 493433 h 2195932"/>
                <a:gd name="connsiteX67" fmla="*/ 3717323 w 5446941"/>
                <a:gd name="connsiteY67" fmla="*/ 500939 h 2195932"/>
                <a:gd name="connsiteX68" fmla="*/ 3696136 w 5446941"/>
                <a:gd name="connsiteY68" fmla="*/ 504027 h 2195932"/>
                <a:gd name="connsiteX69" fmla="*/ 3683226 w 5446941"/>
                <a:gd name="connsiteY69" fmla="*/ 510246 h 2195932"/>
                <a:gd name="connsiteX70" fmla="*/ 3666371 w 5446941"/>
                <a:gd name="connsiteY70" fmla="*/ 499781 h 2195932"/>
                <a:gd name="connsiteX71" fmla="*/ 3639093 w 5446941"/>
                <a:gd name="connsiteY71" fmla="*/ 512047 h 2195932"/>
                <a:gd name="connsiteX72" fmla="*/ 3594445 w 5446941"/>
                <a:gd name="connsiteY72" fmla="*/ 508359 h 2195932"/>
                <a:gd name="connsiteX73" fmla="*/ 3551084 w 5446941"/>
                <a:gd name="connsiteY73" fmla="*/ 505056 h 2195932"/>
                <a:gd name="connsiteX74" fmla="*/ 3538560 w 5446941"/>
                <a:gd name="connsiteY74" fmla="*/ 499438 h 2195932"/>
                <a:gd name="connsiteX75" fmla="*/ 3528010 w 5446941"/>
                <a:gd name="connsiteY75" fmla="*/ 497636 h 2195932"/>
                <a:gd name="connsiteX76" fmla="*/ 3489323 w 5446941"/>
                <a:gd name="connsiteY76" fmla="*/ 493519 h 2195932"/>
                <a:gd name="connsiteX77" fmla="*/ 3479244 w 5446941"/>
                <a:gd name="connsiteY77" fmla="*/ 512476 h 2195932"/>
                <a:gd name="connsiteX78" fmla="*/ 3458014 w 5446941"/>
                <a:gd name="connsiteY78" fmla="*/ 542156 h 2195932"/>
                <a:gd name="connsiteX79" fmla="*/ 3437255 w 5446941"/>
                <a:gd name="connsiteY79" fmla="*/ 534736 h 2195932"/>
                <a:gd name="connsiteX80" fmla="*/ 3387375 w 5446941"/>
                <a:gd name="connsiteY80" fmla="*/ 482797 h 2195932"/>
                <a:gd name="connsiteX81" fmla="*/ 3356795 w 5446941"/>
                <a:gd name="connsiteY81" fmla="*/ 443382 h 2195932"/>
                <a:gd name="connsiteX82" fmla="*/ 3370091 w 5446941"/>
                <a:gd name="connsiteY82" fmla="*/ 443939 h 2195932"/>
                <a:gd name="connsiteX83" fmla="*/ 3394280 w 5446941"/>
                <a:gd name="connsiteY83" fmla="*/ 446813 h 2195932"/>
                <a:gd name="connsiteX84" fmla="*/ 3398827 w 5446941"/>
                <a:gd name="connsiteY84" fmla="*/ 437077 h 2195932"/>
                <a:gd name="connsiteX85" fmla="*/ 3374122 w 5446941"/>
                <a:gd name="connsiteY85" fmla="*/ 414903 h 2195932"/>
                <a:gd name="connsiteX86" fmla="*/ 3354308 w 5446941"/>
                <a:gd name="connsiteY86" fmla="*/ 388912 h 2195932"/>
                <a:gd name="connsiteX87" fmla="*/ 3345301 w 5446941"/>
                <a:gd name="connsiteY87" fmla="*/ 377975 h 2195932"/>
                <a:gd name="connsiteX88" fmla="*/ 3294605 w 5446941"/>
                <a:gd name="connsiteY88" fmla="*/ 379090 h 2195932"/>
                <a:gd name="connsiteX89" fmla="*/ 3192186 w 5446941"/>
                <a:gd name="connsiteY89" fmla="*/ 342892 h 2195932"/>
                <a:gd name="connsiteX90" fmla="*/ 3193344 w 5446941"/>
                <a:gd name="connsiteY90" fmla="*/ 346881 h 2195932"/>
                <a:gd name="connsiteX91" fmla="*/ 3192872 w 5446941"/>
                <a:gd name="connsiteY91" fmla="*/ 376002 h 2195932"/>
                <a:gd name="connsiteX92" fmla="*/ 3173144 w 5446941"/>
                <a:gd name="connsiteY92" fmla="*/ 377718 h 2195932"/>
                <a:gd name="connsiteX93" fmla="*/ 3132655 w 5446941"/>
                <a:gd name="connsiteY93" fmla="*/ 382307 h 2195932"/>
                <a:gd name="connsiteX94" fmla="*/ 3127209 w 5446941"/>
                <a:gd name="connsiteY94" fmla="*/ 380892 h 2195932"/>
                <a:gd name="connsiteX95" fmla="*/ 3116444 w 5446941"/>
                <a:gd name="connsiteY95" fmla="*/ 382564 h 2195932"/>
                <a:gd name="connsiteX96" fmla="*/ 3073983 w 5446941"/>
                <a:gd name="connsiteY96" fmla="*/ 373729 h 2195932"/>
                <a:gd name="connsiteX97" fmla="*/ 3071110 w 5446941"/>
                <a:gd name="connsiteY97" fmla="*/ 372443 h 2195932"/>
                <a:gd name="connsiteX98" fmla="*/ 3026504 w 5446941"/>
                <a:gd name="connsiteY98" fmla="*/ 362278 h 2195932"/>
                <a:gd name="connsiteX99" fmla="*/ 3026076 w 5446941"/>
                <a:gd name="connsiteY99" fmla="*/ 356188 h 2195932"/>
                <a:gd name="connsiteX100" fmla="*/ 2990177 w 5446941"/>
                <a:gd name="connsiteY100" fmla="*/ 349197 h 2195932"/>
                <a:gd name="connsiteX101" fmla="*/ 2941413 w 5446941"/>
                <a:gd name="connsiteY101" fmla="*/ 328653 h 2195932"/>
                <a:gd name="connsiteX102" fmla="*/ 2939696 w 5446941"/>
                <a:gd name="connsiteY102" fmla="*/ 327323 h 2195932"/>
                <a:gd name="connsiteX103" fmla="*/ 2864512 w 5446941"/>
                <a:gd name="connsiteY103" fmla="*/ 338860 h 2195932"/>
                <a:gd name="connsiteX104" fmla="*/ 2860052 w 5446941"/>
                <a:gd name="connsiteY104" fmla="*/ 359404 h 2195932"/>
                <a:gd name="connsiteX105" fmla="*/ 2854648 w 5446941"/>
                <a:gd name="connsiteY105" fmla="*/ 321705 h 2195932"/>
                <a:gd name="connsiteX106" fmla="*/ 2837834 w 5446941"/>
                <a:gd name="connsiteY106" fmla="*/ 317158 h 2195932"/>
                <a:gd name="connsiteX107" fmla="*/ 2803309 w 5446941"/>
                <a:gd name="connsiteY107" fmla="*/ 322863 h 2195932"/>
                <a:gd name="connsiteX108" fmla="*/ 2764795 w 5446941"/>
                <a:gd name="connsiteY108" fmla="*/ 300045 h 2195932"/>
                <a:gd name="connsiteX109" fmla="*/ 2727267 w 5446941"/>
                <a:gd name="connsiteY109" fmla="*/ 325179 h 2195932"/>
                <a:gd name="connsiteX110" fmla="*/ 2747510 w 5446941"/>
                <a:gd name="connsiteY110" fmla="*/ 331440 h 2195932"/>
                <a:gd name="connsiteX111" fmla="*/ 2706551 w 5446941"/>
                <a:gd name="connsiteY111" fmla="*/ 345165 h 2195932"/>
                <a:gd name="connsiteX112" fmla="*/ 2655683 w 5446941"/>
                <a:gd name="connsiteY112" fmla="*/ 365709 h 2195932"/>
                <a:gd name="connsiteX113" fmla="*/ 2600871 w 5446941"/>
                <a:gd name="connsiteY113" fmla="*/ 385138 h 2195932"/>
                <a:gd name="connsiteX114" fmla="*/ 2609278 w 5446941"/>
                <a:gd name="connsiteY114" fmla="*/ 358289 h 2195932"/>
                <a:gd name="connsiteX115" fmla="*/ 2640373 w 5446941"/>
                <a:gd name="connsiteY115" fmla="*/ 339461 h 2195932"/>
                <a:gd name="connsiteX116" fmla="*/ 2676915 w 5446941"/>
                <a:gd name="connsiteY116" fmla="*/ 326294 h 2195932"/>
                <a:gd name="connsiteX117" fmla="*/ 2703592 w 5446941"/>
                <a:gd name="connsiteY117" fmla="*/ 305750 h 2195932"/>
                <a:gd name="connsiteX118" fmla="*/ 2738117 w 5446941"/>
                <a:gd name="connsiteY118" fmla="*/ 281174 h 2195932"/>
                <a:gd name="connsiteX119" fmla="*/ 2795417 w 5446941"/>
                <a:gd name="connsiteY119" fmla="*/ 254325 h 2195932"/>
                <a:gd name="connsiteX120" fmla="*/ 2811200 w 5446941"/>
                <a:gd name="connsiteY120" fmla="*/ 233781 h 2195932"/>
                <a:gd name="connsiteX121" fmla="*/ 2851688 w 5446941"/>
                <a:gd name="connsiteY121" fmla="*/ 215511 h 2195932"/>
                <a:gd name="connsiteX122" fmla="*/ 2866999 w 5446941"/>
                <a:gd name="connsiteY122" fmla="*/ 192093 h 2195932"/>
                <a:gd name="connsiteX123" fmla="*/ 2852160 w 5446941"/>
                <a:gd name="connsiteY123" fmla="*/ 178969 h 2195932"/>
                <a:gd name="connsiteX124" fmla="*/ 2868929 w 5446941"/>
                <a:gd name="connsiteY124" fmla="*/ 172107 h 2195932"/>
                <a:gd name="connsiteX125" fmla="*/ 2860566 w 5446941"/>
                <a:gd name="connsiteY125" fmla="*/ 154393 h 2195932"/>
                <a:gd name="connsiteX126" fmla="*/ 2858765 w 5446941"/>
                <a:gd name="connsiteY126" fmla="*/ 149676 h 2195932"/>
                <a:gd name="connsiteX127" fmla="*/ 2832131 w 5446941"/>
                <a:gd name="connsiteY127" fmla="*/ 137281 h 2195932"/>
                <a:gd name="connsiteX128" fmla="*/ 2815104 w 5446941"/>
                <a:gd name="connsiteY128" fmla="*/ 111418 h 2195932"/>
                <a:gd name="connsiteX129" fmla="*/ 2724263 w 5446941"/>
                <a:gd name="connsiteY129" fmla="*/ 92290 h 2195932"/>
                <a:gd name="connsiteX130" fmla="*/ 2715086 w 5446941"/>
                <a:gd name="connsiteY130" fmla="*/ 88601 h 2195932"/>
                <a:gd name="connsiteX131" fmla="*/ 2689695 w 5446941"/>
                <a:gd name="connsiteY131" fmla="*/ 86457 h 2195932"/>
                <a:gd name="connsiteX132" fmla="*/ 2667993 w 5446941"/>
                <a:gd name="connsiteY132" fmla="*/ 100739 h 2195932"/>
                <a:gd name="connsiteX133" fmla="*/ 2626047 w 5446941"/>
                <a:gd name="connsiteY133" fmla="*/ 105285 h 2195932"/>
                <a:gd name="connsiteX134" fmla="*/ 2650236 w 5446941"/>
                <a:gd name="connsiteY134" fmla="*/ 69301 h 2195932"/>
                <a:gd name="connsiteX135" fmla="*/ 2595425 w 5446941"/>
                <a:gd name="connsiteY135" fmla="*/ 64755 h 2195932"/>
                <a:gd name="connsiteX136" fmla="*/ 2555923 w 5446941"/>
                <a:gd name="connsiteY136" fmla="*/ 57892 h 2195932"/>
                <a:gd name="connsiteX137" fmla="*/ 2565788 w 5446941"/>
                <a:gd name="connsiteY137" fmla="*/ 53303 h 2195932"/>
                <a:gd name="connsiteX138" fmla="*/ 2596882 w 5446941"/>
                <a:gd name="connsiteY138" fmla="*/ 39579 h 2195932"/>
                <a:gd name="connsiteX139" fmla="*/ 2600828 w 5446941"/>
                <a:gd name="connsiteY139" fmla="*/ 24739 h 2195932"/>
                <a:gd name="connsiteX140" fmla="*/ 2572650 w 5446941"/>
                <a:gd name="connsiteY140" fmla="*/ 16762 h 2195932"/>
                <a:gd name="connsiteX141" fmla="*/ 2537609 w 5446941"/>
                <a:gd name="connsiteY141" fmla="*/ 6468 h 2195932"/>
                <a:gd name="connsiteX142" fmla="*/ 2493648 w 5446941"/>
                <a:gd name="connsiteY142" fmla="*/ 17319 h 2195932"/>
                <a:gd name="connsiteX143" fmla="*/ 2456635 w 5446941"/>
                <a:gd name="connsiteY143" fmla="*/ 49315 h 2195932"/>
                <a:gd name="connsiteX144" fmla="*/ 2446385 w 5446941"/>
                <a:gd name="connsiteY144" fmla="*/ 57206 h 2195932"/>
                <a:gd name="connsiteX145" fmla="*/ 2440036 w 5446941"/>
                <a:gd name="connsiteY145" fmla="*/ 96536 h 2195932"/>
                <a:gd name="connsiteX146" fmla="*/ 2440336 w 5446941"/>
                <a:gd name="connsiteY146" fmla="*/ 99538 h 2195932"/>
                <a:gd name="connsiteX147" fmla="*/ 2424768 w 5446941"/>
                <a:gd name="connsiteY147" fmla="*/ 106915 h 2195932"/>
                <a:gd name="connsiteX148" fmla="*/ 2413445 w 5446941"/>
                <a:gd name="connsiteY148" fmla="*/ 108588 h 2195932"/>
                <a:gd name="connsiteX149" fmla="*/ 2398305 w 5446941"/>
                <a:gd name="connsiteY149" fmla="*/ 105457 h 2195932"/>
                <a:gd name="connsiteX150" fmla="*/ 2370727 w 5446941"/>
                <a:gd name="connsiteY150" fmla="*/ 114378 h 2195932"/>
                <a:gd name="connsiteX151" fmla="*/ 2392472 w 5446941"/>
                <a:gd name="connsiteY151" fmla="*/ 133764 h 2195932"/>
                <a:gd name="connsiteX152" fmla="*/ 2367296 w 5446941"/>
                <a:gd name="connsiteY152" fmla="*/ 128059 h 2195932"/>
                <a:gd name="connsiteX153" fmla="*/ 2338174 w 5446941"/>
                <a:gd name="connsiteY153" fmla="*/ 135479 h 2195932"/>
                <a:gd name="connsiteX154" fmla="*/ 2316430 w 5446941"/>
                <a:gd name="connsiteY154" fmla="*/ 140626 h 2195932"/>
                <a:gd name="connsiteX155" fmla="*/ 2299360 w 5446941"/>
                <a:gd name="connsiteY155" fmla="*/ 142985 h 2195932"/>
                <a:gd name="connsiteX156" fmla="*/ 2278730 w 5446941"/>
                <a:gd name="connsiteY156" fmla="*/ 149847 h 2195932"/>
                <a:gd name="connsiteX157" fmla="*/ 2259129 w 5446941"/>
                <a:gd name="connsiteY157" fmla="*/ 143757 h 2195932"/>
                <a:gd name="connsiteX158" fmla="*/ 2231380 w 5446941"/>
                <a:gd name="connsiteY158" fmla="*/ 157353 h 2195932"/>
                <a:gd name="connsiteX159" fmla="*/ 2216069 w 5446941"/>
                <a:gd name="connsiteY159" fmla="*/ 157353 h 2195932"/>
                <a:gd name="connsiteX160" fmla="*/ 2216712 w 5446941"/>
                <a:gd name="connsiteY160" fmla="*/ 158339 h 2195932"/>
                <a:gd name="connsiteX161" fmla="*/ 2161428 w 5446941"/>
                <a:gd name="connsiteY161" fmla="*/ 168032 h 2195932"/>
                <a:gd name="connsiteX162" fmla="*/ 2149076 w 5446941"/>
                <a:gd name="connsiteY162" fmla="*/ 173479 h 2195932"/>
                <a:gd name="connsiteX163" fmla="*/ 2004324 w 5446941"/>
                <a:gd name="connsiteY163" fmla="*/ 234768 h 2195932"/>
                <a:gd name="connsiteX164" fmla="*/ 2003809 w 5446941"/>
                <a:gd name="connsiteY164" fmla="*/ 234897 h 2195932"/>
                <a:gd name="connsiteX165" fmla="*/ 2009342 w 5446941"/>
                <a:gd name="connsiteY165" fmla="*/ 248535 h 2195932"/>
                <a:gd name="connsiteX166" fmla="*/ 1980692 w 5446941"/>
                <a:gd name="connsiteY166" fmla="*/ 246820 h 2195932"/>
                <a:gd name="connsiteX167" fmla="*/ 1998963 w 5446941"/>
                <a:gd name="connsiteY167" fmla="*/ 258829 h 2195932"/>
                <a:gd name="connsiteX168" fmla="*/ 2013760 w 5446941"/>
                <a:gd name="connsiteY168" fmla="*/ 271953 h 2195932"/>
                <a:gd name="connsiteX169" fmla="*/ 1988584 w 5446941"/>
                <a:gd name="connsiteY169" fmla="*/ 273669 h 2195932"/>
                <a:gd name="connsiteX170" fmla="*/ 2001407 w 5446941"/>
                <a:gd name="connsiteY170" fmla="*/ 283962 h 2195932"/>
                <a:gd name="connsiteX171" fmla="*/ 2012301 w 5446941"/>
                <a:gd name="connsiteY171" fmla="*/ 297687 h 2195932"/>
                <a:gd name="connsiteX172" fmla="*/ 2013931 w 5446941"/>
                <a:gd name="connsiteY172" fmla="*/ 299574 h 2195932"/>
                <a:gd name="connsiteX173" fmla="*/ 2010371 w 5446941"/>
                <a:gd name="connsiteY173" fmla="*/ 315957 h 2195932"/>
                <a:gd name="connsiteX174" fmla="*/ 2000979 w 5446941"/>
                <a:gd name="connsiteY174" fmla="*/ 319389 h 2195932"/>
                <a:gd name="connsiteX175" fmla="*/ 1969412 w 5446941"/>
                <a:gd name="connsiteY175" fmla="*/ 317673 h 2195932"/>
                <a:gd name="connsiteX176" fmla="*/ 1953586 w 5446941"/>
                <a:gd name="connsiteY176" fmla="*/ 323978 h 2195932"/>
                <a:gd name="connsiteX177" fmla="*/ 1951441 w 5446941"/>
                <a:gd name="connsiteY177" fmla="*/ 322605 h 2195932"/>
                <a:gd name="connsiteX178" fmla="*/ 1936430 w 5446941"/>
                <a:gd name="connsiteY178" fmla="*/ 326208 h 2195932"/>
                <a:gd name="connsiteX179" fmla="*/ 1855069 w 5446941"/>
                <a:gd name="connsiteY179" fmla="*/ 347395 h 2195932"/>
                <a:gd name="connsiteX180" fmla="*/ 1817670 w 5446941"/>
                <a:gd name="connsiteY180" fmla="*/ 335515 h 2195932"/>
                <a:gd name="connsiteX181" fmla="*/ 1806519 w 5446941"/>
                <a:gd name="connsiteY181" fmla="*/ 373686 h 2195932"/>
                <a:gd name="connsiteX182" fmla="*/ 1806990 w 5446941"/>
                <a:gd name="connsiteY182" fmla="*/ 401093 h 2195932"/>
                <a:gd name="connsiteX183" fmla="*/ 1852453 w 5446941"/>
                <a:gd name="connsiteY183" fmla="*/ 429056 h 2195932"/>
                <a:gd name="connsiteX184" fmla="*/ 1871710 w 5446941"/>
                <a:gd name="connsiteY184" fmla="*/ 466756 h 2195932"/>
                <a:gd name="connsiteX185" fmla="*/ 1814925 w 5446941"/>
                <a:gd name="connsiteY185" fmla="*/ 445612 h 2195932"/>
                <a:gd name="connsiteX186" fmla="*/ 1738410 w 5446941"/>
                <a:gd name="connsiteY186" fmla="*/ 422795 h 2195932"/>
                <a:gd name="connsiteX187" fmla="*/ 1714221 w 5446941"/>
                <a:gd name="connsiteY187" fmla="*/ 408470 h 2195932"/>
                <a:gd name="connsiteX188" fmla="*/ 1692947 w 5446941"/>
                <a:gd name="connsiteY188" fmla="*/ 427898 h 2195932"/>
                <a:gd name="connsiteX189" fmla="*/ 1706801 w 5446941"/>
                <a:gd name="connsiteY189" fmla="*/ 433603 h 2195932"/>
                <a:gd name="connsiteX190" fmla="*/ 1725071 w 5446941"/>
                <a:gd name="connsiteY190" fmla="*/ 446169 h 2195932"/>
                <a:gd name="connsiteX191" fmla="*/ 1697408 w 5446941"/>
                <a:gd name="connsiteY191" fmla="*/ 451916 h 2195932"/>
                <a:gd name="connsiteX192" fmla="*/ 1661381 w 5446941"/>
                <a:gd name="connsiteY192" fmla="*/ 460494 h 2195932"/>
                <a:gd name="connsiteX193" fmla="*/ 1705814 w 5446941"/>
                <a:gd name="connsiteY193" fmla="*/ 500467 h 2195932"/>
                <a:gd name="connsiteX194" fmla="*/ 1735922 w 5446941"/>
                <a:gd name="connsiteY194" fmla="*/ 519853 h 2195932"/>
                <a:gd name="connsiteX195" fmla="*/ 1730990 w 5446941"/>
                <a:gd name="connsiteY195" fmla="*/ 531305 h 2195932"/>
                <a:gd name="connsiteX196" fmla="*/ 1692476 w 5446941"/>
                <a:gd name="connsiteY196" fmla="*/ 508445 h 2195932"/>
                <a:gd name="connsiteX197" fmla="*/ 1635733 w 5446941"/>
                <a:gd name="connsiteY197" fmla="*/ 502740 h 2195932"/>
                <a:gd name="connsiteX198" fmla="*/ 1633717 w 5446941"/>
                <a:gd name="connsiteY198" fmla="*/ 477650 h 2195932"/>
                <a:gd name="connsiteX199" fmla="*/ 1641652 w 5446941"/>
                <a:gd name="connsiteY199" fmla="*/ 439393 h 2195932"/>
                <a:gd name="connsiteX200" fmla="*/ 1627327 w 5446941"/>
                <a:gd name="connsiteY200" fmla="*/ 391443 h 2195932"/>
                <a:gd name="connsiteX201" fmla="*/ 1618449 w 5446941"/>
                <a:gd name="connsiteY201" fmla="*/ 406883 h 2195932"/>
                <a:gd name="connsiteX202" fmla="*/ 1610042 w 5446941"/>
                <a:gd name="connsiteY202" fmla="*/ 447413 h 2195932"/>
                <a:gd name="connsiteX203" fmla="*/ 1570027 w 5446941"/>
                <a:gd name="connsiteY203" fmla="*/ 471388 h 2195932"/>
                <a:gd name="connsiteX204" fmla="*/ 1556688 w 5446941"/>
                <a:gd name="connsiteY204" fmla="*/ 495363 h 2195932"/>
                <a:gd name="connsiteX205" fmla="*/ 1594731 w 5446941"/>
                <a:gd name="connsiteY205" fmla="*/ 548460 h 2195932"/>
                <a:gd name="connsiteX206" fmla="*/ 1574959 w 5446941"/>
                <a:gd name="connsiteY206" fmla="*/ 613566 h 2195932"/>
                <a:gd name="connsiteX207" fmla="*/ 1576460 w 5446941"/>
                <a:gd name="connsiteY207" fmla="*/ 652424 h 2195932"/>
                <a:gd name="connsiteX208" fmla="*/ 1602151 w 5446941"/>
                <a:gd name="connsiteY208" fmla="*/ 657571 h 2195932"/>
                <a:gd name="connsiteX209" fmla="*/ 1641137 w 5446941"/>
                <a:gd name="connsiteY209" fmla="*/ 647835 h 2195932"/>
                <a:gd name="connsiteX210" fmla="*/ 1705342 w 5446941"/>
                <a:gd name="connsiteY210" fmla="*/ 672968 h 2195932"/>
                <a:gd name="connsiteX211" fmla="*/ 1717695 w 5446941"/>
                <a:gd name="connsiteY211" fmla="*/ 702647 h 2195932"/>
                <a:gd name="connsiteX212" fmla="*/ 1702383 w 5446941"/>
                <a:gd name="connsiteY212" fmla="*/ 731212 h 2195932"/>
                <a:gd name="connsiteX213" fmla="*/ 1740898 w 5446941"/>
                <a:gd name="connsiteY213" fmla="*/ 760891 h 2195932"/>
                <a:gd name="connsiteX214" fmla="*/ 1703370 w 5446941"/>
                <a:gd name="connsiteY214" fmla="*/ 757460 h 2195932"/>
                <a:gd name="connsiteX215" fmla="*/ 1688101 w 5446941"/>
                <a:gd name="connsiteY215" fmla="*/ 732927 h 2195932"/>
                <a:gd name="connsiteX216" fmla="*/ 1696465 w 5446941"/>
                <a:gd name="connsiteY216" fmla="*/ 704921 h 2195932"/>
                <a:gd name="connsiteX217" fmla="*/ 1679695 w 5446941"/>
                <a:gd name="connsiteY217" fmla="*/ 680345 h 2195932"/>
                <a:gd name="connsiteX218" fmla="*/ 1658465 w 5446941"/>
                <a:gd name="connsiteY218" fmla="*/ 664347 h 2195932"/>
                <a:gd name="connsiteX219" fmla="*/ 1607126 w 5446941"/>
                <a:gd name="connsiteY219" fmla="*/ 680345 h 2195932"/>
                <a:gd name="connsiteX220" fmla="*/ 1614031 w 5446941"/>
                <a:gd name="connsiteY220" fmla="*/ 733999 h 2195932"/>
                <a:gd name="connsiteX221" fmla="*/ 1586367 w 5446941"/>
                <a:gd name="connsiteY221" fmla="*/ 779677 h 2195932"/>
                <a:gd name="connsiteX222" fmla="*/ 1561191 w 5446941"/>
                <a:gd name="connsiteY222" fmla="*/ 805367 h 2195932"/>
                <a:gd name="connsiteX223" fmla="*/ 1530568 w 5446941"/>
                <a:gd name="connsiteY223" fmla="*/ 836205 h 2195932"/>
                <a:gd name="connsiteX224" fmla="*/ 1500460 w 5446941"/>
                <a:gd name="connsiteY224" fmla="*/ 836205 h 2195932"/>
                <a:gd name="connsiteX225" fmla="*/ 1461946 w 5446941"/>
                <a:gd name="connsiteY225" fmla="*/ 839636 h 2195932"/>
                <a:gd name="connsiteX226" fmla="*/ 1435269 w 5446941"/>
                <a:gd name="connsiteY226" fmla="*/ 829900 h 2195932"/>
                <a:gd name="connsiteX227" fmla="*/ 1418970 w 5446941"/>
                <a:gd name="connsiteY227" fmla="*/ 813345 h 2195932"/>
                <a:gd name="connsiteX228" fmla="*/ 1436770 w 5446941"/>
                <a:gd name="connsiteY228" fmla="*/ 818491 h 2195932"/>
                <a:gd name="connsiteX229" fmla="*/ 1456027 w 5446941"/>
                <a:gd name="connsiteY229" fmla="*/ 816218 h 2195932"/>
                <a:gd name="connsiteX230" fmla="*/ 1475284 w 5446941"/>
                <a:gd name="connsiteY230" fmla="*/ 825354 h 2195932"/>
                <a:gd name="connsiteX231" fmla="*/ 1492569 w 5446941"/>
                <a:gd name="connsiteY231" fmla="*/ 817934 h 2195932"/>
                <a:gd name="connsiteX232" fmla="*/ 1500460 w 5446941"/>
                <a:gd name="connsiteY232" fmla="*/ 808798 h 2195932"/>
                <a:gd name="connsiteX233" fmla="*/ 1515257 w 5446941"/>
                <a:gd name="connsiteY233" fmla="*/ 794559 h 2195932"/>
                <a:gd name="connsiteX234" fmla="*/ 1525636 w 5446941"/>
                <a:gd name="connsiteY234" fmla="*/ 774015 h 2195932"/>
                <a:gd name="connsiteX235" fmla="*/ 1534514 w 5446941"/>
                <a:gd name="connsiteY235" fmla="*/ 761449 h 2195932"/>
                <a:gd name="connsiteX236" fmla="*/ 1550813 w 5446941"/>
                <a:gd name="connsiteY236" fmla="*/ 748882 h 2195932"/>
                <a:gd name="connsiteX237" fmla="*/ 1556731 w 5446941"/>
                <a:gd name="connsiteY237" fmla="*/ 730611 h 2195932"/>
                <a:gd name="connsiteX238" fmla="*/ 1565609 w 5446941"/>
                <a:gd name="connsiteY238" fmla="*/ 704921 h 2195932"/>
                <a:gd name="connsiteX239" fmla="*/ 1566639 w 5446941"/>
                <a:gd name="connsiteY239" fmla="*/ 690638 h 2195932"/>
                <a:gd name="connsiteX240" fmla="*/ 1540476 w 5446941"/>
                <a:gd name="connsiteY240" fmla="*/ 657528 h 2195932"/>
                <a:gd name="connsiteX241" fmla="*/ 1539447 w 5446941"/>
                <a:gd name="connsiteY241" fmla="*/ 618155 h 2195932"/>
                <a:gd name="connsiteX242" fmla="*/ 1538975 w 5446941"/>
                <a:gd name="connsiteY242" fmla="*/ 581571 h 2195932"/>
                <a:gd name="connsiteX243" fmla="*/ 1547381 w 5446941"/>
                <a:gd name="connsiteY243" fmla="*/ 541040 h 2195932"/>
                <a:gd name="connsiteX244" fmla="*/ 1520233 w 5446941"/>
                <a:gd name="connsiteY244" fmla="*/ 497079 h 2195932"/>
                <a:gd name="connsiteX245" fmla="*/ 1531083 w 5446941"/>
                <a:gd name="connsiteY245" fmla="*/ 467957 h 2195932"/>
                <a:gd name="connsiteX246" fmla="*/ 1545409 w 5446941"/>
                <a:gd name="connsiteY246" fmla="*/ 402294 h 2195932"/>
                <a:gd name="connsiteX247" fmla="*/ 1503934 w 5446941"/>
                <a:gd name="connsiteY247" fmla="*/ 386296 h 2195932"/>
                <a:gd name="connsiteX248" fmla="*/ 1464090 w 5446941"/>
                <a:gd name="connsiteY248" fmla="*/ 385395 h 2195932"/>
                <a:gd name="connsiteX249" fmla="*/ 1458343 w 5446941"/>
                <a:gd name="connsiteY249" fmla="*/ 386425 h 2195932"/>
                <a:gd name="connsiteX250" fmla="*/ 1454483 w 5446941"/>
                <a:gd name="connsiteY250" fmla="*/ 412801 h 2195932"/>
                <a:gd name="connsiteX251" fmla="*/ 1381700 w 5446941"/>
                <a:gd name="connsiteY251" fmla="*/ 505099 h 2195932"/>
                <a:gd name="connsiteX252" fmla="*/ 1377754 w 5446941"/>
                <a:gd name="connsiteY252" fmla="*/ 506043 h 2195932"/>
                <a:gd name="connsiteX253" fmla="*/ 1359183 w 5446941"/>
                <a:gd name="connsiteY253" fmla="*/ 537438 h 2195932"/>
                <a:gd name="connsiteX254" fmla="*/ 1359741 w 5446941"/>
                <a:gd name="connsiteY254" fmla="*/ 537652 h 2195932"/>
                <a:gd name="connsiteX255" fmla="*/ 1355795 w 5446941"/>
                <a:gd name="connsiteY255" fmla="*/ 568490 h 2195932"/>
                <a:gd name="connsiteX256" fmla="*/ 1353822 w 5446941"/>
                <a:gd name="connsiteY256" fmla="*/ 586761 h 2195932"/>
                <a:gd name="connsiteX257" fmla="*/ 1342456 w 5446941"/>
                <a:gd name="connsiteY257" fmla="*/ 613052 h 2195932"/>
                <a:gd name="connsiteX258" fmla="*/ 1381957 w 5446941"/>
                <a:gd name="connsiteY258" fmla="*/ 630164 h 2195932"/>
                <a:gd name="connsiteX259" fmla="*/ 1396282 w 5446941"/>
                <a:gd name="connsiteY259" fmla="*/ 661559 h 2195932"/>
                <a:gd name="connsiteX260" fmla="*/ 1416526 w 5446941"/>
                <a:gd name="connsiteY260" fmla="*/ 673526 h 2195932"/>
                <a:gd name="connsiteX261" fmla="*/ 1395768 w 5446941"/>
                <a:gd name="connsiteY261" fmla="*/ 711740 h 2195932"/>
                <a:gd name="connsiteX262" fmla="*/ 1355280 w 5446941"/>
                <a:gd name="connsiteY262" fmla="*/ 674641 h 2195932"/>
                <a:gd name="connsiteX263" fmla="*/ 1301497 w 5446941"/>
                <a:gd name="connsiteY263" fmla="*/ 647792 h 2195932"/>
                <a:gd name="connsiteX264" fmla="*/ 1257878 w 5446941"/>
                <a:gd name="connsiteY264" fmla="*/ 627248 h 2195932"/>
                <a:gd name="connsiteX265" fmla="*/ 1239436 w 5446941"/>
                <a:gd name="connsiteY265" fmla="*/ 630079 h 2195932"/>
                <a:gd name="connsiteX266" fmla="*/ 1187626 w 5446941"/>
                <a:gd name="connsiteY266" fmla="*/ 620171 h 2195932"/>
                <a:gd name="connsiteX267" fmla="*/ 1166825 w 5446941"/>
                <a:gd name="connsiteY267" fmla="*/ 605803 h 2195932"/>
                <a:gd name="connsiteX268" fmla="*/ 1134572 w 5446941"/>
                <a:gd name="connsiteY268" fmla="*/ 601514 h 2195932"/>
                <a:gd name="connsiteX269" fmla="*/ 1109910 w 5446941"/>
                <a:gd name="connsiteY269" fmla="*/ 580413 h 2195932"/>
                <a:gd name="connsiteX270" fmla="*/ 1069423 w 5446941"/>
                <a:gd name="connsiteY270" fmla="*/ 565016 h 2195932"/>
                <a:gd name="connsiteX271" fmla="*/ 1078816 w 5446941"/>
                <a:gd name="connsiteY271" fmla="*/ 596968 h 2195932"/>
                <a:gd name="connsiteX272" fmla="*/ 1103477 w 5446941"/>
                <a:gd name="connsiteY272" fmla="*/ 608377 h 2195932"/>
                <a:gd name="connsiteX273" fmla="*/ 1124707 w 5446941"/>
                <a:gd name="connsiteY273" fmla="*/ 626047 h 2195932"/>
                <a:gd name="connsiteX274" fmla="*/ 1140019 w 5446941"/>
                <a:gd name="connsiteY274" fmla="*/ 658043 h 2195932"/>
                <a:gd name="connsiteX275" fmla="*/ 1129639 w 5446941"/>
                <a:gd name="connsiteY275" fmla="*/ 679144 h 2195932"/>
                <a:gd name="connsiteX276" fmla="*/ 1106951 w 5446941"/>
                <a:gd name="connsiteY276" fmla="*/ 692268 h 2195932"/>
                <a:gd name="connsiteX277" fmla="*/ 1089667 w 5446941"/>
                <a:gd name="connsiteY277" fmla="*/ 700289 h 2195932"/>
                <a:gd name="connsiteX278" fmla="*/ 1089667 w 5446941"/>
                <a:gd name="connsiteY278" fmla="*/ 677428 h 2195932"/>
                <a:gd name="connsiteX279" fmla="*/ 1069423 w 5446941"/>
                <a:gd name="connsiteY279" fmla="*/ 659758 h 2195932"/>
                <a:gd name="connsiteX280" fmla="*/ 1018084 w 5446941"/>
                <a:gd name="connsiteY280" fmla="*/ 689438 h 2195932"/>
                <a:gd name="connsiteX281" fmla="*/ 961770 w 5446941"/>
                <a:gd name="connsiteY281" fmla="*/ 689438 h 2195932"/>
                <a:gd name="connsiteX282" fmla="*/ 930633 w 5446941"/>
                <a:gd name="connsiteY282" fmla="*/ 715729 h 2195932"/>
                <a:gd name="connsiteX283" fmla="*/ 885685 w 5446941"/>
                <a:gd name="connsiteY283" fmla="*/ 711697 h 2195932"/>
                <a:gd name="connsiteX284" fmla="*/ 894091 w 5446941"/>
                <a:gd name="connsiteY284" fmla="*/ 701446 h 2195932"/>
                <a:gd name="connsiteX285" fmla="*/ 901983 w 5446941"/>
                <a:gd name="connsiteY285" fmla="*/ 690038 h 2195932"/>
                <a:gd name="connsiteX286" fmla="*/ 909403 w 5446941"/>
                <a:gd name="connsiteY286" fmla="*/ 663747 h 2195932"/>
                <a:gd name="connsiteX287" fmla="*/ 863983 w 5446941"/>
                <a:gd name="connsiteY287" fmla="*/ 679187 h 2195932"/>
                <a:gd name="connsiteX288" fmla="*/ 857550 w 5446941"/>
                <a:gd name="connsiteY288" fmla="*/ 700889 h 2195932"/>
                <a:gd name="connsiteX289" fmla="*/ 842710 w 5446941"/>
                <a:gd name="connsiteY289" fmla="*/ 690596 h 2195932"/>
                <a:gd name="connsiteX290" fmla="*/ 766195 w 5446941"/>
                <a:gd name="connsiteY290" fmla="*/ 716844 h 2195932"/>
                <a:gd name="connsiteX291" fmla="*/ 734071 w 5446941"/>
                <a:gd name="connsiteY291" fmla="*/ 739704 h 2195932"/>
                <a:gd name="connsiteX292" fmla="*/ 697530 w 5446941"/>
                <a:gd name="connsiteY292" fmla="*/ 752828 h 2195932"/>
                <a:gd name="connsiteX293" fmla="*/ 690110 w 5446941"/>
                <a:gd name="connsiteY293" fmla="*/ 793358 h 2195932"/>
                <a:gd name="connsiteX294" fmla="*/ 633324 w 5446941"/>
                <a:gd name="connsiteY294" fmla="*/ 801936 h 2195932"/>
                <a:gd name="connsiteX295" fmla="*/ 606647 w 5446941"/>
                <a:gd name="connsiteY295" fmla="*/ 772814 h 2195932"/>
                <a:gd name="connsiteX296" fmla="*/ 605660 w 5446941"/>
                <a:gd name="connsiteY296" fmla="*/ 748282 h 2195932"/>
                <a:gd name="connsiteX297" fmla="*/ 628864 w 5446941"/>
                <a:gd name="connsiteY297" fmla="*/ 737988 h 2195932"/>
                <a:gd name="connsiteX298" fmla="*/ 658500 w 5446941"/>
                <a:gd name="connsiteY298" fmla="*/ 736230 h 2195932"/>
                <a:gd name="connsiteX299" fmla="*/ 638257 w 5446941"/>
                <a:gd name="connsiteY299" fmla="*/ 699088 h 2195932"/>
                <a:gd name="connsiteX300" fmla="*/ 595753 w 5446941"/>
                <a:gd name="connsiteY300" fmla="*/ 685406 h 2195932"/>
                <a:gd name="connsiteX301" fmla="*/ 575638 w 5446941"/>
                <a:gd name="connsiteY301" fmla="*/ 686950 h 2195932"/>
                <a:gd name="connsiteX302" fmla="*/ 568905 w 5446941"/>
                <a:gd name="connsiteY302" fmla="*/ 702004 h 2195932"/>
                <a:gd name="connsiteX303" fmla="*/ 570063 w 5446941"/>
                <a:gd name="connsiteY303" fmla="*/ 721948 h 2195932"/>
                <a:gd name="connsiteX304" fmla="*/ 557196 w 5446941"/>
                <a:gd name="connsiteY304" fmla="*/ 764794 h 2195932"/>
                <a:gd name="connsiteX305" fmla="*/ 568090 w 5446941"/>
                <a:gd name="connsiteY305" fmla="*/ 778476 h 2195932"/>
                <a:gd name="connsiteX306" fmla="*/ 580442 w 5446941"/>
                <a:gd name="connsiteY306" fmla="*/ 812744 h 2195932"/>
                <a:gd name="connsiteX307" fmla="*/ 570063 w 5446941"/>
                <a:gd name="connsiteY307" fmla="*/ 842467 h 2195932"/>
                <a:gd name="connsiteX308" fmla="*/ 555738 w 5446941"/>
                <a:gd name="connsiteY308" fmla="*/ 841909 h 2195932"/>
                <a:gd name="connsiteX309" fmla="*/ 545873 w 5446941"/>
                <a:gd name="connsiteY309" fmla="*/ 830500 h 2195932"/>
                <a:gd name="connsiteX310" fmla="*/ 512291 w 5446941"/>
                <a:gd name="connsiteY310" fmla="*/ 823081 h 2195932"/>
                <a:gd name="connsiteX311" fmla="*/ 491060 w 5446941"/>
                <a:gd name="connsiteY311" fmla="*/ 835047 h 2195932"/>
                <a:gd name="connsiteX312" fmla="*/ 461424 w 5446941"/>
                <a:gd name="connsiteY312" fmla="*/ 849886 h 2195932"/>
                <a:gd name="connsiteX313" fmla="*/ 429343 w 5446941"/>
                <a:gd name="connsiteY313" fmla="*/ 876735 h 2195932"/>
                <a:gd name="connsiteX314" fmla="*/ 431316 w 5446941"/>
                <a:gd name="connsiteY314" fmla="*/ 910403 h 2195932"/>
                <a:gd name="connsiteX315" fmla="*/ 445169 w 5446941"/>
                <a:gd name="connsiteY315" fmla="*/ 940640 h 2195932"/>
                <a:gd name="connsiteX316" fmla="*/ 405196 w 5446941"/>
                <a:gd name="connsiteY316" fmla="*/ 937809 h 2195932"/>
                <a:gd name="connsiteX317" fmla="*/ 370627 w 5446941"/>
                <a:gd name="connsiteY317" fmla="*/ 928674 h 2195932"/>
                <a:gd name="connsiteX318" fmla="*/ 332628 w 5446941"/>
                <a:gd name="connsiteY318" fmla="*/ 902426 h 2195932"/>
                <a:gd name="connsiteX319" fmla="*/ 312384 w 5446941"/>
                <a:gd name="connsiteY319" fmla="*/ 924085 h 2195932"/>
                <a:gd name="connsiteX320" fmla="*/ 322248 w 5446941"/>
                <a:gd name="connsiteY320" fmla="*/ 946344 h 2195932"/>
                <a:gd name="connsiteX321" fmla="*/ 354844 w 5446941"/>
                <a:gd name="connsiteY321" fmla="*/ 959469 h 2195932"/>
                <a:gd name="connsiteX322" fmla="*/ 357804 w 5446941"/>
                <a:gd name="connsiteY322" fmla="*/ 982886 h 2195932"/>
                <a:gd name="connsiteX323" fmla="*/ 332628 w 5446941"/>
                <a:gd name="connsiteY323" fmla="*/ 987432 h 2195932"/>
                <a:gd name="connsiteX324" fmla="*/ 306465 w 5446941"/>
                <a:gd name="connsiteY324" fmla="*/ 978297 h 2195932"/>
                <a:gd name="connsiteX325" fmla="*/ 275842 w 5446941"/>
                <a:gd name="connsiteY325" fmla="*/ 958310 h 2195932"/>
                <a:gd name="connsiteX326" fmla="*/ 258558 w 5446941"/>
                <a:gd name="connsiteY326" fmla="*/ 936008 h 2195932"/>
                <a:gd name="connsiteX327" fmla="*/ 250623 w 5446941"/>
                <a:gd name="connsiteY327" fmla="*/ 908044 h 2195932"/>
                <a:gd name="connsiteX328" fmla="*/ 251610 w 5446941"/>
                <a:gd name="connsiteY328" fmla="*/ 882911 h 2195932"/>
                <a:gd name="connsiteX329" fmla="*/ 254097 w 5446941"/>
                <a:gd name="connsiteY329" fmla="*/ 858378 h 2195932"/>
                <a:gd name="connsiteX330" fmla="*/ 228406 w 5446941"/>
                <a:gd name="connsiteY330" fmla="*/ 836676 h 2195932"/>
                <a:gd name="connsiteX331" fmla="*/ 208163 w 5446941"/>
                <a:gd name="connsiteY331" fmla="*/ 819564 h 2195932"/>
                <a:gd name="connsiteX332" fmla="*/ 175567 w 5446941"/>
                <a:gd name="connsiteY332" fmla="*/ 788169 h 2195932"/>
                <a:gd name="connsiteX333" fmla="*/ 163686 w 5446941"/>
                <a:gd name="connsiteY333" fmla="*/ 775602 h 2195932"/>
                <a:gd name="connsiteX334" fmla="*/ 190363 w 5446941"/>
                <a:gd name="connsiteY334" fmla="*/ 787011 h 2195932"/>
                <a:gd name="connsiteX335" fmla="*/ 236770 w 5446941"/>
                <a:gd name="connsiteY335" fmla="*/ 809871 h 2195932"/>
                <a:gd name="connsiteX336" fmla="*/ 295014 w 5446941"/>
                <a:gd name="connsiteY336" fmla="*/ 830972 h 2195932"/>
                <a:gd name="connsiteX337" fmla="*/ 373029 w 5446941"/>
                <a:gd name="connsiteY337" fmla="*/ 845855 h 2195932"/>
                <a:gd name="connsiteX338" fmla="*/ 469830 w 5446941"/>
                <a:gd name="connsiteY338" fmla="*/ 796747 h 2195932"/>
                <a:gd name="connsiteX339" fmla="*/ 467600 w 5446941"/>
                <a:gd name="connsiteY339" fmla="*/ 755916 h 2195932"/>
                <a:gd name="connsiteX340" fmla="*/ 426083 w 5446941"/>
                <a:gd name="connsiteY340" fmla="*/ 729753 h 2195932"/>
                <a:gd name="connsiteX341" fmla="*/ 423424 w 5446941"/>
                <a:gd name="connsiteY341" fmla="*/ 727008 h 2195932"/>
                <a:gd name="connsiteX342" fmla="*/ 417205 w 5446941"/>
                <a:gd name="connsiteY342" fmla="*/ 726365 h 2195932"/>
                <a:gd name="connsiteX343" fmla="*/ 375431 w 5446941"/>
                <a:gd name="connsiteY343" fmla="*/ 705392 h 2195932"/>
                <a:gd name="connsiteX344" fmla="*/ 365996 w 5446941"/>
                <a:gd name="connsiteY344" fmla="*/ 685577 h 2195932"/>
                <a:gd name="connsiteX345" fmla="*/ 345580 w 5446941"/>
                <a:gd name="connsiteY345" fmla="*/ 669966 h 2195932"/>
                <a:gd name="connsiteX346" fmla="*/ 326237 w 5446941"/>
                <a:gd name="connsiteY346" fmla="*/ 660358 h 2195932"/>
                <a:gd name="connsiteX347" fmla="*/ 307237 w 5446941"/>
                <a:gd name="connsiteY347" fmla="*/ 660358 h 2195932"/>
                <a:gd name="connsiteX348" fmla="*/ 284806 w 5446941"/>
                <a:gd name="connsiteY348" fmla="*/ 651952 h 2195932"/>
                <a:gd name="connsiteX349" fmla="*/ 254998 w 5446941"/>
                <a:gd name="connsiteY349" fmla="*/ 636298 h 2195932"/>
                <a:gd name="connsiteX350" fmla="*/ 250623 w 5446941"/>
                <a:gd name="connsiteY350" fmla="*/ 633982 h 2195932"/>
                <a:gd name="connsiteX351" fmla="*/ 243932 w 5446941"/>
                <a:gd name="connsiteY351" fmla="*/ 630379 h 2195932"/>
                <a:gd name="connsiteX352" fmla="*/ 234325 w 5446941"/>
                <a:gd name="connsiteY352" fmla="*/ 624846 h 2195932"/>
                <a:gd name="connsiteX353" fmla="*/ 223903 w 5446941"/>
                <a:gd name="connsiteY353" fmla="*/ 629993 h 2195932"/>
                <a:gd name="connsiteX354" fmla="*/ 193280 w 5446941"/>
                <a:gd name="connsiteY354" fmla="*/ 627677 h 2195932"/>
                <a:gd name="connsiteX355" fmla="*/ 174495 w 5446941"/>
                <a:gd name="connsiteY355" fmla="*/ 615110 h 2195932"/>
                <a:gd name="connsiteX356" fmla="*/ 199199 w 5446941"/>
                <a:gd name="connsiteY356" fmla="*/ 605975 h 2195932"/>
                <a:gd name="connsiteX357" fmla="*/ 176982 w 5446941"/>
                <a:gd name="connsiteY357" fmla="*/ 595681 h 2195932"/>
                <a:gd name="connsiteX358" fmla="*/ 153264 w 5446941"/>
                <a:gd name="connsiteY358" fmla="*/ 600828 h 2195932"/>
                <a:gd name="connsiteX359" fmla="*/ 133021 w 5446941"/>
                <a:gd name="connsiteY359" fmla="*/ 599670 h 2195932"/>
                <a:gd name="connsiteX360" fmla="*/ 130747 w 5446941"/>
                <a:gd name="connsiteY360" fmla="*/ 597826 h 2195932"/>
                <a:gd name="connsiteX361" fmla="*/ 113763 w 5446941"/>
                <a:gd name="connsiteY361" fmla="*/ 611679 h 2195932"/>
                <a:gd name="connsiteX362" fmla="*/ 86143 w 5446941"/>
                <a:gd name="connsiteY362" fmla="*/ 626519 h 2195932"/>
                <a:gd name="connsiteX363" fmla="*/ 63411 w 5446941"/>
                <a:gd name="connsiteY363" fmla="*/ 649336 h 2195932"/>
                <a:gd name="connsiteX364" fmla="*/ 50630 w 5446941"/>
                <a:gd name="connsiteY364" fmla="*/ 660745 h 2195932"/>
                <a:gd name="connsiteX365" fmla="*/ 45655 w 5446941"/>
                <a:gd name="connsiteY365" fmla="*/ 681288 h 2195932"/>
                <a:gd name="connsiteX366" fmla="*/ 50630 w 5446941"/>
                <a:gd name="connsiteY366" fmla="*/ 702990 h 2195932"/>
                <a:gd name="connsiteX367" fmla="*/ 71346 w 5446941"/>
                <a:gd name="connsiteY367" fmla="*/ 716715 h 2195932"/>
                <a:gd name="connsiteX368" fmla="*/ 95064 w 5446941"/>
                <a:gd name="connsiteY368" fmla="*/ 745279 h 2195932"/>
                <a:gd name="connsiteX369" fmla="*/ 74348 w 5446941"/>
                <a:gd name="connsiteY369" fmla="*/ 773844 h 2195932"/>
                <a:gd name="connsiteX370" fmla="*/ 64441 w 5446941"/>
                <a:gd name="connsiteY370" fmla="*/ 796661 h 2195932"/>
                <a:gd name="connsiteX371" fmla="*/ 96050 w 5446941"/>
                <a:gd name="connsiteY371" fmla="*/ 854904 h 2195932"/>
                <a:gd name="connsiteX372" fmla="*/ 85199 w 5446941"/>
                <a:gd name="connsiteY372" fmla="*/ 877722 h 2195932"/>
                <a:gd name="connsiteX373" fmla="*/ 90131 w 5446941"/>
                <a:gd name="connsiteY373" fmla="*/ 907444 h 2195932"/>
                <a:gd name="connsiteX374" fmla="*/ 82240 w 5446941"/>
                <a:gd name="connsiteY374" fmla="*/ 918852 h 2195932"/>
                <a:gd name="connsiteX375" fmla="*/ 99010 w 5446941"/>
                <a:gd name="connsiteY375" fmla="*/ 931419 h 2195932"/>
                <a:gd name="connsiteX376" fmla="*/ 94077 w 5446941"/>
                <a:gd name="connsiteY376" fmla="*/ 950848 h 2195932"/>
                <a:gd name="connsiteX377" fmla="*/ 111833 w 5446941"/>
                <a:gd name="connsiteY377" fmla="*/ 971392 h 2195932"/>
                <a:gd name="connsiteX378" fmla="*/ 91118 w 5446941"/>
                <a:gd name="connsiteY378" fmla="*/ 993137 h 2195932"/>
                <a:gd name="connsiteX379" fmla="*/ 133578 w 5446941"/>
                <a:gd name="connsiteY379" fmla="*/ 1030794 h 2195932"/>
                <a:gd name="connsiteX380" fmla="*/ 142456 w 5446941"/>
                <a:gd name="connsiteY380" fmla="*/ 1061631 h 2195932"/>
                <a:gd name="connsiteX381" fmla="*/ 93048 w 5446941"/>
                <a:gd name="connsiteY381" fmla="*/ 1116443 h 2195932"/>
                <a:gd name="connsiteX382" fmla="*/ 41709 w 5446941"/>
                <a:gd name="connsiteY382" fmla="*/ 1164437 h 2195932"/>
                <a:gd name="connsiteX383" fmla="*/ 25754 w 5446941"/>
                <a:gd name="connsiteY383" fmla="*/ 1187897 h 2195932"/>
                <a:gd name="connsiteX384" fmla="*/ 39693 w 5446941"/>
                <a:gd name="connsiteY384" fmla="*/ 1182150 h 2195932"/>
                <a:gd name="connsiteX385" fmla="*/ 60924 w 5446941"/>
                <a:gd name="connsiteY385" fmla="*/ 1207283 h 2195932"/>
                <a:gd name="connsiteX386" fmla="*/ 90045 w 5446941"/>
                <a:gd name="connsiteY386" fmla="*/ 1214703 h 2195932"/>
                <a:gd name="connsiteX387" fmla="*/ 74262 w 5446941"/>
                <a:gd name="connsiteY387" fmla="*/ 1219850 h 2195932"/>
                <a:gd name="connsiteX388" fmla="*/ 42138 w 5446941"/>
                <a:gd name="connsiteY388" fmla="*/ 1232416 h 2195932"/>
                <a:gd name="connsiteX389" fmla="*/ 25754 w 5446941"/>
                <a:gd name="connsiteY389" fmla="*/ 1247299 h 2195932"/>
                <a:gd name="connsiteX390" fmla="*/ 18935 w 5446941"/>
                <a:gd name="connsiteY390" fmla="*/ 1272646 h 2195932"/>
                <a:gd name="connsiteX391" fmla="*/ 7827 w 5446941"/>
                <a:gd name="connsiteY391" fmla="*/ 1292332 h 2195932"/>
                <a:gd name="connsiteX392" fmla="*/ 10057 w 5446941"/>
                <a:gd name="connsiteY392" fmla="*/ 1314592 h 2195932"/>
                <a:gd name="connsiteX393" fmla="*/ 17434 w 5446941"/>
                <a:gd name="connsiteY393" fmla="*/ 1335179 h 2195932"/>
                <a:gd name="connsiteX394" fmla="*/ 8556 w 5446941"/>
                <a:gd name="connsiteY394" fmla="*/ 1348046 h 2195932"/>
                <a:gd name="connsiteX395" fmla="*/ 13016 w 5446941"/>
                <a:gd name="connsiteY395" fmla="*/ 1368590 h 2195932"/>
                <a:gd name="connsiteX396" fmla="*/ 16748 w 5446941"/>
                <a:gd name="connsiteY396" fmla="*/ 1389991 h 2195932"/>
                <a:gd name="connsiteX397" fmla="*/ 27127 w 5446941"/>
                <a:gd name="connsiteY397" fmla="*/ 1412251 h 2195932"/>
                <a:gd name="connsiteX398" fmla="*/ 36005 w 5446941"/>
                <a:gd name="connsiteY398" fmla="*/ 1438799 h 2195932"/>
                <a:gd name="connsiteX399" fmla="*/ 53804 w 5446941"/>
                <a:gd name="connsiteY399" fmla="*/ 1444804 h 2195932"/>
                <a:gd name="connsiteX400" fmla="*/ 70831 w 5446941"/>
                <a:gd name="connsiteY400" fmla="*/ 1454240 h 2195932"/>
                <a:gd name="connsiteX401" fmla="*/ 88630 w 5446941"/>
                <a:gd name="connsiteY401" fmla="*/ 1454240 h 2195932"/>
                <a:gd name="connsiteX402" fmla="*/ 119725 w 5446941"/>
                <a:gd name="connsiteY402" fmla="*/ 1464490 h 2195932"/>
                <a:gd name="connsiteX403" fmla="*/ 122684 w 5446941"/>
                <a:gd name="connsiteY403" fmla="*/ 1491039 h 2195932"/>
                <a:gd name="connsiteX404" fmla="*/ 126415 w 5446941"/>
                <a:gd name="connsiteY404" fmla="*/ 1518488 h 2195932"/>
                <a:gd name="connsiteX405" fmla="*/ 141941 w 5446941"/>
                <a:gd name="connsiteY405" fmla="*/ 1542463 h 2195932"/>
                <a:gd name="connsiteX406" fmla="*/ 161199 w 5446941"/>
                <a:gd name="connsiteY406" fmla="*/ 1563908 h 2195932"/>
                <a:gd name="connsiteX407" fmla="*/ 179727 w 5446941"/>
                <a:gd name="connsiteY407" fmla="*/ 1583594 h 2195932"/>
                <a:gd name="connsiteX408" fmla="*/ 162700 w 5446941"/>
                <a:gd name="connsiteY408" fmla="*/ 1601564 h 2195932"/>
                <a:gd name="connsiteX409" fmla="*/ 139025 w 5446941"/>
                <a:gd name="connsiteY409" fmla="*/ 1597275 h 2195932"/>
                <a:gd name="connsiteX410" fmla="*/ 144172 w 5446941"/>
                <a:gd name="connsiteY410" fmla="*/ 1633260 h 2195932"/>
                <a:gd name="connsiteX411" fmla="*/ 158282 w 5446941"/>
                <a:gd name="connsiteY411" fmla="*/ 1653804 h 2195932"/>
                <a:gd name="connsiteX412" fmla="*/ 173851 w 5446941"/>
                <a:gd name="connsiteY412" fmla="*/ 1644368 h 2195932"/>
                <a:gd name="connsiteX413" fmla="*/ 196068 w 5446941"/>
                <a:gd name="connsiteY413" fmla="*/ 1643510 h 2195932"/>
                <a:gd name="connsiteX414" fmla="*/ 223474 w 5446941"/>
                <a:gd name="connsiteY414" fmla="*/ 1646941 h 2195932"/>
                <a:gd name="connsiteX415" fmla="*/ 227935 w 5446941"/>
                <a:gd name="connsiteY415" fmla="*/ 1676063 h 2195932"/>
                <a:gd name="connsiteX416" fmla="*/ 235354 w 5446941"/>
                <a:gd name="connsiteY416" fmla="*/ 1697465 h 2195932"/>
                <a:gd name="connsiteX417" fmla="*/ 259802 w 5446941"/>
                <a:gd name="connsiteY417" fmla="*/ 1704327 h 2195932"/>
                <a:gd name="connsiteX418" fmla="*/ 274598 w 5446941"/>
                <a:gd name="connsiteY418" fmla="*/ 1734307 h 2195932"/>
                <a:gd name="connsiteX419" fmla="*/ 287207 w 5446941"/>
                <a:gd name="connsiteY419" fmla="*/ 1742027 h 2195932"/>
                <a:gd name="connsiteX420" fmla="*/ 303506 w 5446941"/>
                <a:gd name="connsiteY420" fmla="*/ 1750605 h 2195932"/>
                <a:gd name="connsiteX421" fmla="*/ 320532 w 5446941"/>
                <a:gd name="connsiteY421" fmla="*/ 1748889 h 2195932"/>
                <a:gd name="connsiteX422" fmla="*/ 339061 w 5446941"/>
                <a:gd name="connsiteY422" fmla="*/ 1747174 h 2195932"/>
                <a:gd name="connsiteX423" fmla="*/ 353858 w 5446941"/>
                <a:gd name="connsiteY423" fmla="*/ 1767717 h 2195932"/>
                <a:gd name="connsiteX424" fmla="*/ 381264 w 5446941"/>
                <a:gd name="connsiteY424" fmla="*/ 1772864 h 2195932"/>
                <a:gd name="connsiteX425" fmla="*/ 409442 w 5446941"/>
                <a:gd name="connsiteY425" fmla="*/ 1781442 h 2195932"/>
                <a:gd name="connsiteX426" fmla="*/ 428700 w 5446941"/>
                <a:gd name="connsiteY426" fmla="*/ 1795124 h 2195932"/>
                <a:gd name="connsiteX427" fmla="*/ 419092 w 5446941"/>
                <a:gd name="connsiteY427" fmla="*/ 1811379 h 2195932"/>
                <a:gd name="connsiteX428" fmla="*/ 427241 w 5446941"/>
                <a:gd name="connsiteY428" fmla="*/ 1822530 h 2195932"/>
                <a:gd name="connsiteX429" fmla="*/ 415404 w 5446941"/>
                <a:gd name="connsiteY429" fmla="*/ 1831966 h 2195932"/>
                <a:gd name="connsiteX430" fmla="*/ 422781 w 5446941"/>
                <a:gd name="connsiteY430" fmla="*/ 1846548 h 2195932"/>
                <a:gd name="connsiteX431" fmla="*/ 416862 w 5446941"/>
                <a:gd name="connsiteY431" fmla="*/ 1869665 h 2195932"/>
                <a:gd name="connsiteX432" fmla="*/ 389456 w 5446941"/>
                <a:gd name="connsiteY432" fmla="*/ 1868808 h 2195932"/>
                <a:gd name="connsiteX433" fmla="*/ 363551 w 5446941"/>
                <a:gd name="connsiteY433" fmla="*/ 1889352 h 2195932"/>
                <a:gd name="connsiteX434" fmla="*/ 362821 w 5446941"/>
                <a:gd name="connsiteY434" fmla="*/ 1907665 h 2195932"/>
                <a:gd name="connsiteX435" fmla="*/ 396919 w 5446941"/>
                <a:gd name="connsiteY435" fmla="*/ 1906765 h 2195932"/>
                <a:gd name="connsiteX436" fmla="*/ 355444 w 5446941"/>
                <a:gd name="connsiteY436" fmla="*/ 1934728 h 2195932"/>
                <a:gd name="connsiteX437" fmla="*/ 368268 w 5446941"/>
                <a:gd name="connsiteY437" fmla="*/ 1956430 h 2195932"/>
                <a:gd name="connsiteX438" fmla="*/ 348496 w 5446941"/>
                <a:gd name="connsiteY438" fmla="*/ 1978690 h 2195932"/>
                <a:gd name="connsiteX439" fmla="*/ 330225 w 5446941"/>
                <a:gd name="connsiteY439" fmla="*/ 1995288 h 2195932"/>
                <a:gd name="connsiteX440" fmla="*/ 321348 w 5446941"/>
                <a:gd name="connsiteY440" fmla="*/ 2004381 h 2195932"/>
                <a:gd name="connsiteX441" fmla="*/ 347553 w 5446941"/>
                <a:gd name="connsiteY441" fmla="*/ 2028956 h 2195932"/>
                <a:gd name="connsiteX442" fmla="*/ 409785 w 5446941"/>
                <a:gd name="connsiteY442" fmla="*/ 2080938 h 2195932"/>
                <a:gd name="connsiteX443" fmla="*/ 418492 w 5446941"/>
                <a:gd name="connsiteY443" fmla="*/ 2088830 h 2195932"/>
                <a:gd name="connsiteX444" fmla="*/ 431015 w 5446941"/>
                <a:gd name="connsiteY444" fmla="*/ 2082096 h 2195932"/>
                <a:gd name="connsiteX445" fmla="*/ 471031 w 5446941"/>
                <a:gd name="connsiteY445" fmla="*/ 2095778 h 2195932"/>
                <a:gd name="connsiteX446" fmla="*/ 522884 w 5446941"/>
                <a:gd name="connsiteY446" fmla="*/ 2100925 h 2195932"/>
                <a:gd name="connsiteX447" fmla="*/ 543643 w 5446941"/>
                <a:gd name="connsiteY447" fmla="*/ 2116322 h 2195932"/>
                <a:gd name="connsiteX448" fmla="*/ 564359 w 5446941"/>
                <a:gd name="connsiteY448" fmla="*/ 2128331 h 2195932"/>
                <a:gd name="connsiteX449" fmla="*/ 598412 w 5446941"/>
                <a:gd name="connsiteY449" fmla="*/ 2123184 h 2195932"/>
                <a:gd name="connsiteX450" fmla="*/ 610250 w 5446941"/>
                <a:gd name="connsiteY450" fmla="*/ 2128331 h 2195932"/>
                <a:gd name="connsiteX451" fmla="*/ 620629 w 5446941"/>
                <a:gd name="connsiteY451" fmla="*/ 2152306 h 2195932"/>
                <a:gd name="connsiteX452" fmla="*/ 651724 w 5446941"/>
                <a:gd name="connsiteY452" fmla="*/ 2169419 h 2195932"/>
                <a:gd name="connsiteX453" fmla="*/ 676900 w 5446941"/>
                <a:gd name="connsiteY453" fmla="*/ 2189963 h 2195932"/>
                <a:gd name="connsiteX454" fmla="*/ 691697 w 5446941"/>
                <a:gd name="connsiteY454" fmla="*/ 2189963 h 2195932"/>
                <a:gd name="connsiteX455" fmla="*/ 713227 w 5446941"/>
                <a:gd name="connsiteY455" fmla="*/ 2171692 h 2195932"/>
                <a:gd name="connsiteX456" fmla="*/ 674927 w 5446941"/>
                <a:gd name="connsiteY456" fmla="*/ 2104313 h 2195932"/>
                <a:gd name="connsiteX457" fmla="*/ 662060 w 5446941"/>
                <a:gd name="connsiteY457" fmla="*/ 2051774 h 2195932"/>
                <a:gd name="connsiteX458" fmla="*/ 678873 w 5446941"/>
                <a:gd name="connsiteY458" fmla="*/ 1995803 h 2195932"/>
                <a:gd name="connsiteX459" fmla="*/ 738103 w 5446941"/>
                <a:gd name="connsiteY459" fmla="*/ 1954115 h 2195932"/>
                <a:gd name="connsiteX460" fmla="*/ 727252 w 5446941"/>
                <a:gd name="connsiteY460" fmla="*/ 1946695 h 2195932"/>
                <a:gd name="connsiteX461" fmla="*/ 719832 w 5446941"/>
                <a:gd name="connsiteY461" fmla="*/ 1929582 h 2195932"/>
                <a:gd name="connsiteX462" fmla="*/ 715372 w 5446941"/>
                <a:gd name="connsiteY462" fmla="*/ 1905607 h 2195932"/>
                <a:gd name="connsiteX463" fmla="*/ 694613 w 5446941"/>
                <a:gd name="connsiteY463" fmla="*/ 1878157 h 2195932"/>
                <a:gd name="connsiteX464" fmla="*/ 670895 w 5446941"/>
                <a:gd name="connsiteY464" fmla="*/ 1879873 h 2195932"/>
                <a:gd name="connsiteX465" fmla="*/ 664977 w 5446941"/>
                <a:gd name="connsiteY465" fmla="*/ 1859329 h 2195932"/>
                <a:gd name="connsiteX466" fmla="*/ 645719 w 5446941"/>
                <a:gd name="connsiteY466" fmla="*/ 1843932 h 2195932"/>
                <a:gd name="connsiteX467" fmla="*/ 653139 w 5446941"/>
                <a:gd name="connsiteY467" fmla="*/ 1819957 h 2195932"/>
                <a:gd name="connsiteX468" fmla="*/ 664977 w 5446941"/>
                <a:gd name="connsiteY468" fmla="*/ 1807991 h 2195932"/>
                <a:gd name="connsiteX469" fmla="*/ 654597 w 5446941"/>
                <a:gd name="connsiteY469" fmla="*/ 1789119 h 2195932"/>
                <a:gd name="connsiteX470" fmla="*/ 672354 w 5446941"/>
                <a:gd name="connsiteY470" fmla="*/ 1765144 h 2195932"/>
                <a:gd name="connsiteX471" fmla="*/ 691611 w 5446941"/>
                <a:gd name="connsiteY471" fmla="*/ 1751420 h 2195932"/>
                <a:gd name="connsiteX472" fmla="*/ 718288 w 5446941"/>
                <a:gd name="connsiteY472" fmla="*/ 1777110 h 2195932"/>
                <a:gd name="connsiteX473" fmla="*/ 721247 w 5446941"/>
                <a:gd name="connsiteY473" fmla="*/ 1753135 h 2195932"/>
                <a:gd name="connsiteX474" fmla="*/ 730125 w 5446941"/>
                <a:gd name="connsiteY474" fmla="*/ 1732591 h 2195932"/>
                <a:gd name="connsiteX475" fmla="*/ 747924 w 5446941"/>
                <a:gd name="connsiteY475" fmla="*/ 1713720 h 2195932"/>
                <a:gd name="connsiteX476" fmla="*/ 783480 w 5446941"/>
                <a:gd name="connsiteY476" fmla="*/ 1694892 h 2195932"/>
                <a:gd name="connsiteX477" fmla="*/ 808656 w 5446941"/>
                <a:gd name="connsiteY477" fmla="*/ 1686314 h 2195932"/>
                <a:gd name="connsiteX478" fmla="*/ 826455 w 5446941"/>
                <a:gd name="connsiteY478" fmla="*/ 1686314 h 2195932"/>
                <a:gd name="connsiteX479" fmla="*/ 850130 w 5446941"/>
                <a:gd name="connsiteY479" fmla="*/ 1686314 h 2195932"/>
                <a:gd name="connsiteX480" fmla="*/ 888645 w 5446941"/>
                <a:gd name="connsiteY480" fmla="*/ 1700038 h 2195932"/>
                <a:gd name="connsiteX481" fmla="*/ 916780 w 5446941"/>
                <a:gd name="connsiteY481" fmla="*/ 1727444 h 2195932"/>
                <a:gd name="connsiteX482" fmla="*/ 925658 w 5446941"/>
                <a:gd name="connsiteY482" fmla="*/ 1732591 h 2195932"/>
                <a:gd name="connsiteX483" fmla="*/ 944915 w 5446941"/>
                <a:gd name="connsiteY483" fmla="*/ 1732591 h 2195932"/>
                <a:gd name="connsiteX484" fmla="*/ 976010 w 5446941"/>
                <a:gd name="connsiteY484" fmla="*/ 1729160 h 2195932"/>
                <a:gd name="connsiteX485" fmla="*/ 1008606 w 5446941"/>
                <a:gd name="connsiteY485" fmla="*/ 1717151 h 2195932"/>
                <a:gd name="connsiteX486" fmla="*/ 1027863 w 5446941"/>
                <a:gd name="connsiteY486" fmla="*/ 1718867 h 2195932"/>
                <a:gd name="connsiteX487" fmla="*/ 1060459 w 5446941"/>
                <a:gd name="connsiteY487" fmla="*/ 1720539 h 2195932"/>
                <a:gd name="connsiteX488" fmla="*/ 1082676 w 5446941"/>
                <a:gd name="connsiteY488" fmla="*/ 1732548 h 2195932"/>
                <a:gd name="connsiteX489" fmla="*/ 1098930 w 5446941"/>
                <a:gd name="connsiteY489" fmla="*/ 1744514 h 2195932"/>
                <a:gd name="connsiteX490" fmla="*/ 1110768 w 5446941"/>
                <a:gd name="connsiteY490" fmla="*/ 1725686 h 2195932"/>
                <a:gd name="connsiteX491" fmla="*/ 1135944 w 5446941"/>
                <a:gd name="connsiteY491" fmla="*/ 1737652 h 2195932"/>
                <a:gd name="connsiteX492" fmla="*/ 1156660 w 5446941"/>
                <a:gd name="connsiteY492" fmla="*/ 1723970 h 2195932"/>
                <a:gd name="connsiteX493" fmla="*/ 1147781 w 5446941"/>
                <a:gd name="connsiteY493" fmla="*/ 1696521 h 2195932"/>
                <a:gd name="connsiteX494" fmla="*/ 1124064 w 5446941"/>
                <a:gd name="connsiteY494" fmla="*/ 1687943 h 2195932"/>
                <a:gd name="connsiteX495" fmla="*/ 1115186 w 5446941"/>
                <a:gd name="connsiteY495" fmla="*/ 1667399 h 2195932"/>
                <a:gd name="connsiteX496" fmla="*/ 1135901 w 5446941"/>
                <a:gd name="connsiteY496" fmla="*/ 1646855 h 2195932"/>
                <a:gd name="connsiteX497" fmla="*/ 1141820 w 5446941"/>
                <a:gd name="connsiteY497" fmla="*/ 1619449 h 2195932"/>
                <a:gd name="connsiteX498" fmla="*/ 1177375 w 5446941"/>
                <a:gd name="connsiteY498" fmla="*/ 1612587 h 2195932"/>
                <a:gd name="connsiteX499" fmla="*/ 1147738 w 5446941"/>
                <a:gd name="connsiteY499" fmla="*/ 1595474 h 2195932"/>
                <a:gd name="connsiteX500" fmla="*/ 1146237 w 5446941"/>
                <a:gd name="connsiteY500" fmla="*/ 1562921 h 2195932"/>
                <a:gd name="connsiteX501" fmla="*/ 1174416 w 5446941"/>
                <a:gd name="connsiteY501" fmla="*/ 1561206 h 2195932"/>
                <a:gd name="connsiteX502" fmla="*/ 1214389 w 5446941"/>
                <a:gd name="connsiteY502" fmla="*/ 1556059 h 2195932"/>
                <a:gd name="connsiteX503" fmla="*/ 1264741 w 5446941"/>
                <a:gd name="connsiteY503" fmla="*/ 1544050 h 2195932"/>
                <a:gd name="connsiteX504" fmla="*/ 1298795 w 5446941"/>
                <a:gd name="connsiteY504" fmla="*/ 1532084 h 2195932"/>
                <a:gd name="connsiteX505" fmla="*/ 1346187 w 5446941"/>
                <a:gd name="connsiteY505" fmla="*/ 1521790 h 2195932"/>
                <a:gd name="connsiteX506" fmla="*/ 1395081 w 5446941"/>
                <a:gd name="connsiteY506" fmla="*/ 1502962 h 2195932"/>
                <a:gd name="connsiteX507" fmla="*/ 1436555 w 5446941"/>
                <a:gd name="connsiteY507" fmla="*/ 1491854 h 2195932"/>
                <a:gd name="connsiteX508" fmla="*/ 1462460 w 5446941"/>
                <a:gd name="connsiteY508" fmla="*/ 1496100 h 2195932"/>
                <a:gd name="connsiteX509" fmla="*/ 1483948 w 5446941"/>
                <a:gd name="connsiteY509" fmla="*/ 1511540 h 2195932"/>
                <a:gd name="connsiteX510" fmla="*/ 1489867 w 5446941"/>
                <a:gd name="connsiteY510" fmla="*/ 1538946 h 2195932"/>
                <a:gd name="connsiteX511" fmla="*/ 1486135 w 5446941"/>
                <a:gd name="connsiteY511" fmla="*/ 1555244 h 2195932"/>
                <a:gd name="connsiteX512" fmla="*/ 1516501 w 5446941"/>
                <a:gd name="connsiteY512" fmla="*/ 1549239 h 2195932"/>
                <a:gd name="connsiteX513" fmla="*/ 1529067 w 5446941"/>
                <a:gd name="connsiteY513" fmla="*/ 1558675 h 2195932"/>
                <a:gd name="connsiteX514" fmla="*/ 1538675 w 5446941"/>
                <a:gd name="connsiteY514" fmla="*/ 1561248 h 2195932"/>
                <a:gd name="connsiteX515" fmla="*/ 1554243 w 5446941"/>
                <a:gd name="connsiteY515" fmla="*/ 1563822 h 2195932"/>
                <a:gd name="connsiteX516" fmla="*/ 1572043 w 5446941"/>
                <a:gd name="connsiteY516" fmla="*/ 1566395 h 2195932"/>
                <a:gd name="connsiteX517" fmla="*/ 1560205 w 5446941"/>
                <a:gd name="connsiteY517" fmla="*/ 1591228 h 2195932"/>
                <a:gd name="connsiteX518" fmla="*/ 1585381 w 5446941"/>
                <a:gd name="connsiteY518" fmla="*/ 1584366 h 2195932"/>
                <a:gd name="connsiteX519" fmla="*/ 1621708 w 5446941"/>
                <a:gd name="connsiteY519" fmla="*/ 1567210 h 2195932"/>
                <a:gd name="connsiteX520" fmla="*/ 1652074 w 5446941"/>
                <a:gd name="connsiteY520" fmla="*/ 1547524 h 2195932"/>
                <a:gd name="connsiteX521" fmla="*/ 1674291 w 5446941"/>
                <a:gd name="connsiteY521" fmla="*/ 1550097 h 2195932"/>
                <a:gd name="connsiteX522" fmla="*/ 1683941 w 5446941"/>
                <a:gd name="connsiteY522" fmla="*/ 1579219 h 2195932"/>
                <a:gd name="connsiteX523" fmla="*/ 1745401 w 5446941"/>
                <a:gd name="connsiteY523" fmla="*/ 1663153 h 2195932"/>
                <a:gd name="connsiteX524" fmla="*/ 1780227 w 5446941"/>
                <a:gd name="connsiteY524" fmla="*/ 1732548 h 2195932"/>
                <a:gd name="connsiteX525" fmla="*/ 1799485 w 5446941"/>
                <a:gd name="connsiteY525" fmla="*/ 1707715 h 2195932"/>
                <a:gd name="connsiteX526" fmla="*/ 1825390 w 5446941"/>
                <a:gd name="connsiteY526" fmla="*/ 1729117 h 2195932"/>
                <a:gd name="connsiteX527" fmla="*/ 1857986 w 5446941"/>
                <a:gd name="connsiteY527" fmla="*/ 1735122 h 2195932"/>
                <a:gd name="connsiteX528" fmla="*/ 1891310 w 5446941"/>
                <a:gd name="connsiteY528" fmla="*/ 1724013 h 2195932"/>
                <a:gd name="connsiteX529" fmla="*/ 1912798 w 5446941"/>
                <a:gd name="connsiteY529" fmla="*/ 1744557 h 2195932"/>
                <a:gd name="connsiteX530" fmla="*/ 1933514 w 5446941"/>
                <a:gd name="connsiteY530" fmla="*/ 1764286 h 2195932"/>
                <a:gd name="connsiteX531" fmla="*/ 1940676 w 5446941"/>
                <a:gd name="connsiteY531" fmla="*/ 1778826 h 2195932"/>
                <a:gd name="connsiteX532" fmla="*/ 1957446 w 5446941"/>
                <a:gd name="connsiteY532" fmla="*/ 1794824 h 2195932"/>
                <a:gd name="connsiteX533" fmla="*/ 1984123 w 5446941"/>
                <a:gd name="connsiteY533" fmla="*/ 1789077 h 2195932"/>
                <a:gd name="connsiteX534" fmla="*/ 1995960 w 5446941"/>
                <a:gd name="connsiteY534" fmla="*/ 1790234 h 2195932"/>
                <a:gd name="connsiteX535" fmla="*/ 2011787 w 5446941"/>
                <a:gd name="connsiteY535" fmla="*/ 1810779 h 2195932"/>
                <a:gd name="connsiteX536" fmla="*/ 2030529 w 5446941"/>
                <a:gd name="connsiteY536" fmla="*/ 1810779 h 2195932"/>
                <a:gd name="connsiteX537" fmla="*/ 2053260 w 5446941"/>
                <a:gd name="connsiteY537" fmla="*/ 1800485 h 2195932"/>
                <a:gd name="connsiteX538" fmla="*/ 2083841 w 5446941"/>
                <a:gd name="connsiteY538" fmla="*/ 1784487 h 2195932"/>
                <a:gd name="connsiteX539" fmla="*/ 2109531 w 5446941"/>
                <a:gd name="connsiteY539" fmla="*/ 1767374 h 2195932"/>
                <a:gd name="connsiteX540" fmla="*/ 2131233 w 5446941"/>
                <a:gd name="connsiteY540" fmla="*/ 1750262 h 2195932"/>
                <a:gd name="connsiteX541" fmla="*/ 2153964 w 5446941"/>
                <a:gd name="connsiteY541" fmla="*/ 1738853 h 2195932"/>
                <a:gd name="connsiteX542" fmla="*/ 2177682 w 5446941"/>
                <a:gd name="connsiteY542" fmla="*/ 1734264 h 2195932"/>
                <a:gd name="connsiteX543" fmla="*/ 2224089 w 5446941"/>
                <a:gd name="connsiteY543" fmla="*/ 1743399 h 2195932"/>
                <a:gd name="connsiteX544" fmla="*/ 2234940 w 5446941"/>
                <a:gd name="connsiteY544" fmla="*/ 1765101 h 2195932"/>
                <a:gd name="connsiteX545" fmla="*/ 2262603 w 5446941"/>
                <a:gd name="connsiteY545" fmla="*/ 1777668 h 2195932"/>
                <a:gd name="connsiteX546" fmla="*/ 2289280 w 5446941"/>
                <a:gd name="connsiteY546" fmla="*/ 1775352 h 2195932"/>
                <a:gd name="connsiteX547" fmla="*/ 2312955 w 5446941"/>
                <a:gd name="connsiteY547" fmla="*/ 1783372 h 2195932"/>
                <a:gd name="connsiteX548" fmla="*/ 2340619 w 5446941"/>
                <a:gd name="connsiteY548" fmla="*/ 1767374 h 2195932"/>
                <a:gd name="connsiteX549" fmla="*/ 2341562 w 5446941"/>
                <a:gd name="connsiteY549" fmla="*/ 1744514 h 2195932"/>
                <a:gd name="connsiteX550" fmla="*/ 2329725 w 5446941"/>
                <a:gd name="connsiteY550" fmla="*/ 1712562 h 2195932"/>
                <a:gd name="connsiteX551" fmla="*/ 2343578 w 5446941"/>
                <a:gd name="connsiteY551" fmla="*/ 1693133 h 2195932"/>
                <a:gd name="connsiteX552" fmla="*/ 2361378 w 5446941"/>
                <a:gd name="connsiteY552" fmla="*/ 1679409 h 2195932"/>
                <a:gd name="connsiteX553" fmla="*/ 2373258 w 5446941"/>
                <a:gd name="connsiteY553" fmla="*/ 1666842 h 2195932"/>
                <a:gd name="connsiteX554" fmla="*/ 2397919 w 5446941"/>
                <a:gd name="connsiteY554" fmla="*/ 1678250 h 2195932"/>
                <a:gd name="connsiteX555" fmla="*/ 2418634 w 5446941"/>
                <a:gd name="connsiteY555" fmla="*/ 1683955 h 2195932"/>
                <a:gd name="connsiteX556" fmla="*/ 2443338 w 5446941"/>
                <a:gd name="connsiteY556" fmla="*/ 1695406 h 2195932"/>
                <a:gd name="connsiteX557" fmla="*/ 2475935 w 5446941"/>
                <a:gd name="connsiteY557" fmla="*/ 1706815 h 2195932"/>
                <a:gd name="connsiteX558" fmla="*/ 2479880 w 5446941"/>
                <a:gd name="connsiteY558" fmla="*/ 1739968 h 2195932"/>
                <a:gd name="connsiteX559" fmla="*/ 2500639 w 5446941"/>
                <a:gd name="connsiteY559" fmla="*/ 1758196 h 2195932"/>
                <a:gd name="connsiteX560" fmla="*/ 2530275 w 5446941"/>
                <a:gd name="connsiteY560" fmla="*/ 1768447 h 2195932"/>
                <a:gd name="connsiteX561" fmla="*/ 2553950 w 5446941"/>
                <a:gd name="connsiteY561" fmla="*/ 1754765 h 2195932"/>
                <a:gd name="connsiteX562" fmla="*/ 2584574 w 5446941"/>
                <a:gd name="connsiteY562" fmla="*/ 1750219 h 2195932"/>
                <a:gd name="connsiteX563" fmla="*/ 2615196 w 5446941"/>
                <a:gd name="connsiteY563" fmla="*/ 1758196 h 2195932"/>
                <a:gd name="connsiteX564" fmla="*/ 2640844 w 5446941"/>
                <a:gd name="connsiteY564" fmla="*/ 1766216 h 2195932"/>
                <a:gd name="connsiteX565" fmla="*/ 2668507 w 5446941"/>
                <a:gd name="connsiteY565" fmla="*/ 1781056 h 2195932"/>
                <a:gd name="connsiteX566" fmla="*/ 2686307 w 5446941"/>
                <a:gd name="connsiteY566" fmla="*/ 1802758 h 2195932"/>
                <a:gd name="connsiteX567" fmla="*/ 2728810 w 5446941"/>
                <a:gd name="connsiteY567" fmla="*/ 1811893 h 2195932"/>
                <a:gd name="connsiteX568" fmla="*/ 2773244 w 5446941"/>
                <a:gd name="connsiteY568" fmla="*/ 1811893 h 2195932"/>
                <a:gd name="connsiteX569" fmla="*/ 2816690 w 5446941"/>
                <a:gd name="connsiteY569" fmla="*/ 1799284 h 2195932"/>
                <a:gd name="connsiteX570" fmla="*/ 2843367 w 5446941"/>
                <a:gd name="connsiteY570" fmla="*/ 1787876 h 2195932"/>
                <a:gd name="connsiteX571" fmla="*/ 2870001 w 5446941"/>
                <a:gd name="connsiteY571" fmla="*/ 1767332 h 2195932"/>
                <a:gd name="connsiteX572" fmla="*/ 2911476 w 5446941"/>
                <a:gd name="connsiteY572" fmla="*/ 1769605 h 2195932"/>
                <a:gd name="connsiteX573" fmla="*/ 2940126 w 5446941"/>
                <a:gd name="connsiteY573" fmla="*/ 1776467 h 2195932"/>
                <a:gd name="connsiteX574" fmla="*/ 2971736 w 5446941"/>
                <a:gd name="connsiteY574" fmla="*/ 1785602 h 2195932"/>
                <a:gd name="connsiteX575" fmla="*/ 3004331 w 5446941"/>
                <a:gd name="connsiteY575" fmla="*/ 1795896 h 2195932"/>
                <a:gd name="connsiteX576" fmla="*/ 3035898 w 5446941"/>
                <a:gd name="connsiteY576" fmla="*/ 1776467 h 2195932"/>
                <a:gd name="connsiteX577" fmla="*/ 3050694 w 5446941"/>
                <a:gd name="connsiteY577" fmla="*/ 1759354 h 2195932"/>
                <a:gd name="connsiteX578" fmla="*/ 3066520 w 5446941"/>
                <a:gd name="connsiteY578" fmla="*/ 1719381 h 2195932"/>
                <a:gd name="connsiteX579" fmla="*/ 3087236 w 5446941"/>
                <a:gd name="connsiteY579" fmla="*/ 1682840 h 2195932"/>
                <a:gd name="connsiteX580" fmla="*/ 3102033 w 5446941"/>
                <a:gd name="connsiteY580" fmla="*/ 1663454 h 2195932"/>
                <a:gd name="connsiteX581" fmla="*/ 3092168 w 5446941"/>
                <a:gd name="connsiteY581" fmla="*/ 1636047 h 2195932"/>
                <a:gd name="connsiteX582" fmla="*/ 3089209 w 5446941"/>
                <a:gd name="connsiteY582" fmla="*/ 1615503 h 2195932"/>
                <a:gd name="connsiteX583" fmla="*/ 3131669 w 5446941"/>
                <a:gd name="connsiteY583" fmla="*/ 1599549 h 2195932"/>
                <a:gd name="connsiteX584" fmla="*/ 3181035 w 5446941"/>
                <a:gd name="connsiteY584" fmla="*/ 1594959 h 2195932"/>
                <a:gd name="connsiteX585" fmla="*/ 3218520 w 5446941"/>
                <a:gd name="connsiteY585" fmla="*/ 1601822 h 2195932"/>
                <a:gd name="connsiteX586" fmla="*/ 3259008 w 5446941"/>
                <a:gd name="connsiteY586" fmla="*/ 1615503 h 2195932"/>
                <a:gd name="connsiteX587" fmla="*/ 3280752 w 5446941"/>
                <a:gd name="connsiteY587" fmla="*/ 1644068 h 2195932"/>
                <a:gd name="connsiteX588" fmla="*/ 3296536 w 5446941"/>
                <a:gd name="connsiteY588" fmla="*/ 1679451 h 2195932"/>
                <a:gd name="connsiteX589" fmla="*/ 3316265 w 5446941"/>
                <a:gd name="connsiteY589" fmla="*/ 1725128 h 2195932"/>
                <a:gd name="connsiteX590" fmla="*/ 3333078 w 5446941"/>
                <a:gd name="connsiteY590" fmla="*/ 1771963 h 2195932"/>
                <a:gd name="connsiteX591" fmla="*/ 3345902 w 5446941"/>
                <a:gd name="connsiteY591" fmla="*/ 1793665 h 2195932"/>
                <a:gd name="connsiteX592" fmla="*/ 3378497 w 5446941"/>
                <a:gd name="connsiteY592" fmla="*/ 1807390 h 2195932"/>
                <a:gd name="connsiteX593" fmla="*/ 3412037 w 5446941"/>
                <a:gd name="connsiteY593" fmla="*/ 1824503 h 2195932"/>
                <a:gd name="connsiteX594" fmla="*/ 3435755 w 5446941"/>
                <a:gd name="connsiteY594" fmla="*/ 1842817 h 2195932"/>
                <a:gd name="connsiteX595" fmla="*/ 3442659 w 5446941"/>
                <a:gd name="connsiteY595" fmla="*/ 1875927 h 2195932"/>
                <a:gd name="connsiteX596" fmla="*/ 3475256 w 5446941"/>
                <a:gd name="connsiteY596" fmla="*/ 1890767 h 2195932"/>
                <a:gd name="connsiteX597" fmla="*/ 3504892 w 5446941"/>
                <a:gd name="connsiteY597" fmla="*/ 1882747 h 2195932"/>
                <a:gd name="connsiteX598" fmla="*/ 3537488 w 5446941"/>
                <a:gd name="connsiteY598" fmla="*/ 1869065 h 2195932"/>
                <a:gd name="connsiteX599" fmla="*/ 3564165 w 5446941"/>
                <a:gd name="connsiteY599" fmla="*/ 1877042 h 2195932"/>
                <a:gd name="connsiteX600" fmla="*/ 3565151 w 5446941"/>
                <a:gd name="connsiteY600" fmla="*/ 1908995 h 2195932"/>
                <a:gd name="connsiteX601" fmla="*/ 3547396 w 5446941"/>
                <a:gd name="connsiteY601" fmla="*/ 1958103 h 2195932"/>
                <a:gd name="connsiteX602" fmla="*/ 3527623 w 5446941"/>
                <a:gd name="connsiteY602" fmla="*/ 1987783 h 2195932"/>
                <a:gd name="connsiteX603" fmla="*/ 3511797 w 5446941"/>
                <a:gd name="connsiteY603" fmla="*/ 2012916 h 2195932"/>
                <a:gd name="connsiteX604" fmla="*/ 3482161 w 5446941"/>
                <a:gd name="connsiteY604" fmla="*/ 2012916 h 2195932"/>
                <a:gd name="connsiteX605" fmla="*/ 3454540 w 5446941"/>
                <a:gd name="connsiteY605" fmla="*/ 2027798 h 2195932"/>
                <a:gd name="connsiteX606" fmla="*/ 3449565 w 5446941"/>
                <a:gd name="connsiteY606" fmla="*/ 2055205 h 2195932"/>
                <a:gd name="connsiteX607" fmla="*/ 3451581 w 5446941"/>
                <a:gd name="connsiteY607" fmla="*/ 2087200 h 2195932"/>
                <a:gd name="connsiteX608" fmla="*/ 3453940 w 5446941"/>
                <a:gd name="connsiteY608" fmla="*/ 2124128 h 2195932"/>
                <a:gd name="connsiteX609" fmla="*/ 3481689 w 5446941"/>
                <a:gd name="connsiteY609" fmla="*/ 2106586 h 2195932"/>
                <a:gd name="connsiteX610" fmla="*/ 3520204 w 5446941"/>
                <a:gd name="connsiteY610" fmla="*/ 2131676 h 2195932"/>
                <a:gd name="connsiteX611" fmla="*/ 3597233 w 5446941"/>
                <a:gd name="connsiteY611" fmla="*/ 2075749 h 2195932"/>
                <a:gd name="connsiteX612" fmla="*/ 3651531 w 5446941"/>
                <a:gd name="connsiteY612" fmla="*/ 2006053 h 2195932"/>
                <a:gd name="connsiteX613" fmla="*/ 3700424 w 5446941"/>
                <a:gd name="connsiteY613" fmla="*/ 1930096 h 2195932"/>
                <a:gd name="connsiteX614" fmla="*/ 3735980 w 5446941"/>
                <a:gd name="connsiteY614" fmla="*/ 1875284 h 2195932"/>
                <a:gd name="connsiteX615" fmla="*/ 3756738 w 5446941"/>
                <a:gd name="connsiteY615" fmla="*/ 1835869 h 2195932"/>
                <a:gd name="connsiteX616" fmla="*/ 3771063 w 5446941"/>
                <a:gd name="connsiteY616" fmla="*/ 1734221 h 2195932"/>
                <a:gd name="connsiteX617" fmla="*/ 3777496 w 5446941"/>
                <a:gd name="connsiteY617" fmla="*/ 1710246 h 2195932"/>
                <a:gd name="connsiteX618" fmla="*/ 3789849 w 5446941"/>
                <a:gd name="connsiteY618" fmla="*/ 1682840 h 2195932"/>
                <a:gd name="connsiteX619" fmla="*/ 3795295 w 5446941"/>
                <a:gd name="connsiteY619" fmla="*/ 1657149 h 2195932"/>
                <a:gd name="connsiteX620" fmla="*/ 3793322 w 5446941"/>
                <a:gd name="connsiteY620" fmla="*/ 1628027 h 2195932"/>
                <a:gd name="connsiteX621" fmla="*/ 3797269 w 5446941"/>
                <a:gd name="connsiteY621" fmla="*/ 1616619 h 2195932"/>
                <a:gd name="connsiteX622" fmla="*/ 3784916 w 5446941"/>
                <a:gd name="connsiteY622" fmla="*/ 1597747 h 2195932"/>
                <a:gd name="connsiteX623" fmla="*/ 3764673 w 5446941"/>
                <a:gd name="connsiteY623" fmla="*/ 1578318 h 2195932"/>
                <a:gd name="connsiteX624" fmla="*/ 3738467 w 5446941"/>
                <a:gd name="connsiteY624" fmla="*/ 1555458 h 2195932"/>
                <a:gd name="connsiteX625" fmla="*/ 3725472 w 5446941"/>
                <a:gd name="connsiteY625" fmla="*/ 1554472 h 2195932"/>
                <a:gd name="connsiteX626" fmla="*/ 3710632 w 5446941"/>
                <a:gd name="connsiteY626" fmla="*/ 1562364 h 2195932"/>
                <a:gd name="connsiteX627" fmla="*/ 3703469 w 5446941"/>
                <a:gd name="connsiteY627" fmla="*/ 1569741 h 2195932"/>
                <a:gd name="connsiteX628" fmla="*/ 3689144 w 5446941"/>
                <a:gd name="connsiteY628" fmla="*/ 1584580 h 2195932"/>
                <a:gd name="connsiteX629" fmla="*/ 3670359 w 5446941"/>
                <a:gd name="connsiteY629" fmla="*/ 1586296 h 2195932"/>
                <a:gd name="connsiteX630" fmla="*/ 3668857 w 5446941"/>
                <a:gd name="connsiteY630" fmla="*/ 1563479 h 2195932"/>
                <a:gd name="connsiteX631" fmla="*/ 3671732 w 5446941"/>
                <a:gd name="connsiteY631" fmla="*/ 1553571 h 2195932"/>
                <a:gd name="connsiteX632" fmla="*/ 3665170 w 5446941"/>
                <a:gd name="connsiteY632" fmla="*/ 1550355 h 2195932"/>
                <a:gd name="connsiteX633" fmla="*/ 3647156 w 5446941"/>
                <a:gd name="connsiteY633" fmla="*/ 1575445 h 2195932"/>
                <a:gd name="connsiteX634" fmla="*/ 3643210 w 5446941"/>
                <a:gd name="connsiteY634" fmla="*/ 1536030 h 2195932"/>
                <a:gd name="connsiteX635" fmla="*/ 3643339 w 5446941"/>
                <a:gd name="connsiteY635" fmla="*/ 1535086 h 2195932"/>
                <a:gd name="connsiteX636" fmla="*/ 3640551 w 5446941"/>
                <a:gd name="connsiteY636" fmla="*/ 1532384 h 2195932"/>
                <a:gd name="connsiteX637" fmla="*/ 3605210 w 5446941"/>
                <a:gd name="connsiteY637" fmla="*/ 1534872 h 2195932"/>
                <a:gd name="connsiteX638" fmla="*/ 3606668 w 5446941"/>
                <a:gd name="connsiteY638" fmla="*/ 1506307 h 2195932"/>
                <a:gd name="connsiteX639" fmla="*/ 3621593 w 5446941"/>
                <a:gd name="connsiteY639" fmla="*/ 1490738 h 2195932"/>
                <a:gd name="connsiteX640" fmla="*/ 3656678 w 5446941"/>
                <a:gd name="connsiteY640" fmla="*/ 1457757 h 2195932"/>
                <a:gd name="connsiteX641" fmla="*/ 3665598 w 5446941"/>
                <a:gd name="connsiteY641" fmla="*/ 1455912 h 2195932"/>
                <a:gd name="connsiteX642" fmla="*/ 3670788 w 5446941"/>
                <a:gd name="connsiteY642" fmla="*/ 1417441 h 2195932"/>
                <a:gd name="connsiteX643" fmla="*/ 3729031 w 5446941"/>
                <a:gd name="connsiteY643" fmla="*/ 1355637 h 2195932"/>
                <a:gd name="connsiteX644" fmla="*/ 3790621 w 5446941"/>
                <a:gd name="connsiteY644" fmla="*/ 1288944 h 2195932"/>
                <a:gd name="connsiteX645" fmla="*/ 3888022 w 5446941"/>
                <a:gd name="connsiteY645" fmla="*/ 1264197 h 2195932"/>
                <a:gd name="connsiteX646" fmla="*/ 3889395 w 5446941"/>
                <a:gd name="connsiteY646" fmla="*/ 1264497 h 2195932"/>
                <a:gd name="connsiteX647" fmla="*/ 3946866 w 5446941"/>
                <a:gd name="connsiteY647" fmla="*/ 1276678 h 2195932"/>
                <a:gd name="connsiteX648" fmla="*/ 3947467 w 5446941"/>
                <a:gd name="connsiteY648" fmla="*/ 1277278 h 2195932"/>
                <a:gd name="connsiteX649" fmla="*/ 3984566 w 5446941"/>
                <a:gd name="connsiteY649" fmla="*/ 1266170 h 2195932"/>
                <a:gd name="connsiteX650" fmla="*/ 4040709 w 5446941"/>
                <a:gd name="connsiteY650" fmla="*/ 1273247 h 2195932"/>
                <a:gd name="connsiteX651" fmla="*/ 4054990 w 5446941"/>
                <a:gd name="connsiteY651" fmla="*/ 1261238 h 2195932"/>
                <a:gd name="connsiteX652" fmla="*/ 4101912 w 5446941"/>
                <a:gd name="connsiteY652" fmla="*/ 1254976 h 2195932"/>
                <a:gd name="connsiteX653" fmla="*/ 4127087 w 5446941"/>
                <a:gd name="connsiteY653" fmla="*/ 1260680 h 2195932"/>
                <a:gd name="connsiteX654" fmla="*/ 4150290 w 5446941"/>
                <a:gd name="connsiteY654" fmla="*/ 1274405 h 2195932"/>
                <a:gd name="connsiteX655" fmla="*/ 4144372 w 5446941"/>
                <a:gd name="connsiteY655" fmla="*/ 1286371 h 2195932"/>
                <a:gd name="connsiteX656" fmla="*/ 4133521 w 5446941"/>
                <a:gd name="connsiteY656" fmla="*/ 1299538 h 2195932"/>
                <a:gd name="connsiteX657" fmla="*/ 4167103 w 5446941"/>
                <a:gd name="connsiteY657" fmla="*/ 1293791 h 2195932"/>
                <a:gd name="connsiteX658" fmla="*/ 4170662 w 5446941"/>
                <a:gd name="connsiteY658" fmla="*/ 1294177 h 2195932"/>
                <a:gd name="connsiteX659" fmla="*/ 4206991 w 5446941"/>
                <a:gd name="connsiteY659" fmla="*/ 1284441 h 2195932"/>
                <a:gd name="connsiteX660" fmla="*/ 4225819 w 5446941"/>
                <a:gd name="connsiteY660" fmla="*/ 1286328 h 2195932"/>
                <a:gd name="connsiteX661" fmla="*/ 4260388 w 5446941"/>
                <a:gd name="connsiteY661" fmla="*/ 1276635 h 2195932"/>
                <a:gd name="connsiteX662" fmla="*/ 4247049 w 5446941"/>
                <a:gd name="connsiteY662" fmla="*/ 1264626 h 2195932"/>
                <a:gd name="connsiteX663" fmla="*/ 4244561 w 5446941"/>
                <a:gd name="connsiteY663" fmla="*/ 1232073 h 2195932"/>
                <a:gd name="connsiteX664" fmla="*/ 4293455 w 5446941"/>
                <a:gd name="connsiteY664" fmla="*/ 1181850 h 2195932"/>
                <a:gd name="connsiteX665" fmla="*/ 4318116 w 5446941"/>
                <a:gd name="connsiteY665" fmla="*/ 1165251 h 2195932"/>
                <a:gd name="connsiteX666" fmla="*/ 4335915 w 5446941"/>
                <a:gd name="connsiteY666" fmla="*/ 1129911 h 2195932"/>
                <a:gd name="connsiteX667" fmla="*/ 4390728 w 5446941"/>
                <a:gd name="connsiteY667" fmla="*/ 1124164 h 2195932"/>
                <a:gd name="connsiteX668" fmla="*/ 4412944 w 5446941"/>
                <a:gd name="connsiteY668" fmla="*/ 1135015 h 2195932"/>
                <a:gd name="connsiteX669" fmla="*/ 4437091 w 5446941"/>
                <a:gd name="connsiteY669" fmla="*/ 1124164 h 2195932"/>
                <a:gd name="connsiteX670" fmla="*/ 4420793 w 5446941"/>
                <a:gd name="connsiteY670" fmla="*/ 1160148 h 2195932"/>
                <a:gd name="connsiteX671" fmla="*/ 4439579 w 5446941"/>
                <a:gd name="connsiteY671" fmla="*/ 1175030 h 2195932"/>
                <a:gd name="connsiteX672" fmla="*/ 4430701 w 5446941"/>
                <a:gd name="connsiteY672" fmla="*/ 1190985 h 2195932"/>
                <a:gd name="connsiteX673" fmla="*/ 4471188 w 5446941"/>
                <a:gd name="connsiteY673" fmla="*/ 1170441 h 2195932"/>
                <a:gd name="connsiteX674" fmla="*/ 4526473 w 5446941"/>
                <a:gd name="connsiteY674" fmla="*/ 1140161 h 2195932"/>
                <a:gd name="connsiteX675" fmla="*/ 4533378 w 5446941"/>
                <a:gd name="connsiteY675" fmla="*/ 1102462 h 2195932"/>
                <a:gd name="connsiteX676" fmla="*/ 4590635 w 5446941"/>
                <a:gd name="connsiteY676" fmla="*/ 1079044 h 2195932"/>
                <a:gd name="connsiteX677" fmla="*/ 4590120 w 5446941"/>
                <a:gd name="connsiteY677" fmla="*/ 1088179 h 2195932"/>
                <a:gd name="connsiteX678" fmla="*/ 4564945 w 5446941"/>
                <a:gd name="connsiteY678" fmla="*/ 1117301 h 2195932"/>
                <a:gd name="connsiteX679" fmla="*/ 4559541 w 5446941"/>
                <a:gd name="connsiteY679" fmla="*/ 1150455 h 2195932"/>
                <a:gd name="connsiteX680" fmla="*/ 4549633 w 5446941"/>
                <a:gd name="connsiteY680" fmla="*/ 1167567 h 2195932"/>
                <a:gd name="connsiteX681" fmla="*/ 4539768 w 5446941"/>
                <a:gd name="connsiteY681" fmla="*/ 1185281 h 2195932"/>
                <a:gd name="connsiteX682" fmla="*/ 4495849 w 5446941"/>
                <a:gd name="connsiteY682" fmla="*/ 1207540 h 2195932"/>
                <a:gd name="connsiteX683" fmla="*/ 4468657 w 5446941"/>
                <a:gd name="connsiteY683" fmla="*/ 1242366 h 2195932"/>
                <a:gd name="connsiteX684" fmla="*/ 4406940 w 5446941"/>
                <a:gd name="connsiteY684" fmla="*/ 1308073 h 2195932"/>
                <a:gd name="connsiteX685" fmla="*/ 4352170 w 5446941"/>
                <a:gd name="connsiteY685" fmla="*/ 1351434 h 2195932"/>
                <a:gd name="connsiteX686" fmla="*/ 4321033 w 5446941"/>
                <a:gd name="connsiteY686" fmla="*/ 1358854 h 2195932"/>
                <a:gd name="connsiteX687" fmla="*/ 4309667 w 5446941"/>
                <a:gd name="connsiteY687" fmla="*/ 1405689 h 2195932"/>
                <a:gd name="connsiteX688" fmla="*/ 4305978 w 5446941"/>
                <a:gd name="connsiteY688" fmla="*/ 1410750 h 2195932"/>
                <a:gd name="connsiteX689" fmla="*/ 4306922 w 5446941"/>
                <a:gd name="connsiteY689" fmla="*/ 1419628 h 2195932"/>
                <a:gd name="connsiteX690" fmla="*/ 4327852 w 5446941"/>
                <a:gd name="connsiteY690" fmla="*/ 1462646 h 2195932"/>
                <a:gd name="connsiteX691" fmla="*/ 4302461 w 5446941"/>
                <a:gd name="connsiteY691" fmla="*/ 1660280 h 2195932"/>
                <a:gd name="connsiteX692" fmla="*/ 4302376 w 5446941"/>
                <a:gd name="connsiteY692" fmla="*/ 1661052 h 2195932"/>
                <a:gd name="connsiteX693" fmla="*/ 4307738 w 5446941"/>
                <a:gd name="connsiteY693" fmla="*/ 1702612 h 2195932"/>
                <a:gd name="connsiteX694" fmla="*/ 4316615 w 5446941"/>
                <a:gd name="connsiteY694" fmla="*/ 1730575 h 2195932"/>
                <a:gd name="connsiteX695" fmla="*/ 4351656 w 5446941"/>
                <a:gd name="connsiteY695" fmla="*/ 1695749 h 2195932"/>
                <a:gd name="connsiteX696" fmla="*/ 4368468 w 5446941"/>
                <a:gd name="connsiteY696" fmla="*/ 1673490 h 2195932"/>
                <a:gd name="connsiteX697" fmla="*/ 4375888 w 5446941"/>
                <a:gd name="connsiteY697" fmla="*/ 1634075 h 2195932"/>
                <a:gd name="connsiteX698" fmla="*/ 4398577 w 5446941"/>
                <a:gd name="connsiteY698" fmla="*/ 1616361 h 2195932"/>
                <a:gd name="connsiteX699" fmla="*/ 4413330 w 5446941"/>
                <a:gd name="connsiteY699" fmla="*/ 1611772 h 2195932"/>
                <a:gd name="connsiteX700" fmla="*/ 4425768 w 5446941"/>
                <a:gd name="connsiteY700" fmla="*/ 1600406 h 2195932"/>
                <a:gd name="connsiteX701" fmla="*/ 4420322 w 5446941"/>
                <a:gd name="connsiteY701" fmla="*/ 1578104 h 2195932"/>
                <a:gd name="connsiteX702" fmla="*/ 4421222 w 5446941"/>
                <a:gd name="connsiteY702" fmla="*/ 1571971 h 2195932"/>
                <a:gd name="connsiteX703" fmla="*/ 4424867 w 5446941"/>
                <a:gd name="connsiteY703" fmla="*/ 1523677 h 2195932"/>
                <a:gd name="connsiteX704" fmla="*/ 4480195 w 5446941"/>
                <a:gd name="connsiteY704" fmla="*/ 1486750 h 2195932"/>
                <a:gd name="connsiteX705" fmla="*/ 4500353 w 5446941"/>
                <a:gd name="connsiteY705" fmla="*/ 1458743 h 2195932"/>
                <a:gd name="connsiteX706" fmla="*/ 4510175 w 5446941"/>
                <a:gd name="connsiteY706" fmla="*/ 1449608 h 2195932"/>
                <a:gd name="connsiteX707" fmla="*/ 4535866 w 5446941"/>
                <a:gd name="connsiteY707" fmla="*/ 1447892 h 2195932"/>
                <a:gd name="connsiteX708" fmla="*/ 4520083 w 5446941"/>
                <a:gd name="connsiteY708" fmla="*/ 1422201 h 2195932"/>
                <a:gd name="connsiteX709" fmla="*/ 4526987 w 5446941"/>
                <a:gd name="connsiteY709" fmla="*/ 1378797 h 2195932"/>
                <a:gd name="connsiteX710" fmla="*/ 4526001 w 5446941"/>
                <a:gd name="connsiteY710" fmla="*/ 1358253 h 2195932"/>
                <a:gd name="connsiteX711" fmla="*/ 4504771 w 5446941"/>
                <a:gd name="connsiteY711" fmla="*/ 1359969 h 2195932"/>
                <a:gd name="connsiteX712" fmla="*/ 4500824 w 5446941"/>
                <a:gd name="connsiteY712" fmla="*/ 1319996 h 2195932"/>
                <a:gd name="connsiteX713" fmla="*/ 4528960 w 5446941"/>
                <a:gd name="connsiteY713" fmla="*/ 1285728 h 2195932"/>
                <a:gd name="connsiteX714" fmla="*/ 4554136 w 5446941"/>
                <a:gd name="connsiteY714" fmla="*/ 1237177 h 2195932"/>
                <a:gd name="connsiteX715" fmla="*/ 4583258 w 5446941"/>
                <a:gd name="connsiteY715" fmla="*/ 1235461 h 2195932"/>
                <a:gd name="connsiteX716" fmla="*/ 4596082 w 5446941"/>
                <a:gd name="connsiteY716" fmla="*/ 1242281 h 2195932"/>
                <a:gd name="connsiteX717" fmla="*/ 4629664 w 5446941"/>
                <a:gd name="connsiteY717" fmla="*/ 1205181 h 2195932"/>
                <a:gd name="connsiteX718" fmla="*/ 4636183 w 5446941"/>
                <a:gd name="connsiteY718" fmla="*/ 1220236 h 2195932"/>
                <a:gd name="connsiteX719" fmla="*/ 4658358 w 5446941"/>
                <a:gd name="connsiteY719" fmla="*/ 1226369 h 2195932"/>
                <a:gd name="connsiteX720" fmla="*/ 4667707 w 5446941"/>
                <a:gd name="connsiteY720" fmla="*/ 1218306 h 2195932"/>
                <a:gd name="connsiteX721" fmla="*/ 4751127 w 5446941"/>
                <a:gd name="connsiteY721" fmla="*/ 1210886 h 2195932"/>
                <a:gd name="connsiteX722" fmla="*/ 4762192 w 5446941"/>
                <a:gd name="connsiteY722" fmla="*/ 1221436 h 2195932"/>
                <a:gd name="connsiteX723" fmla="*/ 4815160 w 5446941"/>
                <a:gd name="connsiteY723" fmla="*/ 1182450 h 2195932"/>
                <a:gd name="connsiteX724" fmla="*/ 4933921 w 5446941"/>
                <a:gd name="connsiteY724" fmla="*/ 1121633 h 2195932"/>
                <a:gd name="connsiteX725" fmla="*/ 5002930 w 5446941"/>
                <a:gd name="connsiteY725" fmla="*/ 1082432 h 2195932"/>
                <a:gd name="connsiteX726" fmla="*/ 5016269 w 5446941"/>
                <a:gd name="connsiteY726" fmla="*/ 1079001 h 2195932"/>
                <a:gd name="connsiteX727" fmla="*/ 5045905 w 5446941"/>
                <a:gd name="connsiteY727" fmla="*/ 1087579 h 2195932"/>
                <a:gd name="connsiteX728" fmla="*/ 5082447 w 5446941"/>
                <a:gd name="connsiteY728" fmla="*/ 1084148 h 2195932"/>
                <a:gd name="connsiteX729" fmla="*/ 5087251 w 5446941"/>
                <a:gd name="connsiteY729" fmla="*/ 1069008 h 2195932"/>
                <a:gd name="connsiteX730" fmla="*/ 5071638 w 5446941"/>
                <a:gd name="connsiteY730" fmla="*/ 1065448 h 2195932"/>
                <a:gd name="connsiteX731" fmla="*/ 5046248 w 5446941"/>
                <a:gd name="connsiteY731" fmla="*/ 1039500 h 2195932"/>
                <a:gd name="connsiteX732" fmla="*/ 5011636 w 5446941"/>
                <a:gd name="connsiteY732" fmla="*/ 995710 h 2195932"/>
                <a:gd name="connsiteX733" fmla="*/ 5016611 w 5446941"/>
                <a:gd name="connsiteY733" fmla="*/ 950891 h 2195932"/>
                <a:gd name="connsiteX734" fmla="*/ 5009406 w 5446941"/>
                <a:gd name="connsiteY734" fmla="*/ 952220 h 2195932"/>
                <a:gd name="connsiteX735" fmla="*/ 4981270 w 5446941"/>
                <a:gd name="connsiteY735" fmla="*/ 945401 h 2195932"/>
                <a:gd name="connsiteX736" fmla="*/ 5014339 w 5446941"/>
                <a:gd name="connsiteY736" fmla="*/ 934550 h 2195932"/>
                <a:gd name="connsiteX737" fmla="*/ 5025361 w 5446941"/>
                <a:gd name="connsiteY737" fmla="*/ 943428 h 2195932"/>
                <a:gd name="connsiteX738" fmla="*/ 5042602 w 5446941"/>
                <a:gd name="connsiteY738" fmla="*/ 939225 h 2195932"/>
                <a:gd name="connsiteX739" fmla="*/ 5064390 w 5446941"/>
                <a:gd name="connsiteY739" fmla="*/ 921769 h 2195932"/>
                <a:gd name="connsiteX740" fmla="*/ 5117016 w 5446941"/>
                <a:gd name="connsiteY740" fmla="*/ 915979 h 2195932"/>
                <a:gd name="connsiteX741" fmla="*/ 5124006 w 5446941"/>
                <a:gd name="connsiteY741" fmla="*/ 904227 h 2195932"/>
                <a:gd name="connsiteX742" fmla="*/ 5118088 w 5446941"/>
                <a:gd name="connsiteY742" fmla="*/ 881410 h 2195932"/>
                <a:gd name="connsiteX743" fmla="*/ 5120575 w 5446941"/>
                <a:gd name="connsiteY743" fmla="*/ 862582 h 2195932"/>
                <a:gd name="connsiteX744" fmla="*/ 5132927 w 5446941"/>
                <a:gd name="connsiteY744" fmla="*/ 850015 h 2195932"/>
                <a:gd name="connsiteX745" fmla="*/ 5150726 w 5446941"/>
                <a:gd name="connsiteY745" fmla="*/ 848900 h 2195932"/>
                <a:gd name="connsiteX746" fmla="*/ 5146308 w 5446941"/>
                <a:gd name="connsiteY746" fmla="*/ 869444 h 2195932"/>
                <a:gd name="connsiteX747" fmla="*/ 5158146 w 5446941"/>
                <a:gd name="connsiteY747" fmla="*/ 895692 h 2195932"/>
                <a:gd name="connsiteX748" fmla="*/ 5192715 w 5446941"/>
                <a:gd name="connsiteY748" fmla="*/ 896807 h 2195932"/>
                <a:gd name="connsiteX749" fmla="*/ 5245040 w 5446941"/>
                <a:gd name="connsiteY749" fmla="*/ 916794 h 2195932"/>
                <a:gd name="connsiteX750" fmla="*/ 5253703 w 5446941"/>
                <a:gd name="connsiteY750" fmla="*/ 936566 h 2195932"/>
                <a:gd name="connsiteX751" fmla="*/ 5291446 w 5446941"/>
                <a:gd name="connsiteY751" fmla="*/ 946173 h 2195932"/>
                <a:gd name="connsiteX752" fmla="*/ 5317137 w 5446941"/>
                <a:gd name="connsiteY752" fmla="*/ 974909 h 2195932"/>
                <a:gd name="connsiteX753" fmla="*/ 5319625 w 5446941"/>
                <a:gd name="connsiteY753" fmla="*/ 974480 h 2195932"/>
                <a:gd name="connsiteX754" fmla="*/ 5339868 w 5446941"/>
                <a:gd name="connsiteY754" fmla="*/ 976753 h 2195932"/>
                <a:gd name="connsiteX755" fmla="*/ 5358139 w 5446941"/>
                <a:gd name="connsiteY755" fmla="*/ 972207 h 2195932"/>
                <a:gd name="connsiteX756" fmla="*/ 5343343 w 5446941"/>
                <a:gd name="connsiteY756" fmla="*/ 951062 h 2195932"/>
                <a:gd name="connsiteX757" fmla="*/ 5359641 w 5446941"/>
                <a:gd name="connsiteY757" fmla="*/ 955651 h 2195932"/>
                <a:gd name="connsiteX758" fmla="*/ 5363114 w 5446941"/>
                <a:gd name="connsiteY758" fmla="*/ 936780 h 2195932"/>
                <a:gd name="connsiteX759" fmla="*/ 5358139 w 5446941"/>
                <a:gd name="connsiteY759" fmla="*/ 898523 h 2195932"/>
                <a:gd name="connsiteX760" fmla="*/ 5368518 w 5446941"/>
                <a:gd name="connsiteY760" fmla="*/ 893934 h 2195932"/>
                <a:gd name="connsiteX761" fmla="*/ 5406046 w 5446941"/>
                <a:gd name="connsiteY761" fmla="*/ 903069 h 2195932"/>
                <a:gd name="connsiteX762" fmla="*/ 5398155 w 5446941"/>
                <a:gd name="connsiteY762" fmla="*/ 892218 h 2195932"/>
                <a:gd name="connsiteX763" fmla="*/ 5405532 w 5446941"/>
                <a:gd name="connsiteY763" fmla="*/ 888787 h 2195932"/>
                <a:gd name="connsiteX764" fmla="*/ 5423803 w 5446941"/>
                <a:gd name="connsiteY764" fmla="*/ 891060 h 2195932"/>
                <a:gd name="connsiteX765" fmla="*/ 5441087 w 5446941"/>
                <a:gd name="connsiteY765" fmla="*/ 869959 h 2195932"/>
                <a:gd name="connsiteX766" fmla="*/ 5443446 w 5446941"/>
                <a:gd name="connsiteY766" fmla="*/ 869873 h 2195932"/>
                <a:gd name="connsiteX767" fmla="*/ 5295092 w 5446941"/>
                <a:gd name="connsiteY767" fmla="*/ 793916 h 2195932"/>
                <a:gd name="connsiteX768" fmla="*/ 2691411 w 5446941"/>
                <a:gd name="connsiteY768" fmla="*/ 1609456 h 2195932"/>
                <a:gd name="connsiteX769" fmla="*/ 2606962 w 5446941"/>
                <a:gd name="connsiteY769" fmla="*/ 1669415 h 2195932"/>
                <a:gd name="connsiteX770" fmla="*/ 2532892 w 5446941"/>
                <a:gd name="connsiteY770" fmla="*/ 1695106 h 2195932"/>
                <a:gd name="connsiteX771" fmla="*/ 2596582 w 5446941"/>
                <a:gd name="connsiteY771" fmla="*/ 1648828 h 2195932"/>
                <a:gd name="connsiteX772" fmla="*/ 2685449 w 5446941"/>
                <a:gd name="connsiteY772" fmla="*/ 1551169 h 2195932"/>
                <a:gd name="connsiteX773" fmla="*/ 2728382 w 5446941"/>
                <a:gd name="connsiteY773" fmla="*/ 1472382 h 2195932"/>
                <a:gd name="connsiteX774" fmla="*/ 2691411 w 5446941"/>
                <a:gd name="connsiteY774" fmla="*/ 1609456 h 219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Lst>
              <a:rect l="l" t="t" r="r" b="b"/>
              <a:pathLst>
                <a:path w="5446941" h="2195932">
                  <a:moveTo>
                    <a:pt x="5295092" y="793916"/>
                  </a:moveTo>
                  <a:cubicBezTo>
                    <a:pt x="5292690" y="794774"/>
                    <a:pt x="5291146" y="795975"/>
                    <a:pt x="5291060" y="797476"/>
                  </a:cubicBezTo>
                  <a:cubicBezTo>
                    <a:pt x="5290546" y="805496"/>
                    <a:pt x="5300453" y="806053"/>
                    <a:pt x="5306371" y="815189"/>
                  </a:cubicBezTo>
                  <a:cubicBezTo>
                    <a:pt x="5312291" y="824324"/>
                    <a:pt x="5298481" y="829428"/>
                    <a:pt x="5301397" y="839722"/>
                  </a:cubicBezTo>
                  <a:cubicBezTo>
                    <a:pt x="5304356" y="850015"/>
                    <a:pt x="5286600" y="834575"/>
                    <a:pt x="5280167" y="828914"/>
                  </a:cubicBezTo>
                  <a:cubicBezTo>
                    <a:pt x="5273733" y="823209"/>
                    <a:pt x="5276735" y="800907"/>
                    <a:pt x="5278665" y="789498"/>
                  </a:cubicBezTo>
                  <a:cubicBezTo>
                    <a:pt x="5278837" y="788598"/>
                    <a:pt x="5278751" y="787868"/>
                    <a:pt x="5278708" y="787139"/>
                  </a:cubicBezTo>
                  <a:cubicBezTo>
                    <a:pt x="5267514" y="781478"/>
                    <a:pt x="5259580" y="769941"/>
                    <a:pt x="5256621" y="757674"/>
                  </a:cubicBezTo>
                  <a:cubicBezTo>
                    <a:pt x="5256277" y="757374"/>
                    <a:pt x="5255891" y="757074"/>
                    <a:pt x="5255505" y="756817"/>
                  </a:cubicBezTo>
                  <a:cubicBezTo>
                    <a:pt x="5244912" y="754972"/>
                    <a:pt x="5234061" y="754243"/>
                    <a:pt x="5225054" y="753171"/>
                  </a:cubicBezTo>
                  <a:cubicBezTo>
                    <a:pt x="5199620" y="750169"/>
                    <a:pt x="5172815" y="749525"/>
                    <a:pt x="5148282" y="741462"/>
                  </a:cubicBezTo>
                  <a:cubicBezTo>
                    <a:pt x="5121605" y="732713"/>
                    <a:pt x="5117787" y="703291"/>
                    <a:pt x="5128596" y="684205"/>
                  </a:cubicBezTo>
                  <a:cubicBezTo>
                    <a:pt x="5117573" y="680474"/>
                    <a:pt x="5105522" y="676356"/>
                    <a:pt x="5098959" y="668422"/>
                  </a:cubicBezTo>
                  <a:cubicBezTo>
                    <a:pt x="5086093" y="653024"/>
                    <a:pt x="5029778" y="625618"/>
                    <a:pt x="5005632" y="623903"/>
                  </a:cubicBezTo>
                  <a:cubicBezTo>
                    <a:pt x="4986674" y="622530"/>
                    <a:pt x="4985860" y="612794"/>
                    <a:pt x="4980713" y="609749"/>
                  </a:cubicBezTo>
                  <a:cubicBezTo>
                    <a:pt x="4977454" y="611636"/>
                    <a:pt x="4973637" y="613052"/>
                    <a:pt x="4969176" y="613909"/>
                  </a:cubicBezTo>
                  <a:cubicBezTo>
                    <a:pt x="4921826" y="622702"/>
                    <a:pt x="4873619" y="629607"/>
                    <a:pt x="4827813" y="610178"/>
                  </a:cubicBezTo>
                  <a:cubicBezTo>
                    <a:pt x="4817906" y="605975"/>
                    <a:pt x="4809457" y="598941"/>
                    <a:pt x="4804781" y="589934"/>
                  </a:cubicBezTo>
                  <a:cubicBezTo>
                    <a:pt x="4796889" y="588390"/>
                    <a:pt x="4790799" y="588219"/>
                    <a:pt x="4788827" y="590792"/>
                  </a:cubicBezTo>
                  <a:cubicBezTo>
                    <a:pt x="4781921" y="599927"/>
                    <a:pt x="4784881" y="613052"/>
                    <a:pt x="4777975" y="615325"/>
                  </a:cubicBezTo>
                  <a:cubicBezTo>
                    <a:pt x="4771070" y="617598"/>
                    <a:pt x="4777975" y="629049"/>
                    <a:pt x="4794274" y="646162"/>
                  </a:cubicBezTo>
                  <a:cubicBezTo>
                    <a:pt x="4810572" y="663275"/>
                    <a:pt x="4800664" y="676442"/>
                    <a:pt x="4785867" y="683862"/>
                  </a:cubicBezTo>
                  <a:cubicBezTo>
                    <a:pt x="4771070" y="691282"/>
                    <a:pt x="4747353" y="677000"/>
                    <a:pt x="4739932" y="663875"/>
                  </a:cubicBezTo>
                  <a:cubicBezTo>
                    <a:pt x="4732641" y="650966"/>
                    <a:pt x="4712999" y="656198"/>
                    <a:pt x="4707637" y="640115"/>
                  </a:cubicBezTo>
                  <a:cubicBezTo>
                    <a:pt x="4671524" y="658471"/>
                    <a:pt x="4628806" y="655383"/>
                    <a:pt x="4590807" y="641873"/>
                  </a:cubicBezTo>
                  <a:cubicBezTo>
                    <a:pt x="4573908" y="635869"/>
                    <a:pt x="4554736" y="629564"/>
                    <a:pt x="4536423" y="621415"/>
                  </a:cubicBezTo>
                  <a:cubicBezTo>
                    <a:pt x="4512233" y="623045"/>
                    <a:pt x="4486800" y="626605"/>
                    <a:pt x="4482168" y="630164"/>
                  </a:cubicBezTo>
                  <a:cubicBezTo>
                    <a:pt x="4473290" y="637027"/>
                    <a:pt x="4479723" y="663833"/>
                    <a:pt x="4475262" y="666149"/>
                  </a:cubicBezTo>
                  <a:cubicBezTo>
                    <a:pt x="4470845" y="668379"/>
                    <a:pt x="4466385" y="635311"/>
                    <a:pt x="4466385" y="629006"/>
                  </a:cubicBezTo>
                  <a:cubicBezTo>
                    <a:pt x="4466385" y="622702"/>
                    <a:pt x="4456005" y="618155"/>
                    <a:pt x="4440694" y="618155"/>
                  </a:cubicBezTo>
                  <a:cubicBezTo>
                    <a:pt x="4425383" y="618155"/>
                    <a:pt x="4416504" y="617555"/>
                    <a:pt x="4422938" y="610135"/>
                  </a:cubicBezTo>
                  <a:cubicBezTo>
                    <a:pt x="4429371" y="602715"/>
                    <a:pt x="4417019" y="595295"/>
                    <a:pt x="4428857" y="585602"/>
                  </a:cubicBezTo>
                  <a:cubicBezTo>
                    <a:pt x="4431816" y="583201"/>
                    <a:pt x="4431945" y="579512"/>
                    <a:pt x="4429972" y="575095"/>
                  </a:cubicBezTo>
                  <a:cubicBezTo>
                    <a:pt x="4407069" y="562442"/>
                    <a:pt x="4386396" y="556952"/>
                    <a:pt x="4359547" y="553478"/>
                  </a:cubicBezTo>
                  <a:cubicBezTo>
                    <a:pt x="4319446" y="548289"/>
                    <a:pt x="4279559" y="541941"/>
                    <a:pt x="4240144" y="533449"/>
                  </a:cubicBezTo>
                  <a:cubicBezTo>
                    <a:pt x="4219085" y="537695"/>
                    <a:pt x="4186618" y="535980"/>
                    <a:pt x="4170105" y="536494"/>
                  </a:cubicBezTo>
                  <a:cubicBezTo>
                    <a:pt x="4151319" y="537095"/>
                    <a:pt x="4166631" y="527916"/>
                    <a:pt x="4161227" y="517666"/>
                  </a:cubicBezTo>
                  <a:cubicBezTo>
                    <a:pt x="4159940" y="515264"/>
                    <a:pt x="4157196" y="512734"/>
                    <a:pt x="4153678" y="510375"/>
                  </a:cubicBezTo>
                  <a:cubicBezTo>
                    <a:pt x="4148274" y="508616"/>
                    <a:pt x="4142870" y="506943"/>
                    <a:pt x="4137509" y="505056"/>
                  </a:cubicBezTo>
                  <a:cubicBezTo>
                    <a:pt x="4134249" y="503898"/>
                    <a:pt x="4131376" y="502440"/>
                    <a:pt x="4128759" y="500725"/>
                  </a:cubicBezTo>
                  <a:cubicBezTo>
                    <a:pt x="4124171" y="500253"/>
                    <a:pt x="4120525" y="500896"/>
                    <a:pt x="4119238" y="503384"/>
                  </a:cubicBezTo>
                  <a:cubicBezTo>
                    <a:pt x="4114778" y="511961"/>
                    <a:pt x="4106414" y="503384"/>
                    <a:pt x="4106414" y="497079"/>
                  </a:cubicBezTo>
                  <a:cubicBezTo>
                    <a:pt x="4106414" y="490817"/>
                    <a:pt x="4076263" y="478250"/>
                    <a:pt x="4064425" y="481081"/>
                  </a:cubicBezTo>
                  <a:cubicBezTo>
                    <a:pt x="4052589" y="483912"/>
                    <a:pt x="4047142" y="468515"/>
                    <a:pt x="4060952" y="468515"/>
                  </a:cubicBezTo>
                  <a:cubicBezTo>
                    <a:pt x="4074762" y="468515"/>
                    <a:pt x="4098223" y="471903"/>
                    <a:pt x="4088229" y="453889"/>
                  </a:cubicBezTo>
                  <a:cubicBezTo>
                    <a:pt x="4079480" y="454747"/>
                    <a:pt x="4070645" y="454061"/>
                    <a:pt x="4061853" y="452560"/>
                  </a:cubicBezTo>
                  <a:cubicBezTo>
                    <a:pt x="4053232" y="456463"/>
                    <a:pt x="4040836" y="462253"/>
                    <a:pt x="4036719" y="463754"/>
                  </a:cubicBezTo>
                  <a:cubicBezTo>
                    <a:pt x="4011544" y="473232"/>
                    <a:pt x="3994646" y="453718"/>
                    <a:pt x="3992801" y="432144"/>
                  </a:cubicBezTo>
                  <a:cubicBezTo>
                    <a:pt x="3986539" y="432102"/>
                    <a:pt x="3982078" y="432445"/>
                    <a:pt x="3980492" y="433088"/>
                  </a:cubicBezTo>
                  <a:cubicBezTo>
                    <a:pt x="3972086" y="436519"/>
                    <a:pt x="3979977" y="449643"/>
                    <a:pt x="3960719" y="470788"/>
                  </a:cubicBezTo>
                  <a:cubicBezTo>
                    <a:pt x="3941462" y="491889"/>
                    <a:pt x="3922720" y="477650"/>
                    <a:pt x="3925164" y="467357"/>
                  </a:cubicBezTo>
                  <a:cubicBezTo>
                    <a:pt x="3927652" y="457063"/>
                    <a:pt x="3951327" y="458779"/>
                    <a:pt x="3951327" y="448528"/>
                  </a:cubicBezTo>
                  <a:cubicBezTo>
                    <a:pt x="3951327" y="438235"/>
                    <a:pt x="3918731" y="443939"/>
                    <a:pt x="3913842" y="435404"/>
                  </a:cubicBezTo>
                  <a:cubicBezTo>
                    <a:pt x="3912254" y="432702"/>
                    <a:pt x="3912512" y="430343"/>
                    <a:pt x="3913756" y="428456"/>
                  </a:cubicBezTo>
                  <a:cubicBezTo>
                    <a:pt x="3896986" y="429700"/>
                    <a:pt x="3885192" y="417519"/>
                    <a:pt x="3881074" y="402422"/>
                  </a:cubicBezTo>
                  <a:cubicBezTo>
                    <a:pt x="3866320" y="399849"/>
                    <a:pt x="3851781" y="398219"/>
                    <a:pt x="3841230" y="399420"/>
                  </a:cubicBezTo>
                  <a:cubicBezTo>
                    <a:pt x="3816054" y="402251"/>
                    <a:pt x="3804689" y="388569"/>
                    <a:pt x="3790878" y="387411"/>
                  </a:cubicBezTo>
                  <a:cubicBezTo>
                    <a:pt x="3777067" y="386253"/>
                    <a:pt x="3777025" y="395989"/>
                    <a:pt x="3783459" y="405124"/>
                  </a:cubicBezTo>
                  <a:cubicBezTo>
                    <a:pt x="3789892" y="414260"/>
                    <a:pt x="3770120" y="419964"/>
                    <a:pt x="3753821" y="417133"/>
                  </a:cubicBezTo>
                  <a:cubicBezTo>
                    <a:pt x="3750219" y="416490"/>
                    <a:pt x="3746273" y="416704"/>
                    <a:pt x="3742370" y="417433"/>
                  </a:cubicBezTo>
                  <a:cubicBezTo>
                    <a:pt x="3742799" y="420264"/>
                    <a:pt x="3743400" y="423095"/>
                    <a:pt x="3744171" y="426140"/>
                  </a:cubicBezTo>
                  <a:cubicBezTo>
                    <a:pt x="3745415" y="431072"/>
                    <a:pt x="3746445" y="436005"/>
                    <a:pt x="3747130" y="440937"/>
                  </a:cubicBezTo>
                  <a:cubicBezTo>
                    <a:pt x="3748075" y="440980"/>
                    <a:pt x="3748975" y="441151"/>
                    <a:pt x="3749876" y="441666"/>
                  </a:cubicBezTo>
                  <a:cubicBezTo>
                    <a:pt x="3752663" y="443296"/>
                    <a:pt x="3750862" y="445526"/>
                    <a:pt x="3747946" y="448056"/>
                  </a:cubicBezTo>
                  <a:cubicBezTo>
                    <a:pt x="3748460" y="454747"/>
                    <a:pt x="3748160" y="461223"/>
                    <a:pt x="3746917" y="467314"/>
                  </a:cubicBezTo>
                  <a:cubicBezTo>
                    <a:pt x="3752020" y="474047"/>
                    <a:pt x="3750991" y="483140"/>
                    <a:pt x="3751376" y="488501"/>
                  </a:cubicBezTo>
                  <a:cubicBezTo>
                    <a:pt x="3751763" y="493819"/>
                    <a:pt x="3739625" y="497036"/>
                    <a:pt x="3730747" y="493433"/>
                  </a:cubicBezTo>
                  <a:cubicBezTo>
                    <a:pt x="3726973" y="496307"/>
                    <a:pt x="3722598" y="498837"/>
                    <a:pt x="3717323" y="500939"/>
                  </a:cubicBezTo>
                  <a:cubicBezTo>
                    <a:pt x="3710289" y="503727"/>
                    <a:pt x="3703255" y="504413"/>
                    <a:pt x="3696136" y="504027"/>
                  </a:cubicBezTo>
                  <a:cubicBezTo>
                    <a:pt x="3695493" y="506772"/>
                    <a:pt x="3691589" y="509260"/>
                    <a:pt x="3683226" y="510246"/>
                  </a:cubicBezTo>
                  <a:cubicBezTo>
                    <a:pt x="3672632" y="511447"/>
                    <a:pt x="3669158" y="505314"/>
                    <a:pt x="3666371" y="499781"/>
                  </a:cubicBezTo>
                  <a:cubicBezTo>
                    <a:pt x="3660537" y="507329"/>
                    <a:pt x="3651445" y="512348"/>
                    <a:pt x="3639093" y="512047"/>
                  </a:cubicBezTo>
                  <a:cubicBezTo>
                    <a:pt x="3624038" y="511704"/>
                    <a:pt x="3609199" y="510289"/>
                    <a:pt x="3594445" y="508359"/>
                  </a:cubicBezTo>
                  <a:cubicBezTo>
                    <a:pt x="3581106" y="510632"/>
                    <a:pt x="3567253" y="510632"/>
                    <a:pt x="3551084" y="505056"/>
                  </a:cubicBezTo>
                  <a:cubicBezTo>
                    <a:pt x="3546666" y="503555"/>
                    <a:pt x="3542549" y="501625"/>
                    <a:pt x="3538560" y="499438"/>
                  </a:cubicBezTo>
                  <a:cubicBezTo>
                    <a:pt x="3535043" y="498837"/>
                    <a:pt x="3531526" y="498237"/>
                    <a:pt x="3528010" y="497636"/>
                  </a:cubicBezTo>
                  <a:cubicBezTo>
                    <a:pt x="3514799" y="495406"/>
                    <a:pt x="3501933" y="494677"/>
                    <a:pt x="3489323" y="493519"/>
                  </a:cubicBezTo>
                  <a:cubicBezTo>
                    <a:pt x="3486621" y="503041"/>
                    <a:pt x="3484263" y="511490"/>
                    <a:pt x="3479244" y="512476"/>
                  </a:cubicBezTo>
                  <a:cubicBezTo>
                    <a:pt x="3470367" y="514192"/>
                    <a:pt x="3466892" y="536451"/>
                    <a:pt x="3458014" y="542156"/>
                  </a:cubicBezTo>
                  <a:cubicBezTo>
                    <a:pt x="3449093" y="547860"/>
                    <a:pt x="3448622" y="533578"/>
                    <a:pt x="3437255" y="534736"/>
                  </a:cubicBezTo>
                  <a:cubicBezTo>
                    <a:pt x="3425890" y="535894"/>
                    <a:pt x="3389391" y="494763"/>
                    <a:pt x="3387375" y="482797"/>
                  </a:cubicBezTo>
                  <a:cubicBezTo>
                    <a:pt x="3385403" y="470788"/>
                    <a:pt x="3362714" y="447928"/>
                    <a:pt x="3356795" y="443382"/>
                  </a:cubicBezTo>
                  <a:cubicBezTo>
                    <a:pt x="3350877" y="438792"/>
                    <a:pt x="3362714" y="436519"/>
                    <a:pt x="3370091" y="443939"/>
                  </a:cubicBezTo>
                  <a:cubicBezTo>
                    <a:pt x="3377511" y="451359"/>
                    <a:pt x="3386860" y="451359"/>
                    <a:pt x="3394280" y="446813"/>
                  </a:cubicBezTo>
                  <a:cubicBezTo>
                    <a:pt x="3396983" y="445140"/>
                    <a:pt x="3398527" y="441323"/>
                    <a:pt x="3398827" y="437077"/>
                  </a:cubicBezTo>
                  <a:cubicBezTo>
                    <a:pt x="3389778" y="431158"/>
                    <a:pt x="3381585" y="423610"/>
                    <a:pt x="3374122" y="414903"/>
                  </a:cubicBezTo>
                  <a:cubicBezTo>
                    <a:pt x="3366531" y="405982"/>
                    <a:pt x="3360312" y="397276"/>
                    <a:pt x="3354308" y="388912"/>
                  </a:cubicBezTo>
                  <a:cubicBezTo>
                    <a:pt x="3351177" y="385395"/>
                    <a:pt x="3348260" y="381664"/>
                    <a:pt x="3345301" y="377975"/>
                  </a:cubicBezTo>
                  <a:cubicBezTo>
                    <a:pt x="3332305" y="390456"/>
                    <a:pt x="3311419" y="394917"/>
                    <a:pt x="3294605" y="379090"/>
                  </a:cubicBezTo>
                  <a:cubicBezTo>
                    <a:pt x="3267928" y="354000"/>
                    <a:pt x="3229285" y="347824"/>
                    <a:pt x="3192186" y="342892"/>
                  </a:cubicBezTo>
                  <a:cubicBezTo>
                    <a:pt x="3192444" y="344179"/>
                    <a:pt x="3192786" y="345508"/>
                    <a:pt x="3193344" y="346881"/>
                  </a:cubicBezTo>
                  <a:cubicBezTo>
                    <a:pt x="3199263" y="361763"/>
                    <a:pt x="3193858" y="363993"/>
                    <a:pt x="3192872" y="376002"/>
                  </a:cubicBezTo>
                  <a:cubicBezTo>
                    <a:pt x="3191886" y="387969"/>
                    <a:pt x="3185967" y="382865"/>
                    <a:pt x="3173144" y="377718"/>
                  </a:cubicBezTo>
                  <a:cubicBezTo>
                    <a:pt x="3160320" y="372571"/>
                    <a:pt x="3160320" y="390285"/>
                    <a:pt x="3132655" y="382307"/>
                  </a:cubicBezTo>
                  <a:cubicBezTo>
                    <a:pt x="3130768" y="381750"/>
                    <a:pt x="3128967" y="381321"/>
                    <a:pt x="3127209" y="380892"/>
                  </a:cubicBezTo>
                  <a:cubicBezTo>
                    <a:pt x="3123735" y="382050"/>
                    <a:pt x="3120089" y="382650"/>
                    <a:pt x="3116444" y="382564"/>
                  </a:cubicBezTo>
                  <a:cubicBezTo>
                    <a:pt x="3101689" y="382221"/>
                    <a:pt x="3087836" y="378490"/>
                    <a:pt x="3073983" y="373729"/>
                  </a:cubicBezTo>
                  <a:cubicBezTo>
                    <a:pt x="3072954" y="373386"/>
                    <a:pt x="3072096" y="372872"/>
                    <a:pt x="3071110" y="372443"/>
                  </a:cubicBezTo>
                  <a:cubicBezTo>
                    <a:pt x="3062103" y="377246"/>
                    <a:pt x="3029507" y="373257"/>
                    <a:pt x="3026504" y="362278"/>
                  </a:cubicBezTo>
                  <a:cubicBezTo>
                    <a:pt x="3025818" y="359876"/>
                    <a:pt x="3025818" y="357946"/>
                    <a:pt x="3026076" y="356188"/>
                  </a:cubicBezTo>
                  <a:cubicBezTo>
                    <a:pt x="3014582" y="352413"/>
                    <a:pt x="3001758" y="351598"/>
                    <a:pt x="2990177" y="349197"/>
                  </a:cubicBezTo>
                  <a:cubicBezTo>
                    <a:pt x="2972808" y="345594"/>
                    <a:pt x="2956037" y="339032"/>
                    <a:pt x="2941413" y="328653"/>
                  </a:cubicBezTo>
                  <a:cubicBezTo>
                    <a:pt x="2940812" y="328224"/>
                    <a:pt x="2940254" y="327795"/>
                    <a:pt x="2939696" y="327323"/>
                  </a:cubicBezTo>
                  <a:cubicBezTo>
                    <a:pt x="2913706" y="330368"/>
                    <a:pt x="2871116" y="335258"/>
                    <a:pt x="2864512" y="338860"/>
                  </a:cubicBezTo>
                  <a:cubicBezTo>
                    <a:pt x="2857134" y="342849"/>
                    <a:pt x="2871460" y="358289"/>
                    <a:pt x="2860052" y="359404"/>
                  </a:cubicBezTo>
                  <a:cubicBezTo>
                    <a:pt x="2848728" y="360519"/>
                    <a:pt x="2856577" y="334271"/>
                    <a:pt x="2854648" y="321705"/>
                  </a:cubicBezTo>
                  <a:cubicBezTo>
                    <a:pt x="2852675" y="309138"/>
                    <a:pt x="2835390" y="307422"/>
                    <a:pt x="2837834" y="317158"/>
                  </a:cubicBezTo>
                  <a:cubicBezTo>
                    <a:pt x="2840279" y="326851"/>
                    <a:pt x="2810686" y="330282"/>
                    <a:pt x="2803309" y="322863"/>
                  </a:cubicBezTo>
                  <a:cubicBezTo>
                    <a:pt x="2795889" y="315443"/>
                    <a:pt x="2784052" y="305750"/>
                    <a:pt x="2764795" y="300045"/>
                  </a:cubicBezTo>
                  <a:cubicBezTo>
                    <a:pt x="2745537" y="294341"/>
                    <a:pt x="2721862" y="318316"/>
                    <a:pt x="2727267" y="325179"/>
                  </a:cubicBezTo>
                  <a:cubicBezTo>
                    <a:pt x="2732713" y="332041"/>
                    <a:pt x="2746995" y="326894"/>
                    <a:pt x="2747510" y="331440"/>
                  </a:cubicBezTo>
                  <a:cubicBezTo>
                    <a:pt x="2748539" y="340833"/>
                    <a:pt x="2706551" y="337188"/>
                    <a:pt x="2706551" y="345165"/>
                  </a:cubicBezTo>
                  <a:cubicBezTo>
                    <a:pt x="2706551" y="353185"/>
                    <a:pt x="2667521" y="363993"/>
                    <a:pt x="2655683" y="365709"/>
                  </a:cubicBezTo>
                  <a:cubicBezTo>
                    <a:pt x="2623217" y="370427"/>
                    <a:pt x="2616183" y="370255"/>
                    <a:pt x="2600871" y="385138"/>
                  </a:cubicBezTo>
                  <a:cubicBezTo>
                    <a:pt x="2585560" y="399978"/>
                    <a:pt x="2597398" y="372014"/>
                    <a:pt x="2609278" y="358289"/>
                  </a:cubicBezTo>
                  <a:cubicBezTo>
                    <a:pt x="2621116" y="344607"/>
                    <a:pt x="2633467" y="350312"/>
                    <a:pt x="2640373" y="339461"/>
                  </a:cubicBezTo>
                  <a:cubicBezTo>
                    <a:pt x="2647277" y="328610"/>
                    <a:pt x="2658128" y="329725"/>
                    <a:pt x="2676915" y="326294"/>
                  </a:cubicBezTo>
                  <a:cubicBezTo>
                    <a:pt x="2695700" y="322863"/>
                    <a:pt x="2694670" y="310296"/>
                    <a:pt x="2703592" y="305750"/>
                  </a:cubicBezTo>
                  <a:cubicBezTo>
                    <a:pt x="2712469" y="301203"/>
                    <a:pt x="2734171" y="291468"/>
                    <a:pt x="2738117" y="281174"/>
                  </a:cubicBezTo>
                  <a:cubicBezTo>
                    <a:pt x="2742063" y="270881"/>
                    <a:pt x="2786539" y="253768"/>
                    <a:pt x="2795417" y="254325"/>
                  </a:cubicBezTo>
                  <a:cubicBezTo>
                    <a:pt x="2804296" y="254926"/>
                    <a:pt x="2806268" y="233781"/>
                    <a:pt x="2811200" y="233781"/>
                  </a:cubicBezTo>
                  <a:cubicBezTo>
                    <a:pt x="2816176" y="233781"/>
                    <a:pt x="2841824" y="220657"/>
                    <a:pt x="2851688" y="215511"/>
                  </a:cubicBezTo>
                  <a:cubicBezTo>
                    <a:pt x="2861552" y="210364"/>
                    <a:pt x="2866485" y="199513"/>
                    <a:pt x="2866999" y="192093"/>
                  </a:cubicBezTo>
                  <a:cubicBezTo>
                    <a:pt x="2867514" y="184673"/>
                    <a:pt x="2853661" y="185831"/>
                    <a:pt x="2852160" y="178969"/>
                  </a:cubicBezTo>
                  <a:cubicBezTo>
                    <a:pt x="2850701" y="172107"/>
                    <a:pt x="2858593" y="176696"/>
                    <a:pt x="2868929" y="172107"/>
                  </a:cubicBezTo>
                  <a:cubicBezTo>
                    <a:pt x="2879309" y="167560"/>
                    <a:pt x="2868929" y="151563"/>
                    <a:pt x="2860566" y="154393"/>
                  </a:cubicBezTo>
                  <a:cubicBezTo>
                    <a:pt x="2856277" y="155852"/>
                    <a:pt x="2857521" y="153578"/>
                    <a:pt x="2858765" y="149676"/>
                  </a:cubicBezTo>
                  <a:cubicBezTo>
                    <a:pt x="2849458" y="146545"/>
                    <a:pt x="2840365" y="142685"/>
                    <a:pt x="2832131" y="137281"/>
                  </a:cubicBezTo>
                  <a:cubicBezTo>
                    <a:pt x="2822609" y="131062"/>
                    <a:pt x="2816862" y="121669"/>
                    <a:pt x="2815104" y="111418"/>
                  </a:cubicBezTo>
                  <a:cubicBezTo>
                    <a:pt x="2784394" y="106829"/>
                    <a:pt x="2754415" y="100053"/>
                    <a:pt x="2724263" y="92290"/>
                  </a:cubicBezTo>
                  <a:cubicBezTo>
                    <a:pt x="2720833" y="91389"/>
                    <a:pt x="2717787" y="90145"/>
                    <a:pt x="2715086" y="88601"/>
                  </a:cubicBezTo>
                  <a:cubicBezTo>
                    <a:pt x="2705650" y="88901"/>
                    <a:pt x="2694627" y="88001"/>
                    <a:pt x="2689695" y="86457"/>
                  </a:cubicBezTo>
                  <a:cubicBezTo>
                    <a:pt x="2680817" y="83626"/>
                    <a:pt x="2668464" y="90445"/>
                    <a:pt x="2667993" y="100739"/>
                  </a:cubicBezTo>
                  <a:cubicBezTo>
                    <a:pt x="2667521" y="111032"/>
                    <a:pt x="2632438" y="107001"/>
                    <a:pt x="2626047" y="105285"/>
                  </a:cubicBezTo>
                  <a:cubicBezTo>
                    <a:pt x="2619657" y="103570"/>
                    <a:pt x="2650236" y="74448"/>
                    <a:pt x="2650236" y="69301"/>
                  </a:cubicBezTo>
                  <a:cubicBezTo>
                    <a:pt x="2650236" y="64154"/>
                    <a:pt x="2598384" y="70459"/>
                    <a:pt x="2595425" y="64755"/>
                  </a:cubicBezTo>
                  <a:cubicBezTo>
                    <a:pt x="2592465" y="59050"/>
                    <a:pt x="2567289" y="57292"/>
                    <a:pt x="2555923" y="57892"/>
                  </a:cubicBezTo>
                  <a:cubicBezTo>
                    <a:pt x="2544558" y="58450"/>
                    <a:pt x="2555452" y="54461"/>
                    <a:pt x="2565788" y="53303"/>
                  </a:cubicBezTo>
                  <a:cubicBezTo>
                    <a:pt x="2576167" y="52145"/>
                    <a:pt x="2585517" y="41852"/>
                    <a:pt x="2596882" y="39579"/>
                  </a:cubicBezTo>
                  <a:cubicBezTo>
                    <a:pt x="2608249" y="37306"/>
                    <a:pt x="2605761" y="32716"/>
                    <a:pt x="2600828" y="24739"/>
                  </a:cubicBezTo>
                  <a:cubicBezTo>
                    <a:pt x="2595896" y="16762"/>
                    <a:pt x="2584016" y="20750"/>
                    <a:pt x="2572650" y="16762"/>
                  </a:cubicBezTo>
                  <a:cubicBezTo>
                    <a:pt x="2561284" y="12773"/>
                    <a:pt x="2547474" y="7026"/>
                    <a:pt x="2537609" y="6468"/>
                  </a:cubicBezTo>
                  <a:cubicBezTo>
                    <a:pt x="2527745" y="5911"/>
                    <a:pt x="2516851" y="12172"/>
                    <a:pt x="2493648" y="17319"/>
                  </a:cubicBezTo>
                  <a:cubicBezTo>
                    <a:pt x="2470445" y="22466"/>
                    <a:pt x="2468472" y="43010"/>
                    <a:pt x="2456635" y="49315"/>
                  </a:cubicBezTo>
                  <a:cubicBezTo>
                    <a:pt x="2453590" y="50944"/>
                    <a:pt x="2449944" y="53818"/>
                    <a:pt x="2446385" y="57206"/>
                  </a:cubicBezTo>
                  <a:cubicBezTo>
                    <a:pt x="2450758" y="70287"/>
                    <a:pt x="2448657" y="85985"/>
                    <a:pt x="2440036" y="96536"/>
                  </a:cubicBezTo>
                  <a:cubicBezTo>
                    <a:pt x="2440036" y="97522"/>
                    <a:pt x="2440122" y="98509"/>
                    <a:pt x="2440336" y="99538"/>
                  </a:cubicBezTo>
                  <a:cubicBezTo>
                    <a:pt x="2441666" y="106229"/>
                    <a:pt x="2434504" y="108244"/>
                    <a:pt x="2424768" y="106915"/>
                  </a:cubicBezTo>
                  <a:cubicBezTo>
                    <a:pt x="2421337" y="107987"/>
                    <a:pt x="2417605" y="108588"/>
                    <a:pt x="2413445" y="108588"/>
                  </a:cubicBezTo>
                  <a:cubicBezTo>
                    <a:pt x="2407698" y="108588"/>
                    <a:pt x="2402637" y="107430"/>
                    <a:pt x="2398305" y="105457"/>
                  </a:cubicBezTo>
                  <a:cubicBezTo>
                    <a:pt x="2384494" y="106100"/>
                    <a:pt x="2370470" y="108630"/>
                    <a:pt x="2370727" y="114378"/>
                  </a:cubicBezTo>
                  <a:cubicBezTo>
                    <a:pt x="2371199" y="124114"/>
                    <a:pt x="2393973" y="128660"/>
                    <a:pt x="2392472" y="133764"/>
                  </a:cubicBezTo>
                  <a:cubicBezTo>
                    <a:pt x="2391014" y="138910"/>
                    <a:pt x="2375188" y="133206"/>
                    <a:pt x="2367296" y="128059"/>
                  </a:cubicBezTo>
                  <a:cubicBezTo>
                    <a:pt x="2359405" y="122913"/>
                    <a:pt x="2341605" y="125743"/>
                    <a:pt x="2338174" y="135479"/>
                  </a:cubicBezTo>
                  <a:cubicBezTo>
                    <a:pt x="2334701" y="145172"/>
                    <a:pt x="2320890" y="142899"/>
                    <a:pt x="2316430" y="140626"/>
                  </a:cubicBezTo>
                  <a:cubicBezTo>
                    <a:pt x="2312870" y="138825"/>
                    <a:pt x="2305793" y="142770"/>
                    <a:pt x="2299360" y="142985"/>
                  </a:cubicBezTo>
                  <a:cubicBezTo>
                    <a:pt x="2293269" y="147231"/>
                    <a:pt x="2286321" y="149504"/>
                    <a:pt x="2278730" y="149847"/>
                  </a:cubicBezTo>
                  <a:cubicBezTo>
                    <a:pt x="2271695" y="150190"/>
                    <a:pt x="2264963" y="147660"/>
                    <a:pt x="2259129" y="143757"/>
                  </a:cubicBezTo>
                  <a:cubicBezTo>
                    <a:pt x="2252182" y="151949"/>
                    <a:pt x="2241930" y="157353"/>
                    <a:pt x="2231380" y="157353"/>
                  </a:cubicBezTo>
                  <a:lnTo>
                    <a:pt x="2216069" y="157353"/>
                  </a:lnTo>
                  <a:cubicBezTo>
                    <a:pt x="2216412" y="157696"/>
                    <a:pt x="2216669" y="157996"/>
                    <a:pt x="2216712" y="158339"/>
                  </a:cubicBezTo>
                  <a:cubicBezTo>
                    <a:pt x="2217184" y="162371"/>
                    <a:pt x="2162886" y="161770"/>
                    <a:pt x="2161428" y="168032"/>
                  </a:cubicBezTo>
                  <a:cubicBezTo>
                    <a:pt x="2160698" y="171077"/>
                    <a:pt x="2156067" y="172621"/>
                    <a:pt x="2149076" y="173479"/>
                  </a:cubicBezTo>
                  <a:cubicBezTo>
                    <a:pt x="2111290" y="212894"/>
                    <a:pt x="2055277" y="218213"/>
                    <a:pt x="2004324" y="234768"/>
                  </a:cubicBezTo>
                  <a:cubicBezTo>
                    <a:pt x="2004152" y="234811"/>
                    <a:pt x="2003981" y="234854"/>
                    <a:pt x="2003809" y="234897"/>
                  </a:cubicBezTo>
                  <a:cubicBezTo>
                    <a:pt x="2010371" y="236012"/>
                    <a:pt x="2013202" y="243088"/>
                    <a:pt x="2009342" y="248535"/>
                  </a:cubicBezTo>
                  <a:cubicBezTo>
                    <a:pt x="2004882" y="254840"/>
                    <a:pt x="1985624" y="241116"/>
                    <a:pt x="1980692" y="246820"/>
                  </a:cubicBezTo>
                  <a:cubicBezTo>
                    <a:pt x="1975760" y="252567"/>
                    <a:pt x="1990085" y="259944"/>
                    <a:pt x="1998963" y="258829"/>
                  </a:cubicBezTo>
                  <a:cubicBezTo>
                    <a:pt x="2007841" y="257714"/>
                    <a:pt x="2012773" y="264533"/>
                    <a:pt x="2013760" y="271953"/>
                  </a:cubicBezTo>
                  <a:cubicBezTo>
                    <a:pt x="2014746" y="279373"/>
                    <a:pt x="1993001" y="267364"/>
                    <a:pt x="1988584" y="273669"/>
                  </a:cubicBezTo>
                  <a:cubicBezTo>
                    <a:pt x="1984123" y="279930"/>
                    <a:pt x="1992057" y="282804"/>
                    <a:pt x="2001407" y="283962"/>
                  </a:cubicBezTo>
                  <a:cubicBezTo>
                    <a:pt x="2010800" y="285077"/>
                    <a:pt x="2003895" y="289109"/>
                    <a:pt x="2012301" y="297687"/>
                  </a:cubicBezTo>
                  <a:cubicBezTo>
                    <a:pt x="2012945" y="298330"/>
                    <a:pt x="2013460" y="298973"/>
                    <a:pt x="2013931" y="299574"/>
                  </a:cubicBezTo>
                  <a:cubicBezTo>
                    <a:pt x="2019035" y="306650"/>
                    <a:pt x="2009428" y="309138"/>
                    <a:pt x="2010371" y="315957"/>
                  </a:cubicBezTo>
                  <a:cubicBezTo>
                    <a:pt x="2011315" y="323377"/>
                    <a:pt x="2000979" y="326251"/>
                    <a:pt x="2000979" y="319389"/>
                  </a:cubicBezTo>
                  <a:cubicBezTo>
                    <a:pt x="2000979" y="312526"/>
                    <a:pt x="1974816" y="310253"/>
                    <a:pt x="1969412" y="317673"/>
                  </a:cubicBezTo>
                  <a:cubicBezTo>
                    <a:pt x="1963965" y="325136"/>
                    <a:pt x="1960019" y="330797"/>
                    <a:pt x="1953586" y="323978"/>
                  </a:cubicBezTo>
                  <a:cubicBezTo>
                    <a:pt x="1952985" y="323377"/>
                    <a:pt x="1952213" y="322991"/>
                    <a:pt x="1951441" y="322605"/>
                  </a:cubicBezTo>
                  <a:cubicBezTo>
                    <a:pt x="1947152" y="324707"/>
                    <a:pt x="1942135" y="326036"/>
                    <a:pt x="1936430" y="326208"/>
                  </a:cubicBezTo>
                  <a:cubicBezTo>
                    <a:pt x="1908466" y="327194"/>
                    <a:pt x="1882775" y="343407"/>
                    <a:pt x="1855069" y="347395"/>
                  </a:cubicBezTo>
                  <a:cubicBezTo>
                    <a:pt x="1840744" y="349454"/>
                    <a:pt x="1826548" y="345980"/>
                    <a:pt x="1817670" y="335515"/>
                  </a:cubicBezTo>
                  <a:cubicBezTo>
                    <a:pt x="1805403" y="340790"/>
                    <a:pt x="1795196" y="360605"/>
                    <a:pt x="1806519" y="373686"/>
                  </a:cubicBezTo>
                  <a:cubicBezTo>
                    <a:pt x="1817884" y="386853"/>
                    <a:pt x="1806990" y="392515"/>
                    <a:pt x="1806990" y="401093"/>
                  </a:cubicBezTo>
                  <a:cubicBezTo>
                    <a:pt x="1806990" y="409671"/>
                    <a:pt x="1836626" y="427341"/>
                    <a:pt x="1852453" y="429056"/>
                  </a:cubicBezTo>
                  <a:cubicBezTo>
                    <a:pt x="1868236" y="430772"/>
                    <a:pt x="1881103" y="453032"/>
                    <a:pt x="1871710" y="466756"/>
                  </a:cubicBezTo>
                  <a:cubicBezTo>
                    <a:pt x="1862317" y="480438"/>
                    <a:pt x="1833667" y="462767"/>
                    <a:pt x="1814925" y="445612"/>
                  </a:cubicBezTo>
                  <a:cubicBezTo>
                    <a:pt x="1796139" y="428499"/>
                    <a:pt x="1752692" y="421637"/>
                    <a:pt x="1738410" y="422795"/>
                  </a:cubicBezTo>
                  <a:cubicBezTo>
                    <a:pt x="1724085" y="423910"/>
                    <a:pt x="1732449" y="407955"/>
                    <a:pt x="1714221" y="408470"/>
                  </a:cubicBezTo>
                  <a:cubicBezTo>
                    <a:pt x="1695907" y="409070"/>
                    <a:pt x="1680638" y="427898"/>
                    <a:pt x="1692947" y="427898"/>
                  </a:cubicBezTo>
                  <a:cubicBezTo>
                    <a:pt x="1705299" y="427898"/>
                    <a:pt x="1713191" y="426740"/>
                    <a:pt x="1706801" y="433603"/>
                  </a:cubicBezTo>
                  <a:cubicBezTo>
                    <a:pt x="1700368" y="440465"/>
                    <a:pt x="1710275" y="438749"/>
                    <a:pt x="1725071" y="446169"/>
                  </a:cubicBezTo>
                  <a:cubicBezTo>
                    <a:pt x="1739868" y="453589"/>
                    <a:pt x="1712720" y="463883"/>
                    <a:pt x="1697408" y="451916"/>
                  </a:cubicBezTo>
                  <a:cubicBezTo>
                    <a:pt x="1682097" y="439908"/>
                    <a:pt x="1665842" y="451316"/>
                    <a:pt x="1661381" y="460494"/>
                  </a:cubicBezTo>
                  <a:cubicBezTo>
                    <a:pt x="1656921" y="469630"/>
                    <a:pt x="1679137" y="495878"/>
                    <a:pt x="1705814" y="500467"/>
                  </a:cubicBezTo>
                  <a:cubicBezTo>
                    <a:pt x="1732449" y="505056"/>
                    <a:pt x="1723613" y="514749"/>
                    <a:pt x="1735922" y="519853"/>
                  </a:cubicBezTo>
                  <a:cubicBezTo>
                    <a:pt x="1748275" y="525000"/>
                    <a:pt x="1739397" y="530747"/>
                    <a:pt x="1730990" y="531305"/>
                  </a:cubicBezTo>
                  <a:cubicBezTo>
                    <a:pt x="1722584" y="531862"/>
                    <a:pt x="1705814" y="516465"/>
                    <a:pt x="1692476" y="508445"/>
                  </a:cubicBezTo>
                  <a:cubicBezTo>
                    <a:pt x="1679137" y="500467"/>
                    <a:pt x="1643110" y="511876"/>
                    <a:pt x="1635733" y="502740"/>
                  </a:cubicBezTo>
                  <a:cubicBezTo>
                    <a:pt x="1628313" y="493605"/>
                    <a:pt x="1640666" y="484469"/>
                    <a:pt x="1633717" y="477650"/>
                  </a:cubicBezTo>
                  <a:cubicBezTo>
                    <a:pt x="1626812" y="470788"/>
                    <a:pt x="1632774" y="455391"/>
                    <a:pt x="1641652" y="439393"/>
                  </a:cubicBezTo>
                  <a:cubicBezTo>
                    <a:pt x="1650530" y="423395"/>
                    <a:pt x="1640194" y="395989"/>
                    <a:pt x="1627327" y="391443"/>
                  </a:cubicBezTo>
                  <a:cubicBezTo>
                    <a:pt x="1614503" y="386896"/>
                    <a:pt x="1615490" y="402294"/>
                    <a:pt x="1618449" y="406883"/>
                  </a:cubicBezTo>
                  <a:cubicBezTo>
                    <a:pt x="1621408" y="411472"/>
                    <a:pt x="1619907" y="433174"/>
                    <a:pt x="1610042" y="447413"/>
                  </a:cubicBezTo>
                  <a:cubicBezTo>
                    <a:pt x="1600178" y="461695"/>
                    <a:pt x="1570027" y="461695"/>
                    <a:pt x="1570027" y="471388"/>
                  </a:cubicBezTo>
                  <a:cubicBezTo>
                    <a:pt x="1570027" y="481081"/>
                    <a:pt x="1549783" y="488501"/>
                    <a:pt x="1556688" y="495363"/>
                  </a:cubicBezTo>
                  <a:cubicBezTo>
                    <a:pt x="1563636" y="502226"/>
                    <a:pt x="1590785" y="537609"/>
                    <a:pt x="1594731" y="548460"/>
                  </a:cubicBezTo>
                  <a:cubicBezTo>
                    <a:pt x="1598677" y="559311"/>
                    <a:pt x="1570542" y="593580"/>
                    <a:pt x="1574959" y="613566"/>
                  </a:cubicBezTo>
                  <a:cubicBezTo>
                    <a:pt x="1579419" y="633553"/>
                    <a:pt x="1571013" y="642688"/>
                    <a:pt x="1576460" y="652424"/>
                  </a:cubicBezTo>
                  <a:cubicBezTo>
                    <a:pt x="1581907" y="662160"/>
                    <a:pt x="1594217" y="653539"/>
                    <a:pt x="1602151" y="657571"/>
                  </a:cubicBezTo>
                  <a:cubicBezTo>
                    <a:pt x="1610042" y="661559"/>
                    <a:pt x="1622866" y="651866"/>
                    <a:pt x="1641137" y="647835"/>
                  </a:cubicBezTo>
                  <a:cubicBezTo>
                    <a:pt x="1659408" y="643846"/>
                    <a:pt x="1692990" y="666106"/>
                    <a:pt x="1705342" y="672968"/>
                  </a:cubicBezTo>
                  <a:cubicBezTo>
                    <a:pt x="1717695" y="679830"/>
                    <a:pt x="1711261" y="691239"/>
                    <a:pt x="1717695" y="702647"/>
                  </a:cubicBezTo>
                  <a:cubicBezTo>
                    <a:pt x="1724128" y="714099"/>
                    <a:pt x="1702898" y="714099"/>
                    <a:pt x="1702383" y="731212"/>
                  </a:cubicBezTo>
                  <a:cubicBezTo>
                    <a:pt x="1701912" y="748324"/>
                    <a:pt x="1739440" y="755744"/>
                    <a:pt x="1740898" y="760891"/>
                  </a:cubicBezTo>
                  <a:cubicBezTo>
                    <a:pt x="1742399" y="765995"/>
                    <a:pt x="1714221" y="762049"/>
                    <a:pt x="1703370" y="757460"/>
                  </a:cubicBezTo>
                  <a:cubicBezTo>
                    <a:pt x="1692519" y="752914"/>
                    <a:pt x="1691532" y="736316"/>
                    <a:pt x="1688101" y="732927"/>
                  </a:cubicBezTo>
                  <a:cubicBezTo>
                    <a:pt x="1684627" y="729496"/>
                    <a:pt x="1695478" y="715772"/>
                    <a:pt x="1696465" y="704921"/>
                  </a:cubicBezTo>
                  <a:cubicBezTo>
                    <a:pt x="1697494" y="694070"/>
                    <a:pt x="1684155" y="687765"/>
                    <a:pt x="1679695" y="680345"/>
                  </a:cubicBezTo>
                  <a:cubicBezTo>
                    <a:pt x="1675234" y="672925"/>
                    <a:pt x="1667343" y="662074"/>
                    <a:pt x="1658465" y="664347"/>
                  </a:cubicBezTo>
                  <a:cubicBezTo>
                    <a:pt x="1649586" y="666620"/>
                    <a:pt x="1616991" y="670051"/>
                    <a:pt x="1607126" y="680345"/>
                  </a:cubicBezTo>
                  <a:cubicBezTo>
                    <a:pt x="1597219" y="690638"/>
                    <a:pt x="1608584" y="719760"/>
                    <a:pt x="1614031" y="733999"/>
                  </a:cubicBezTo>
                  <a:cubicBezTo>
                    <a:pt x="1619478" y="748282"/>
                    <a:pt x="1585381" y="768268"/>
                    <a:pt x="1586367" y="779677"/>
                  </a:cubicBezTo>
                  <a:cubicBezTo>
                    <a:pt x="1587354" y="791128"/>
                    <a:pt x="1575989" y="796232"/>
                    <a:pt x="1561191" y="805367"/>
                  </a:cubicBezTo>
                  <a:cubicBezTo>
                    <a:pt x="1546395" y="814503"/>
                    <a:pt x="1530097" y="821322"/>
                    <a:pt x="1530568" y="836205"/>
                  </a:cubicBezTo>
                  <a:cubicBezTo>
                    <a:pt x="1531083" y="851044"/>
                    <a:pt x="1510839" y="843067"/>
                    <a:pt x="1500460" y="836205"/>
                  </a:cubicBezTo>
                  <a:cubicBezTo>
                    <a:pt x="1490081" y="829342"/>
                    <a:pt x="1476743" y="840193"/>
                    <a:pt x="1461946" y="839636"/>
                  </a:cubicBezTo>
                  <a:cubicBezTo>
                    <a:pt x="1447149" y="839078"/>
                    <a:pt x="1447149" y="824796"/>
                    <a:pt x="1435269" y="829900"/>
                  </a:cubicBezTo>
                  <a:cubicBezTo>
                    <a:pt x="1423431" y="835047"/>
                    <a:pt x="1415540" y="823638"/>
                    <a:pt x="1418970" y="813345"/>
                  </a:cubicBezTo>
                  <a:cubicBezTo>
                    <a:pt x="1422445" y="803094"/>
                    <a:pt x="1435740" y="811072"/>
                    <a:pt x="1436770" y="818491"/>
                  </a:cubicBezTo>
                  <a:cubicBezTo>
                    <a:pt x="1437756" y="825911"/>
                    <a:pt x="1446120" y="822480"/>
                    <a:pt x="1456027" y="816218"/>
                  </a:cubicBezTo>
                  <a:cubicBezTo>
                    <a:pt x="1465892" y="809956"/>
                    <a:pt x="1460959" y="824239"/>
                    <a:pt x="1475284" y="825354"/>
                  </a:cubicBezTo>
                  <a:cubicBezTo>
                    <a:pt x="1489609" y="826512"/>
                    <a:pt x="1481675" y="816776"/>
                    <a:pt x="1492569" y="817934"/>
                  </a:cubicBezTo>
                  <a:cubicBezTo>
                    <a:pt x="1503420" y="819092"/>
                    <a:pt x="1503891" y="815103"/>
                    <a:pt x="1500460" y="808798"/>
                  </a:cubicBezTo>
                  <a:cubicBezTo>
                    <a:pt x="1496986" y="802537"/>
                    <a:pt x="1508352" y="797990"/>
                    <a:pt x="1515257" y="794559"/>
                  </a:cubicBezTo>
                  <a:cubicBezTo>
                    <a:pt x="1523020" y="790699"/>
                    <a:pt x="1519203" y="778004"/>
                    <a:pt x="1525636" y="774015"/>
                  </a:cubicBezTo>
                  <a:cubicBezTo>
                    <a:pt x="1532027" y="770026"/>
                    <a:pt x="1527609" y="762006"/>
                    <a:pt x="1534514" y="761449"/>
                  </a:cubicBezTo>
                  <a:cubicBezTo>
                    <a:pt x="1541463" y="760891"/>
                    <a:pt x="1544422" y="748882"/>
                    <a:pt x="1550813" y="748882"/>
                  </a:cubicBezTo>
                  <a:cubicBezTo>
                    <a:pt x="1557203" y="748882"/>
                    <a:pt x="1560677" y="736916"/>
                    <a:pt x="1556731" y="730611"/>
                  </a:cubicBezTo>
                  <a:cubicBezTo>
                    <a:pt x="1552785" y="724349"/>
                    <a:pt x="1559219" y="707237"/>
                    <a:pt x="1565609" y="704921"/>
                  </a:cubicBezTo>
                  <a:cubicBezTo>
                    <a:pt x="1572000" y="702647"/>
                    <a:pt x="1572514" y="695785"/>
                    <a:pt x="1566639" y="690638"/>
                  </a:cubicBezTo>
                  <a:cubicBezTo>
                    <a:pt x="1560720" y="685492"/>
                    <a:pt x="1538975" y="668336"/>
                    <a:pt x="1540476" y="657528"/>
                  </a:cubicBezTo>
                  <a:cubicBezTo>
                    <a:pt x="1541934" y="646677"/>
                    <a:pt x="1536487" y="626690"/>
                    <a:pt x="1539447" y="618155"/>
                  </a:cubicBezTo>
                  <a:cubicBezTo>
                    <a:pt x="1542406" y="609578"/>
                    <a:pt x="1539962" y="591864"/>
                    <a:pt x="1538975" y="581571"/>
                  </a:cubicBezTo>
                  <a:cubicBezTo>
                    <a:pt x="1537988" y="571277"/>
                    <a:pt x="1544422" y="559869"/>
                    <a:pt x="1547381" y="541040"/>
                  </a:cubicBezTo>
                  <a:cubicBezTo>
                    <a:pt x="1550340" y="522212"/>
                    <a:pt x="1530097" y="502226"/>
                    <a:pt x="1520233" y="497079"/>
                  </a:cubicBezTo>
                  <a:cubicBezTo>
                    <a:pt x="1510368" y="491932"/>
                    <a:pt x="1516758" y="481639"/>
                    <a:pt x="1531083" y="467957"/>
                  </a:cubicBezTo>
                  <a:cubicBezTo>
                    <a:pt x="1545409" y="454275"/>
                    <a:pt x="1546395" y="411429"/>
                    <a:pt x="1545409" y="402294"/>
                  </a:cubicBezTo>
                  <a:cubicBezTo>
                    <a:pt x="1544422" y="393158"/>
                    <a:pt x="1515300" y="385181"/>
                    <a:pt x="1503934" y="386296"/>
                  </a:cubicBezTo>
                  <a:cubicBezTo>
                    <a:pt x="1497115" y="386982"/>
                    <a:pt x="1479445" y="386467"/>
                    <a:pt x="1464090" y="385395"/>
                  </a:cubicBezTo>
                  <a:cubicBezTo>
                    <a:pt x="1462203" y="385996"/>
                    <a:pt x="1460316" y="386296"/>
                    <a:pt x="1458343" y="386425"/>
                  </a:cubicBezTo>
                  <a:cubicBezTo>
                    <a:pt x="1460273" y="394488"/>
                    <a:pt x="1459415" y="403537"/>
                    <a:pt x="1454483" y="412801"/>
                  </a:cubicBezTo>
                  <a:cubicBezTo>
                    <a:pt x="1434840" y="449600"/>
                    <a:pt x="1425918" y="491375"/>
                    <a:pt x="1381700" y="505099"/>
                  </a:cubicBezTo>
                  <a:cubicBezTo>
                    <a:pt x="1380370" y="505485"/>
                    <a:pt x="1379084" y="505785"/>
                    <a:pt x="1377754" y="506043"/>
                  </a:cubicBezTo>
                  <a:cubicBezTo>
                    <a:pt x="1371449" y="516465"/>
                    <a:pt x="1365402" y="527016"/>
                    <a:pt x="1359183" y="537438"/>
                  </a:cubicBezTo>
                  <a:cubicBezTo>
                    <a:pt x="1359355" y="537524"/>
                    <a:pt x="1359569" y="537524"/>
                    <a:pt x="1359741" y="537652"/>
                  </a:cubicBezTo>
                  <a:cubicBezTo>
                    <a:pt x="1365188" y="541083"/>
                    <a:pt x="1359269" y="565059"/>
                    <a:pt x="1355795" y="568490"/>
                  </a:cubicBezTo>
                  <a:cubicBezTo>
                    <a:pt x="1352364" y="571921"/>
                    <a:pt x="1362228" y="580499"/>
                    <a:pt x="1353822" y="586761"/>
                  </a:cubicBezTo>
                  <a:cubicBezTo>
                    <a:pt x="1345416" y="593065"/>
                    <a:pt x="1337524" y="606189"/>
                    <a:pt x="1342456" y="613052"/>
                  </a:cubicBezTo>
                  <a:cubicBezTo>
                    <a:pt x="1347388" y="619914"/>
                    <a:pt x="1371578" y="623345"/>
                    <a:pt x="1381957" y="630164"/>
                  </a:cubicBezTo>
                  <a:cubicBezTo>
                    <a:pt x="1392336" y="637027"/>
                    <a:pt x="1388348" y="649550"/>
                    <a:pt x="1396282" y="661559"/>
                  </a:cubicBezTo>
                  <a:cubicBezTo>
                    <a:pt x="1404174" y="673526"/>
                    <a:pt x="1412580" y="666149"/>
                    <a:pt x="1416526" y="673526"/>
                  </a:cubicBezTo>
                  <a:cubicBezTo>
                    <a:pt x="1420472" y="680945"/>
                    <a:pt x="1402201" y="710668"/>
                    <a:pt x="1395768" y="711740"/>
                  </a:cubicBezTo>
                  <a:cubicBezTo>
                    <a:pt x="1389377" y="712898"/>
                    <a:pt x="1363172" y="681503"/>
                    <a:pt x="1355280" y="674641"/>
                  </a:cubicBezTo>
                  <a:cubicBezTo>
                    <a:pt x="1347388" y="667778"/>
                    <a:pt x="1316765" y="656927"/>
                    <a:pt x="1301497" y="647792"/>
                  </a:cubicBezTo>
                  <a:cubicBezTo>
                    <a:pt x="1286443" y="638828"/>
                    <a:pt x="1274219" y="639686"/>
                    <a:pt x="1257878" y="627248"/>
                  </a:cubicBezTo>
                  <a:cubicBezTo>
                    <a:pt x="1251874" y="628663"/>
                    <a:pt x="1245741" y="629693"/>
                    <a:pt x="1239436" y="630079"/>
                  </a:cubicBezTo>
                  <a:cubicBezTo>
                    <a:pt x="1221465" y="631280"/>
                    <a:pt x="1204009" y="628106"/>
                    <a:pt x="1187626" y="620171"/>
                  </a:cubicBezTo>
                  <a:cubicBezTo>
                    <a:pt x="1180935" y="616912"/>
                    <a:pt x="1173944" y="611207"/>
                    <a:pt x="1166825" y="605803"/>
                  </a:cubicBezTo>
                  <a:cubicBezTo>
                    <a:pt x="1151942" y="603573"/>
                    <a:pt x="1141305" y="600399"/>
                    <a:pt x="1134572" y="601514"/>
                  </a:cubicBezTo>
                  <a:cubicBezTo>
                    <a:pt x="1124192" y="603230"/>
                    <a:pt x="1128181" y="589548"/>
                    <a:pt x="1109910" y="580413"/>
                  </a:cubicBezTo>
                  <a:cubicBezTo>
                    <a:pt x="1091639" y="571234"/>
                    <a:pt x="1079759" y="558711"/>
                    <a:pt x="1069423" y="565016"/>
                  </a:cubicBezTo>
                  <a:cubicBezTo>
                    <a:pt x="1059044" y="571277"/>
                    <a:pt x="1063032" y="594138"/>
                    <a:pt x="1078816" y="596968"/>
                  </a:cubicBezTo>
                  <a:cubicBezTo>
                    <a:pt x="1094599" y="599842"/>
                    <a:pt x="1086707" y="609535"/>
                    <a:pt x="1103477" y="608377"/>
                  </a:cubicBezTo>
                  <a:cubicBezTo>
                    <a:pt x="1120247" y="607262"/>
                    <a:pt x="1125179" y="614081"/>
                    <a:pt x="1124707" y="626047"/>
                  </a:cubicBezTo>
                  <a:cubicBezTo>
                    <a:pt x="1124192" y="638013"/>
                    <a:pt x="1132599" y="650022"/>
                    <a:pt x="1140019" y="658043"/>
                  </a:cubicBezTo>
                  <a:cubicBezTo>
                    <a:pt x="1147396" y="666063"/>
                    <a:pt x="1142978" y="679144"/>
                    <a:pt x="1129639" y="679144"/>
                  </a:cubicBezTo>
                  <a:cubicBezTo>
                    <a:pt x="1116301" y="679144"/>
                    <a:pt x="1101032" y="681417"/>
                    <a:pt x="1106951" y="692268"/>
                  </a:cubicBezTo>
                  <a:cubicBezTo>
                    <a:pt x="1112869" y="703119"/>
                    <a:pt x="1102962" y="705993"/>
                    <a:pt x="1089667" y="700289"/>
                  </a:cubicBezTo>
                  <a:cubicBezTo>
                    <a:pt x="1076328" y="694541"/>
                    <a:pt x="1084220" y="683733"/>
                    <a:pt x="1089667" y="677428"/>
                  </a:cubicBezTo>
                  <a:cubicBezTo>
                    <a:pt x="1095114" y="671167"/>
                    <a:pt x="1077829" y="663146"/>
                    <a:pt x="1069423" y="659758"/>
                  </a:cubicBezTo>
                  <a:cubicBezTo>
                    <a:pt x="1061016" y="656327"/>
                    <a:pt x="1027477" y="684891"/>
                    <a:pt x="1018084" y="689438"/>
                  </a:cubicBezTo>
                  <a:cubicBezTo>
                    <a:pt x="1008692" y="694027"/>
                    <a:pt x="985488" y="682575"/>
                    <a:pt x="961770" y="689438"/>
                  </a:cubicBezTo>
                  <a:cubicBezTo>
                    <a:pt x="938053" y="696300"/>
                    <a:pt x="939554" y="718002"/>
                    <a:pt x="930633" y="715729"/>
                  </a:cubicBezTo>
                  <a:cubicBezTo>
                    <a:pt x="921755" y="713455"/>
                    <a:pt x="895593" y="718602"/>
                    <a:pt x="885685" y="711697"/>
                  </a:cubicBezTo>
                  <a:cubicBezTo>
                    <a:pt x="875821" y="704878"/>
                    <a:pt x="883755" y="700889"/>
                    <a:pt x="894091" y="701446"/>
                  </a:cubicBezTo>
                  <a:cubicBezTo>
                    <a:pt x="904470" y="702047"/>
                    <a:pt x="907902" y="698015"/>
                    <a:pt x="901983" y="690038"/>
                  </a:cubicBezTo>
                  <a:cubicBezTo>
                    <a:pt x="896021" y="682018"/>
                    <a:pt x="909875" y="669494"/>
                    <a:pt x="909403" y="663747"/>
                  </a:cubicBezTo>
                  <a:cubicBezTo>
                    <a:pt x="908931" y="658043"/>
                    <a:pt x="870374" y="672925"/>
                    <a:pt x="863983" y="679187"/>
                  </a:cubicBezTo>
                  <a:cubicBezTo>
                    <a:pt x="857550" y="685492"/>
                    <a:pt x="864455" y="696900"/>
                    <a:pt x="857550" y="700889"/>
                  </a:cubicBezTo>
                  <a:cubicBezTo>
                    <a:pt x="850645" y="704878"/>
                    <a:pt x="850645" y="694027"/>
                    <a:pt x="842710" y="690596"/>
                  </a:cubicBezTo>
                  <a:cubicBezTo>
                    <a:pt x="834818" y="687164"/>
                    <a:pt x="777046" y="702604"/>
                    <a:pt x="766195" y="716844"/>
                  </a:cubicBezTo>
                  <a:cubicBezTo>
                    <a:pt x="755301" y="731126"/>
                    <a:pt x="734071" y="731683"/>
                    <a:pt x="734071" y="739704"/>
                  </a:cubicBezTo>
                  <a:cubicBezTo>
                    <a:pt x="734071" y="747724"/>
                    <a:pt x="707909" y="747124"/>
                    <a:pt x="697530" y="752828"/>
                  </a:cubicBezTo>
                  <a:cubicBezTo>
                    <a:pt x="687150" y="758532"/>
                    <a:pt x="694099" y="781950"/>
                    <a:pt x="690110" y="793358"/>
                  </a:cubicBezTo>
                  <a:cubicBezTo>
                    <a:pt x="686164" y="804810"/>
                    <a:pt x="645677" y="801336"/>
                    <a:pt x="633324" y="801936"/>
                  </a:cubicBezTo>
                  <a:cubicBezTo>
                    <a:pt x="620972" y="802537"/>
                    <a:pt x="616555" y="774530"/>
                    <a:pt x="606647" y="772814"/>
                  </a:cubicBezTo>
                  <a:cubicBezTo>
                    <a:pt x="596783" y="771099"/>
                    <a:pt x="602701" y="755144"/>
                    <a:pt x="605660" y="748282"/>
                  </a:cubicBezTo>
                  <a:cubicBezTo>
                    <a:pt x="608620" y="741419"/>
                    <a:pt x="616512" y="747124"/>
                    <a:pt x="628864" y="737988"/>
                  </a:cubicBezTo>
                  <a:cubicBezTo>
                    <a:pt x="641216" y="728810"/>
                    <a:pt x="653568" y="742534"/>
                    <a:pt x="658500" y="736230"/>
                  </a:cubicBezTo>
                  <a:cubicBezTo>
                    <a:pt x="663433" y="729968"/>
                    <a:pt x="639715" y="713370"/>
                    <a:pt x="638257" y="699088"/>
                  </a:cubicBezTo>
                  <a:cubicBezTo>
                    <a:pt x="636755" y="684848"/>
                    <a:pt x="610593" y="680817"/>
                    <a:pt x="595753" y="685406"/>
                  </a:cubicBezTo>
                  <a:cubicBezTo>
                    <a:pt x="589105" y="687465"/>
                    <a:pt x="582200" y="687722"/>
                    <a:pt x="575638" y="686950"/>
                  </a:cubicBezTo>
                  <a:cubicBezTo>
                    <a:pt x="574437" y="692440"/>
                    <a:pt x="572207" y="697629"/>
                    <a:pt x="568905" y="702004"/>
                  </a:cubicBezTo>
                  <a:cubicBezTo>
                    <a:pt x="571435" y="708051"/>
                    <a:pt x="568390" y="716157"/>
                    <a:pt x="570063" y="721948"/>
                  </a:cubicBezTo>
                  <a:cubicBezTo>
                    <a:pt x="572550" y="730483"/>
                    <a:pt x="566117" y="749954"/>
                    <a:pt x="557196" y="764794"/>
                  </a:cubicBezTo>
                  <a:cubicBezTo>
                    <a:pt x="548317" y="779634"/>
                    <a:pt x="554751" y="779076"/>
                    <a:pt x="568090" y="778476"/>
                  </a:cubicBezTo>
                  <a:cubicBezTo>
                    <a:pt x="581385" y="777918"/>
                    <a:pt x="580442" y="797947"/>
                    <a:pt x="580442" y="812744"/>
                  </a:cubicBezTo>
                  <a:cubicBezTo>
                    <a:pt x="580442" y="827627"/>
                    <a:pt x="570063" y="831616"/>
                    <a:pt x="570063" y="842467"/>
                  </a:cubicBezTo>
                  <a:cubicBezTo>
                    <a:pt x="570063" y="853318"/>
                    <a:pt x="559212" y="837320"/>
                    <a:pt x="555738" y="841909"/>
                  </a:cubicBezTo>
                  <a:cubicBezTo>
                    <a:pt x="552306" y="846455"/>
                    <a:pt x="547846" y="839636"/>
                    <a:pt x="545873" y="830500"/>
                  </a:cubicBezTo>
                  <a:cubicBezTo>
                    <a:pt x="543900" y="821365"/>
                    <a:pt x="523656" y="826469"/>
                    <a:pt x="512291" y="823081"/>
                  </a:cubicBezTo>
                  <a:cubicBezTo>
                    <a:pt x="500925" y="819649"/>
                    <a:pt x="496464" y="825354"/>
                    <a:pt x="491060" y="835047"/>
                  </a:cubicBezTo>
                  <a:cubicBezTo>
                    <a:pt x="485613" y="844782"/>
                    <a:pt x="469830" y="848771"/>
                    <a:pt x="461424" y="849886"/>
                  </a:cubicBezTo>
                  <a:cubicBezTo>
                    <a:pt x="452117" y="851173"/>
                    <a:pt x="438221" y="869873"/>
                    <a:pt x="429343" y="876735"/>
                  </a:cubicBezTo>
                  <a:cubicBezTo>
                    <a:pt x="420465" y="883597"/>
                    <a:pt x="418964" y="896722"/>
                    <a:pt x="431316" y="910403"/>
                  </a:cubicBezTo>
                  <a:cubicBezTo>
                    <a:pt x="443668" y="924085"/>
                    <a:pt x="446112" y="933263"/>
                    <a:pt x="445169" y="940640"/>
                  </a:cubicBezTo>
                  <a:cubicBezTo>
                    <a:pt x="444183" y="948060"/>
                    <a:pt x="410600" y="945787"/>
                    <a:pt x="405196" y="937809"/>
                  </a:cubicBezTo>
                  <a:cubicBezTo>
                    <a:pt x="399749" y="929832"/>
                    <a:pt x="378004" y="926958"/>
                    <a:pt x="370627" y="928674"/>
                  </a:cubicBezTo>
                  <a:cubicBezTo>
                    <a:pt x="363208" y="930390"/>
                    <a:pt x="343006" y="902983"/>
                    <a:pt x="332628" y="902426"/>
                  </a:cubicBezTo>
                  <a:cubicBezTo>
                    <a:pt x="322248" y="901868"/>
                    <a:pt x="315815" y="916665"/>
                    <a:pt x="312384" y="924085"/>
                  </a:cubicBezTo>
                  <a:cubicBezTo>
                    <a:pt x="308910" y="931548"/>
                    <a:pt x="317316" y="933821"/>
                    <a:pt x="322248" y="946344"/>
                  </a:cubicBezTo>
                  <a:cubicBezTo>
                    <a:pt x="327180" y="958911"/>
                    <a:pt x="345451" y="959469"/>
                    <a:pt x="354844" y="959469"/>
                  </a:cubicBezTo>
                  <a:cubicBezTo>
                    <a:pt x="364237" y="959469"/>
                    <a:pt x="360763" y="976024"/>
                    <a:pt x="357804" y="982886"/>
                  </a:cubicBezTo>
                  <a:cubicBezTo>
                    <a:pt x="354844" y="989748"/>
                    <a:pt x="337560" y="994852"/>
                    <a:pt x="332628" y="987432"/>
                  </a:cubicBezTo>
                  <a:cubicBezTo>
                    <a:pt x="327695" y="980013"/>
                    <a:pt x="306937" y="987432"/>
                    <a:pt x="306465" y="978297"/>
                  </a:cubicBezTo>
                  <a:cubicBezTo>
                    <a:pt x="305993" y="969161"/>
                    <a:pt x="291153" y="955480"/>
                    <a:pt x="275842" y="958310"/>
                  </a:cubicBezTo>
                  <a:cubicBezTo>
                    <a:pt x="260530" y="961184"/>
                    <a:pt x="257571" y="949733"/>
                    <a:pt x="258558" y="936008"/>
                  </a:cubicBezTo>
                  <a:cubicBezTo>
                    <a:pt x="259587" y="922326"/>
                    <a:pt x="250194" y="914349"/>
                    <a:pt x="250623" y="908044"/>
                  </a:cubicBezTo>
                  <a:cubicBezTo>
                    <a:pt x="251138" y="901740"/>
                    <a:pt x="243718" y="889173"/>
                    <a:pt x="251610" y="882911"/>
                  </a:cubicBezTo>
                  <a:cubicBezTo>
                    <a:pt x="259501" y="876649"/>
                    <a:pt x="253582" y="866956"/>
                    <a:pt x="254097" y="858378"/>
                  </a:cubicBezTo>
                  <a:cubicBezTo>
                    <a:pt x="254569" y="849801"/>
                    <a:pt x="240758" y="836676"/>
                    <a:pt x="228406" y="836676"/>
                  </a:cubicBezTo>
                  <a:cubicBezTo>
                    <a:pt x="216054" y="836676"/>
                    <a:pt x="218542" y="822394"/>
                    <a:pt x="208163" y="819564"/>
                  </a:cubicBezTo>
                  <a:cubicBezTo>
                    <a:pt x="197783" y="816690"/>
                    <a:pt x="177068" y="796704"/>
                    <a:pt x="175567" y="788169"/>
                  </a:cubicBezTo>
                  <a:cubicBezTo>
                    <a:pt x="174066" y="779591"/>
                    <a:pt x="158282" y="778433"/>
                    <a:pt x="163686" y="775602"/>
                  </a:cubicBezTo>
                  <a:cubicBezTo>
                    <a:pt x="169133" y="772729"/>
                    <a:pt x="181443" y="776760"/>
                    <a:pt x="190363" y="787011"/>
                  </a:cubicBezTo>
                  <a:cubicBezTo>
                    <a:pt x="199242" y="797261"/>
                    <a:pt x="213567" y="806440"/>
                    <a:pt x="236770" y="809871"/>
                  </a:cubicBezTo>
                  <a:cubicBezTo>
                    <a:pt x="260016" y="813302"/>
                    <a:pt x="269366" y="825825"/>
                    <a:pt x="295014" y="830972"/>
                  </a:cubicBezTo>
                  <a:cubicBezTo>
                    <a:pt x="320704" y="836119"/>
                    <a:pt x="336015" y="839550"/>
                    <a:pt x="373029" y="845855"/>
                  </a:cubicBezTo>
                  <a:cubicBezTo>
                    <a:pt x="410042" y="852159"/>
                    <a:pt x="459451" y="808713"/>
                    <a:pt x="469830" y="796747"/>
                  </a:cubicBezTo>
                  <a:cubicBezTo>
                    <a:pt x="478708" y="786496"/>
                    <a:pt x="470216" y="767067"/>
                    <a:pt x="467600" y="755916"/>
                  </a:cubicBezTo>
                  <a:cubicBezTo>
                    <a:pt x="451945" y="754157"/>
                    <a:pt x="437878" y="743392"/>
                    <a:pt x="426083" y="729753"/>
                  </a:cubicBezTo>
                  <a:cubicBezTo>
                    <a:pt x="425054" y="728595"/>
                    <a:pt x="424153" y="727695"/>
                    <a:pt x="423424" y="727008"/>
                  </a:cubicBezTo>
                  <a:cubicBezTo>
                    <a:pt x="420979" y="726794"/>
                    <a:pt x="418063" y="726408"/>
                    <a:pt x="417205" y="726365"/>
                  </a:cubicBezTo>
                  <a:cubicBezTo>
                    <a:pt x="400822" y="725207"/>
                    <a:pt x="385810" y="718945"/>
                    <a:pt x="375431" y="705392"/>
                  </a:cubicBezTo>
                  <a:cubicBezTo>
                    <a:pt x="370799" y="699345"/>
                    <a:pt x="367497" y="692568"/>
                    <a:pt x="365996" y="685577"/>
                  </a:cubicBezTo>
                  <a:cubicBezTo>
                    <a:pt x="360591" y="681589"/>
                    <a:pt x="354029" y="676485"/>
                    <a:pt x="345580" y="669966"/>
                  </a:cubicBezTo>
                  <a:cubicBezTo>
                    <a:pt x="338975" y="668979"/>
                    <a:pt x="332370" y="666020"/>
                    <a:pt x="326237" y="660358"/>
                  </a:cubicBezTo>
                  <a:cubicBezTo>
                    <a:pt x="332456" y="666106"/>
                    <a:pt x="311011" y="661216"/>
                    <a:pt x="307237" y="660358"/>
                  </a:cubicBezTo>
                  <a:cubicBezTo>
                    <a:pt x="299388" y="658600"/>
                    <a:pt x="292011" y="655555"/>
                    <a:pt x="284806" y="651952"/>
                  </a:cubicBezTo>
                  <a:cubicBezTo>
                    <a:pt x="274813" y="646934"/>
                    <a:pt x="264905" y="641616"/>
                    <a:pt x="254998" y="636298"/>
                  </a:cubicBezTo>
                  <a:cubicBezTo>
                    <a:pt x="253496" y="636126"/>
                    <a:pt x="252038" y="635397"/>
                    <a:pt x="250623" y="633982"/>
                  </a:cubicBezTo>
                  <a:cubicBezTo>
                    <a:pt x="248393" y="632781"/>
                    <a:pt x="246163" y="631580"/>
                    <a:pt x="243932" y="630379"/>
                  </a:cubicBezTo>
                  <a:cubicBezTo>
                    <a:pt x="240630" y="628620"/>
                    <a:pt x="237456" y="626776"/>
                    <a:pt x="234325" y="624846"/>
                  </a:cubicBezTo>
                  <a:cubicBezTo>
                    <a:pt x="230722" y="625532"/>
                    <a:pt x="227034" y="627291"/>
                    <a:pt x="223903" y="629993"/>
                  </a:cubicBezTo>
                  <a:cubicBezTo>
                    <a:pt x="215968" y="636855"/>
                    <a:pt x="208077" y="623731"/>
                    <a:pt x="193280" y="627677"/>
                  </a:cubicBezTo>
                  <a:cubicBezTo>
                    <a:pt x="178483" y="631666"/>
                    <a:pt x="170592" y="620257"/>
                    <a:pt x="174495" y="615110"/>
                  </a:cubicBezTo>
                  <a:cubicBezTo>
                    <a:pt x="178440" y="609964"/>
                    <a:pt x="200185" y="614553"/>
                    <a:pt x="199199" y="605975"/>
                  </a:cubicBezTo>
                  <a:cubicBezTo>
                    <a:pt x="198212" y="597397"/>
                    <a:pt x="190321" y="605975"/>
                    <a:pt x="176982" y="595681"/>
                  </a:cubicBezTo>
                  <a:cubicBezTo>
                    <a:pt x="163644" y="585388"/>
                    <a:pt x="156267" y="592250"/>
                    <a:pt x="153264" y="600828"/>
                  </a:cubicBezTo>
                  <a:cubicBezTo>
                    <a:pt x="150305" y="609406"/>
                    <a:pt x="139969" y="607090"/>
                    <a:pt x="133021" y="599670"/>
                  </a:cubicBezTo>
                  <a:cubicBezTo>
                    <a:pt x="132420" y="598941"/>
                    <a:pt x="131562" y="598384"/>
                    <a:pt x="130747" y="597826"/>
                  </a:cubicBezTo>
                  <a:cubicBezTo>
                    <a:pt x="128475" y="612108"/>
                    <a:pt x="121183" y="613566"/>
                    <a:pt x="113763" y="611679"/>
                  </a:cubicBezTo>
                  <a:cubicBezTo>
                    <a:pt x="104842" y="609406"/>
                    <a:pt x="95964" y="626519"/>
                    <a:pt x="86143" y="626519"/>
                  </a:cubicBezTo>
                  <a:cubicBezTo>
                    <a:pt x="76278" y="626519"/>
                    <a:pt x="65427" y="639085"/>
                    <a:pt x="63411" y="649336"/>
                  </a:cubicBezTo>
                  <a:cubicBezTo>
                    <a:pt x="61439" y="659629"/>
                    <a:pt x="50630" y="653925"/>
                    <a:pt x="50630" y="660745"/>
                  </a:cubicBezTo>
                  <a:cubicBezTo>
                    <a:pt x="50630" y="667607"/>
                    <a:pt x="50630" y="674469"/>
                    <a:pt x="45655" y="681288"/>
                  </a:cubicBezTo>
                  <a:cubicBezTo>
                    <a:pt x="40723" y="688151"/>
                    <a:pt x="45655" y="691582"/>
                    <a:pt x="50630" y="702990"/>
                  </a:cubicBezTo>
                  <a:cubicBezTo>
                    <a:pt x="55563" y="714442"/>
                    <a:pt x="66413" y="713284"/>
                    <a:pt x="71346" y="716715"/>
                  </a:cubicBezTo>
                  <a:cubicBezTo>
                    <a:pt x="76278" y="720146"/>
                    <a:pt x="95064" y="738417"/>
                    <a:pt x="95064" y="745279"/>
                  </a:cubicBezTo>
                  <a:cubicBezTo>
                    <a:pt x="95064" y="752142"/>
                    <a:pt x="80266" y="769254"/>
                    <a:pt x="74348" y="773844"/>
                  </a:cubicBezTo>
                  <a:cubicBezTo>
                    <a:pt x="68429" y="778390"/>
                    <a:pt x="60495" y="789798"/>
                    <a:pt x="64441" y="796661"/>
                  </a:cubicBezTo>
                  <a:cubicBezTo>
                    <a:pt x="68387" y="803523"/>
                    <a:pt x="85199" y="832087"/>
                    <a:pt x="96050" y="854904"/>
                  </a:cubicBezTo>
                  <a:cubicBezTo>
                    <a:pt x="106944" y="877764"/>
                    <a:pt x="92147" y="867471"/>
                    <a:pt x="85199" y="877722"/>
                  </a:cubicBezTo>
                  <a:cubicBezTo>
                    <a:pt x="78294" y="888015"/>
                    <a:pt x="88158" y="900582"/>
                    <a:pt x="90131" y="907444"/>
                  </a:cubicBezTo>
                  <a:cubicBezTo>
                    <a:pt x="92147" y="914306"/>
                    <a:pt x="81253" y="913148"/>
                    <a:pt x="82240" y="918852"/>
                  </a:cubicBezTo>
                  <a:cubicBezTo>
                    <a:pt x="83226" y="924600"/>
                    <a:pt x="98023" y="926873"/>
                    <a:pt x="99010" y="931419"/>
                  </a:cubicBezTo>
                  <a:cubicBezTo>
                    <a:pt x="99996" y="935965"/>
                    <a:pt x="89145" y="941712"/>
                    <a:pt x="94077" y="950848"/>
                  </a:cubicBezTo>
                  <a:cubicBezTo>
                    <a:pt x="99052" y="959983"/>
                    <a:pt x="110847" y="959983"/>
                    <a:pt x="111833" y="971392"/>
                  </a:cubicBezTo>
                  <a:cubicBezTo>
                    <a:pt x="112863" y="982800"/>
                    <a:pt x="90088" y="983958"/>
                    <a:pt x="91118" y="993137"/>
                  </a:cubicBezTo>
                  <a:cubicBezTo>
                    <a:pt x="92104" y="1002272"/>
                    <a:pt x="120754" y="1013681"/>
                    <a:pt x="133578" y="1030794"/>
                  </a:cubicBezTo>
                  <a:cubicBezTo>
                    <a:pt x="146402" y="1047906"/>
                    <a:pt x="145416" y="1052496"/>
                    <a:pt x="142456" y="1061631"/>
                  </a:cubicBezTo>
                  <a:cubicBezTo>
                    <a:pt x="136495" y="1080030"/>
                    <a:pt x="100982" y="1095899"/>
                    <a:pt x="93048" y="1116443"/>
                  </a:cubicBezTo>
                  <a:cubicBezTo>
                    <a:pt x="85156" y="1136987"/>
                    <a:pt x="55563" y="1148396"/>
                    <a:pt x="41709" y="1164437"/>
                  </a:cubicBezTo>
                  <a:cubicBezTo>
                    <a:pt x="36048" y="1170956"/>
                    <a:pt x="30472" y="1179748"/>
                    <a:pt x="25754" y="1187897"/>
                  </a:cubicBezTo>
                  <a:cubicBezTo>
                    <a:pt x="31630" y="1186181"/>
                    <a:pt x="36305" y="1184123"/>
                    <a:pt x="39693" y="1182150"/>
                  </a:cubicBezTo>
                  <a:cubicBezTo>
                    <a:pt x="47585" y="1177561"/>
                    <a:pt x="53032" y="1199863"/>
                    <a:pt x="60924" y="1207283"/>
                  </a:cubicBezTo>
                  <a:cubicBezTo>
                    <a:pt x="68815" y="1214703"/>
                    <a:pt x="84641" y="1207841"/>
                    <a:pt x="90045" y="1214703"/>
                  </a:cubicBezTo>
                  <a:cubicBezTo>
                    <a:pt x="95492" y="1221565"/>
                    <a:pt x="85585" y="1222123"/>
                    <a:pt x="74262" y="1219850"/>
                  </a:cubicBezTo>
                  <a:cubicBezTo>
                    <a:pt x="62897" y="1217576"/>
                    <a:pt x="59937" y="1225554"/>
                    <a:pt x="42138" y="1232416"/>
                  </a:cubicBezTo>
                  <a:cubicBezTo>
                    <a:pt x="28885" y="1237563"/>
                    <a:pt x="30172" y="1243010"/>
                    <a:pt x="25754" y="1247299"/>
                  </a:cubicBezTo>
                  <a:cubicBezTo>
                    <a:pt x="33732" y="1260723"/>
                    <a:pt x="23052" y="1262439"/>
                    <a:pt x="18935" y="1272646"/>
                  </a:cubicBezTo>
                  <a:cubicBezTo>
                    <a:pt x="14517" y="1283755"/>
                    <a:pt x="8556" y="1285513"/>
                    <a:pt x="7827" y="1292332"/>
                  </a:cubicBezTo>
                  <a:cubicBezTo>
                    <a:pt x="7055" y="1299195"/>
                    <a:pt x="9285" y="1304342"/>
                    <a:pt x="10057" y="1314592"/>
                  </a:cubicBezTo>
                  <a:cubicBezTo>
                    <a:pt x="10786" y="1324885"/>
                    <a:pt x="12287" y="1326601"/>
                    <a:pt x="17434" y="1335179"/>
                  </a:cubicBezTo>
                  <a:cubicBezTo>
                    <a:pt x="22623" y="1343757"/>
                    <a:pt x="12973" y="1343757"/>
                    <a:pt x="8556" y="1348046"/>
                  </a:cubicBezTo>
                  <a:cubicBezTo>
                    <a:pt x="4138" y="1352335"/>
                    <a:pt x="7098" y="1361727"/>
                    <a:pt x="13016" y="1368590"/>
                  </a:cubicBezTo>
                  <a:cubicBezTo>
                    <a:pt x="18935" y="1375452"/>
                    <a:pt x="18935" y="1383987"/>
                    <a:pt x="16748" y="1389991"/>
                  </a:cubicBezTo>
                  <a:cubicBezTo>
                    <a:pt x="14517" y="1395953"/>
                    <a:pt x="21937" y="1406246"/>
                    <a:pt x="27127" y="1412251"/>
                  </a:cubicBezTo>
                  <a:cubicBezTo>
                    <a:pt x="32316" y="1418256"/>
                    <a:pt x="31587" y="1434553"/>
                    <a:pt x="36005" y="1438799"/>
                  </a:cubicBezTo>
                  <a:cubicBezTo>
                    <a:pt x="40466" y="1443088"/>
                    <a:pt x="45655" y="1447377"/>
                    <a:pt x="53804" y="1444804"/>
                  </a:cubicBezTo>
                  <a:cubicBezTo>
                    <a:pt x="61953" y="1442231"/>
                    <a:pt x="67100" y="1446520"/>
                    <a:pt x="70831" y="1454240"/>
                  </a:cubicBezTo>
                  <a:cubicBezTo>
                    <a:pt x="74562" y="1461917"/>
                    <a:pt x="80481" y="1458529"/>
                    <a:pt x="88630" y="1454240"/>
                  </a:cubicBezTo>
                  <a:cubicBezTo>
                    <a:pt x="96736" y="1449951"/>
                    <a:pt x="115264" y="1461917"/>
                    <a:pt x="119725" y="1464490"/>
                  </a:cubicBezTo>
                  <a:cubicBezTo>
                    <a:pt x="124186" y="1467064"/>
                    <a:pt x="121955" y="1481603"/>
                    <a:pt x="122684" y="1491039"/>
                  </a:cubicBezTo>
                  <a:cubicBezTo>
                    <a:pt x="123413" y="1500474"/>
                    <a:pt x="118267" y="1512483"/>
                    <a:pt x="126415" y="1518488"/>
                  </a:cubicBezTo>
                  <a:cubicBezTo>
                    <a:pt x="134564" y="1524449"/>
                    <a:pt x="132334" y="1538174"/>
                    <a:pt x="141941" y="1542463"/>
                  </a:cubicBezTo>
                  <a:cubicBezTo>
                    <a:pt x="151591" y="1546752"/>
                    <a:pt x="155280" y="1562149"/>
                    <a:pt x="161199" y="1563908"/>
                  </a:cubicBezTo>
                  <a:cubicBezTo>
                    <a:pt x="167117" y="1565580"/>
                    <a:pt x="178226" y="1575917"/>
                    <a:pt x="179727" y="1583594"/>
                  </a:cubicBezTo>
                  <a:cubicBezTo>
                    <a:pt x="181228" y="1591271"/>
                    <a:pt x="169348" y="1598176"/>
                    <a:pt x="162700" y="1601564"/>
                  </a:cubicBezTo>
                  <a:cubicBezTo>
                    <a:pt x="156052" y="1604995"/>
                    <a:pt x="143443" y="1591271"/>
                    <a:pt x="139025" y="1597275"/>
                  </a:cubicBezTo>
                  <a:cubicBezTo>
                    <a:pt x="134607" y="1603280"/>
                    <a:pt x="140526" y="1614388"/>
                    <a:pt x="144172" y="1633260"/>
                  </a:cubicBezTo>
                  <a:cubicBezTo>
                    <a:pt x="147903" y="1652088"/>
                    <a:pt x="150863" y="1653804"/>
                    <a:pt x="158282" y="1653804"/>
                  </a:cubicBezTo>
                  <a:cubicBezTo>
                    <a:pt x="165702" y="1653804"/>
                    <a:pt x="168662" y="1647799"/>
                    <a:pt x="173851" y="1644368"/>
                  </a:cubicBezTo>
                  <a:cubicBezTo>
                    <a:pt x="179041" y="1640937"/>
                    <a:pt x="190878" y="1646083"/>
                    <a:pt x="196068" y="1643510"/>
                  </a:cubicBezTo>
                  <a:cubicBezTo>
                    <a:pt x="201258" y="1640937"/>
                    <a:pt x="219743" y="1640079"/>
                    <a:pt x="223474" y="1646941"/>
                  </a:cubicBezTo>
                  <a:cubicBezTo>
                    <a:pt x="227162" y="1653804"/>
                    <a:pt x="230851" y="1670059"/>
                    <a:pt x="227935" y="1676063"/>
                  </a:cubicBezTo>
                  <a:cubicBezTo>
                    <a:pt x="224975" y="1682068"/>
                    <a:pt x="231623" y="1688887"/>
                    <a:pt x="235354" y="1697465"/>
                  </a:cubicBezTo>
                  <a:cubicBezTo>
                    <a:pt x="239043" y="1706043"/>
                    <a:pt x="254612" y="1701754"/>
                    <a:pt x="259802" y="1704327"/>
                  </a:cubicBezTo>
                  <a:cubicBezTo>
                    <a:pt x="264991" y="1706900"/>
                    <a:pt x="276828" y="1725729"/>
                    <a:pt x="274598" y="1734307"/>
                  </a:cubicBezTo>
                  <a:cubicBezTo>
                    <a:pt x="272368" y="1742885"/>
                    <a:pt x="281975" y="1744600"/>
                    <a:pt x="287207" y="1742027"/>
                  </a:cubicBezTo>
                  <a:cubicBezTo>
                    <a:pt x="292397" y="1739454"/>
                    <a:pt x="297587" y="1746316"/>
                    <a:pt x="303506" y="1750605"/>
                  </a:cubicBezTo>
                  <a:cubicBezTo>
                    <a:pt x="309424" y="1754894"/>
                    <a:pt x="314614" y="1753178"/>
                    <a:pt x="320532" y="1748889"/>
                  </a:cubicBezTo>
                  <a:cubicBezTo>
                    <a:pt x="326451" y="1744600"/>
                    <a:pt x="336058" y="1741212"/>
                    <a:pt x="339061" y="1747174"/>
                  </a:cubicBezTo>
                  <a:cubicBezTo>
                    <a:pt x="342020" y="1753178"/>
                    <a:pt x="353858" y="1764329"/>
                    <a:pt x="353858" y="1767717"/>
                  </a:cubicBezTo>
                  <a:cubicBezTo>
                    <a:pt x="353858" y="1771149"/>
                    <a:pt x="372386" y="1767717"/>
                    <a:pt x="381264" y="1772864"/>
                  </a:cubicBezTo>
                  <a:cubicBezTo>
                    <a:pt x="390142" y="1777968"/>
                    <a:pt x="399792" y="1775438"/>
                    <a:pt x="409442" y="1781442"/>
                  </a:cubicBezTo>
                  <a:cubicBezTo>
                    <a:pt x="419050" y="1787447"/>
                    <a:pt x="427970" y="1788304"/>
                    <a:pt x="428700" y="1795124"/>
                  </a:cubicBezTo>
                  <a:cubicBezTo>
                    <a:pt x="429428" y="1801986"/>
                    <a:pt x="419092" y="1807991"/>
                    <a:pt x="419092" y="1811379"/>
                  </a:cubicBezTo>
                  <a:cubicBezTo>
                    <a:pt x="419092" y="1814810"/>
                    <a:pt x="427241" y="1817383"/>
                    <a:pt x="427241" y="1822530"/>
                  </a:cubicBezTo>
                  <a:cubicBezTo>
                    <a:pt x="427241" y="1827677"/>
                    <a:pt x="416862" y="1827677"/>
                    <a:pt x="415404" y="1831966"/>
                  </a:cubicBezTo>
                  <a:cubicBezTo>
                    <a:pt x="413903" y="1836255"/>
                    <a:pt x="421322" y="1842259"/>
                    <a:pt x="422781" y="1846548"/>
                  </a:cubicBezTo>
                  <a:cubicBezTo>
                    <a:pt x="424282" y="1850837"/>
                    <a:pt x="416862" y="1865377"/>
                    <a:pt x="416862" y="1869665"/>
                  </a:cubicBezTo>
                  <a:cubicBezTo>
                    <a:pt x="416862" y="1873954"/>
                    <a:pt x="394645" y="1868808"/>
                    <a:pt x="389456" y="1868808"/>
                  </a:cubicBezTo>
                  <a:cubicBezTo>
                    <a:pt x="384266" y="1868808"/>
                    <a:pt x="368697" y="1888537"/>
                    <a:pt x="363551" y="1889352"/>
                  </a:cubicBezTo>
                  <a:cubicBezTo>
                    <a:pt x="359133" y="1890124"/>
                    <a:pt x="361191" y="1899559"/>
                    <a:pt x="362821" y="1907665"/>
                  </a:cubicBezTo>
                  <a:cubicBezTo>
                    <a:pt x="378776" y="1904148"/>
                    <a:pt x="395117" y="1902690"/>
                    <a:pt x="396919" y="1906765"/>
                  </a:cubicBezTo>
                  <a:cubicBezTo>
                    <a:pt x="399878" y="1913627"/>
                    <a:pt x="362350" y="1931898"/>
                    <a:pt x="355444" y="1934728"/>
                  </a:cubicBezTo>
                  <a:cubicBezTo>
                    <a:pt x="348539" y="1937559"/>
                    <a:pt x="368783" y="1949568"/>
                    <a:pt x="368268" y="1956430"/>
                  </a:cubicBezTo>
                  <a:cubicBezTo>
                    <a:pt x="367797" y="1963293"/>
                    <a:pt x="346524" y="1965008"/>
                    <a:pt x="348496" y="1978690"/>
                  </a:cubicBezTo>
                  <a:cubicBezTo>
                    <a:pt x="350469" y="1992415"/>
                    <a:pt x="341591" y="1995288"/>
                    <a:pt x="330225" y="1995288"/>
                  </a:cubicBezTo>
                  <a:cubicBezTo>
                    <a:pt x="318860" y="1995288"/>
                    <a:pt x="315901" y="2003265"/>
                    <a:pt x="321348" y="2004381"/>
                  </a:cubicBezTo>
                  <a:cubicBezTo>
                    <a:pt x="326795" y="2005539"/>
                    <a:pt x="326280" y="2022652"/>
                    <a:pt x="347553" y="2028956"/>
                  </a:cubicBezTo>
                  <a:cubicBezTo>
                    <a:pt x="368783" y="2035261"/>
                    <a:pt x="391514" y="2058078"/>
                    <a:pt x="409785" y="2080938"/>
                  </a:cubicBezTo>
                  <a:cubicBezTo>
                    <a:pt x="412316" y="2084155"/>
                    <a:pt x="415318" y="2086685"/>
                    <a:pt x="418492" y="2088830"/>
                  </a:cubicBezTo>
                  <a:cubicBezTo>
                    <a:pt x="423767" y="2085184"/>
                    <a:pt x="428356" y="2082525"/>
                    <a:pt x="431015" y="2082096"/>
                  </a:cubicBezTo>
                  <a:cubicBezTo>
                    <a:pt x="441395" y="2080381"/>
                    <a:pt x="460652" y="2087243"/>
                    <a:pt x="471031" y="2095778"/>
                  </a:cubicBezTo>
                  <a:cubicBezTo>
                    <a:pt x="481410" y="2104356"/>
                    <a:pt x="518424" y="2094062"/>
                    <a:pt x="522884" y="2100925"/>
                  </a:cubicBezTo>
                  <a:cubicBezTo>
                    <a:pt x="527345" y="2107787"/>
                    <a:pt x="536223" y="2116322"/>
                    <a:pt x="543643" y="2116322"/>
                  </a:cubicBezTo>
                  <a:cubicBezTo>
                    <a:pt x="551020" y="2116322"/>
                    <a:pt x="558440" y="2133478"/>
                    <a:pt x="564359" y="2128331"/>
                  </a:cubicBezTo>
                  <a:cubicBezTo>
                    <a:pt x="570277" y="2123184"/>
                    <a:pt x="592494" y="2123184"/>
                    <a:pt x="598412" y="2123184"/>
                  </a:cubicBezTo>
                  <a:cubicBezTo>
                    <a:pt x="604331" y="2123184"/>
                    <a:pt x="604331" y="2128331"/>
                    <a:pt x="610250" y="2128331"/>
                  </a:cubicBezTo>
                  <a:cubicBezTo>
                    <a:pt x="616169" y="2128331"/>
                    <a:pt x="616169" y="2154022"/>
                    <a:pt x="620629" y="2152306"/>
                  </a:cubicBezTo>
                  <a:cubicBezTo>
                    <a:pt x="625047" y="2150590"/>
                    <a:pt x="641345" y="2167703"/>
                    <a:pt x="651724" y="2169419"/>
                  </a:cubicBezTo>
                  <a:cubicBezTo>
                    <a:pt x="662103" y="2171134"/>
                    <a:pt x="672439" y="2191679"/>
                    <a:pt x="676900" y="2189963"/>
                  </a:cubicBezTo>
                  <a:cubicBezTo>
                    <a:pt x="681360" y="2188247"/>
                    <a:pt x="688780" y="2198498"/>
                    <a:pt x="691697" y="2189963"/>
                  </a:cubicBezTo>
                  <a:cubicBezTo>
                    <a:pt x="694528" y="2181814"/>
                    <a:pt x="709152" y="2185803"/>
                    <a:pt x="713227" y="2171692"/>
                  </a:cubicBezTo>
                  <a:cubicBezTo>
                    <a:pt x="694485" y="2145143"/>
                    <a:pt x="674326" y="2115679"/>
                    <a:pt x="674927" y="2104313"/>
                  </a:cubicBezTo>
                  <a:cubicBezTo>
                    <a:pt x="675913" y="2084884"/>
                    <a:pt x="682819" y="2072360"/>
                    <a:pt x="662060" y="2051774"/>
                  </a:cubicBezTo>
                  <a:cubicBezTo>
                    <a:pt x="641345" y="2031229"/>
                    <a:pt x="664076" y="2017505"/>
                    <a:pt x="678873" y="1995803"/>
                  </a:cubicBezTo>
                  <a:cubicBezTo>
                    <a:pt x="692083" y="1976417"/>
                    <a:pt x="720261" y="1967925"/>
                    <a:pt x="738103" y="1954115"/>
                  </a:cubicBezTo>
                  <a:cubicBezTo>
                    <a:pt x="734500" y="1951198"/>
                    <a:pt x="730769" y="1948539"/>
                    <a:pt x="727252" y="1946695"/>
                  </a:cubicBezTo>
                  <a:cubicBezTo>
                    <a:pt x="713914" y="1939832"/>
                    <a:pt x="709453" y="1932970"/>
                    <a:pt x="719832" y="1929582"/>
                  </a:cubicBezTo>
                  <a:cubicBezTo>
                    <a:pt x="730211" y="1926151"/>
                    <a:pt x="725751" y="1919288"/>
                    <a:pt x="715372" y="1905607"/>
                  </a:cubicBezTo>
                  <a:cubicBezTo>
                    <a:pt x="704992" y="1891882"/>
                    <a:pt x="700575" y="1878157"/>
                    <a:pt x="694613" y="1878157"/>
                  </a:cubicBezTo>
                  <a:cubicBezTo>
                    <a:pt x="688695" y="1878157"/>
                    <a:pt x="679816" y="1876485"/>
                    <a:pt x="670895" y="1879873"/>
                  </a:cubicBezTo>
                  <a:cubicBezTo>
                    <a:pt x="662017" y="1883304"/>
                    <a:pt x="663519" y="1871295"/>
                    <a:pt x="664977" y="1859329"/>
                  </a:cubicBezTo>
                  <a:cubicBezTo>
                    <a:pt x="666435" y="1847363"/>
                    <a:pt x="648679" y="1849036"/>
                    <a:pt x="645719" y="1843932"/>
                  </a:cubicBezTo>
                  <a:cubicBezTo>
                    <a:pt x="642760" y="1838828"/>
                    <a:pt x="650180" y="1821672"/>
                    <a:pt x="653139" y="1819957"/>
                  </a:cubicBezTo>
                  <a:cubicBezTo>
                    <a:pt x="656098" y="1818241"/>
                    <a:pt x="664977" y="1813094"/>
                    <a:pt x="664977" y="1807991"/>
                  </a:cubicBezTo>
                  <a:cubicBezTo>
                    <a:pt x="664977" y="1802844"/>
                    <a:pt x="648679" y="1801128"/>
                    <a:pt x="654597" y="1789119"/>
                  </a:cubicBezTo>
                  <a:cubicBezTo>
                    <a:pt x="660516" y="1777110"/>
                    <a:pt x="672354" y="1777110"/>
                    <a:pt x="672354" y="1765144"/>
                  </a:cubicBezTo>
                  <a:cubicBezTo>
                    <a:pt x="672354" y="1753135"/>
                    <a:pt x="681232" y="1742885"/>
                    <a:pt x="691611" y="1751420"/>
                  </a:cubicBezTo>
                  <a:cubicBezTo>
                    <a:pt x="701990" y="1759997"/>
                    <a:pt x="706450" y="1782257"/>
                    <a:pt x="718288" y="1777110"/>
                  </a:cubicBezTo>
                  <a:cubicBezTo>
                    <a:pt x="730168" y="1771963"/>
                    <a:pt x="722748" y="1759997"/>
                    <a:pt x="721247" y="1753135"/>
                  </a:cubicBezTo>
                  <a:cubicBezTo>
                    <a:pt x="719789" y="1746273"/>
                    <a:pt x="716787" y="1736022"/>
                    <a:pt x="730125" y="1732591"/>
                  </a:cubicBezTo>
                  <a:cubicBezTo>
                    <a:pt x="743464" y="1729160"/>
                    <a:pt x="737545" y="1713720"/>
                    <a:pt x="747924" y="1713720"/>
                  </a:cubicBezTo>
                  <a:cubicBezTo>
                    <a:pt x="758304" y="1713720"/>
                    <a:pt x="777561" y="1698323"/>
                    <a:pt x="783480" y="1694892"/>
                  </a:cubicBezTo>
                  <a:cubicBezTo>
                    <a:pt x="789442" y="1691460"/>
                    <a:pt x="802737" y="1682926"/>
                    <a:pt x="808656" y="1686314"/>
                  </a:cubicBezTo>
                  <a:cubicBezTo>
                    <a:pt x="814618" y="1689745"/>
                    <a:pt x="821994" y="1698323"/>
                    <a:pt x="826455" y="1686314"/>
                  </a:cubicBezTo>
                  <a:cubicBezTo>
                    <a:pt x="830872" y="1674305"/>
                    <a:pt x="848671" y="1679451"/>
                    <a:pt x="850130" y="1686314"/>
                  </a:cubicBezTo>
                  <a:cubicBezTo>
                    <a:pt x="851631" y="1693176"/>
                    <a:pt x="879766" y="1693176"/>
                    <a:pt x="888645" y="1700038"/>
                  </a:cubicBezTo>
                  <a:cubicBezTo>
                    <a:pt x="897522" y="1706900"/>
                    <a:pt x="916780" y="1720582"/>
                    <a:pt x="916780" y="1727444"/>
                  </a:cubicBezTo>
                  <a:cubicBezTo>
                    <a:pt x="916780" y="1734307"/>
                    <a:pt x="925658" y="1744557"/>
                    <a:pt x="925658" y="1732591"/>
                  </a:cubicBezTo>
                  <a:cubicBezTo>
                    <a:pt x="925658" y="1720582"/>
                    <a:pt x="933078" y="1724013"/>
                    <a:pt x="944915" y="1732591"/>
                  </a:cubicBezTo>
                  <a:cubicBezTo>
                    <a:pt x="956796" y="1741169"/>
                    <a:pt x="973093" y="1737695"/>
                    <a:pt x="976010" y="1729160"/>
                  </a:cubicBezTo>
                  <a:cubicBezTo>
                    <a:pt x="978969" y="1720582"/>
                    <a:pt x="1001186" y="1710332"/>
                    <a:pt x="1008606" y="1717151"/>
                  </a:cubicBezTo>
                  <a:cubicBezTo>
                    <a:pt x="1016026" y="1724013"/>
                    <a:pt x="1018985" y="1729160"/>
                    <a:pt x="1027863" y="1718867"/>
                  </a:cubicBezTo>
                  <a:cubicBezTo>
                    <a:pt x="1036741" y="1708573"/>
                    <a:pt x="1057500" y="1710289"/>
                    <a:pt x="1060459" y="1720539"/>
                  </a:cubicBezTo>
                  <a:cubicBezTo>
                    <a:pt x="1063418" y="1730833"/>
                    <a:pt x="1073797" y="1732548"/>
                    <a:pt x="1082676" y="1732548"/>
                  </a:cubicBezTo>
                  <a:cubicBezTo>
                    <a:pt x="1091554" y="1732548"/>
                    <a:pt x="1093055" y="1747946"/>
                    <a:pt x="1098930" y="1744514"/>
                  </a:cubicBezTo>
                  <a:cubicBezTo>
                    <a:pt x="1104849" y="1741083"/>
                    <a:pt x="1103391" y="1723970"/>
                    <a:pt x="1110768" y="1725686"/>
                  </a:cubicBezTo>
                  <a:cubicBezTo>
                    <a:pt x="1118188" y="1727402"/>
                    <a:pt x="1124106" y="1737652"/>
                    <a:pt x="1135944" y="1737652"/>
                  </a:cubicBezTo>
                  <a:cubicBezTo>
                    <a:pt x="1147824" y="1737652"/>
                    <a:pt x="1156660" y="1734221"/>
                    <a:pt x="1156660" y="1723970"/>
                  </a:cubicBezTo>
                  <a:cubicBezTo>
                    <a:pt x="1156660" y="1713677"/>
                    <a:pt x="1155201" y="1696521"/>
                    <a:pt x="1147781" y="1696521"/>
                  </a:cubicBezTo>
                  <a:cubicBezTo>
                    <a:pt x="1140405" y="1696521"/>
                    <a:pt x="1132985" y="1687943"/>
                    <a:pt x="1124064" y="1687943"/>
                  </a:cubicBezTo>
                  <a:cubicBezTo>
                    <a:pt x="1115143" y="1687943"/>
                    <a:pt x="1106308" y="1670788"/>
                    <a:pt x="1115186" y="1667399"/>
                  </a:cubicBezTo>
                  <a:cubicBezTo>
                    <a:pt x="1124064" y="1663968"/>
                    <a:pt x="1138904" y="1655390"/>
                    <a:pt x="1135901" y="1646855"/>
                  </a:cubicBezTo>
                  <a:cubicBezTo>
                    <a:pt x="1132942" y="1638278"/>
                    <a:pt x="1129982" y="1621165"/>
                    <a:pt x="1141820" y="1619449"/>
                  </a:cubicBezTo>
                  <a:cubicBezTo>
                    <a:pt x="1153657" y="1617734"/>
                    <a:pt x="1178833" y="1617734"/>
                    <a:pt x="1177375" y="1612587"/>
                  </a:cubicBezTo>
                  <a:cubicBezTo>
                    <a:pt x="1175874" y="1607440"/>
                    <a:pt x="1152199" y="1604009"/>
                    <a:pt x="1147738" y="1595474"/>
                  </a:cubicBezTo>
                  <a:cubicBezTo>
                    <a:pt x="1143278" y="1586896"/>
                    <a:pt x="1141820" y="1566352"/>
                    <a:pt x="1146237" y="1562921"/>
                  </a:cubicBezTo>
                  <a:cubicBezTo>
                    <a:pt x="1150698" y="1559490"/>
                    <a:pt x="1165495" y="1564637"/>
                    <a:pt x="1174416" y="1561206"/>
                  </a:cubicBezTo>
                  <a:cubicBezTo>
                    <a:pt x="1183294" y="1557774"/>
                    <a:pt x="1202551" y="1566352"/>
                    <a:pt x="1214389" y="1556059"/>
                  </a:cubicBezTo>
                  <a:cubicBezTo>
                    <a:pt x="1226226" y="1545808"/>
                    <a:pt x="1251445" y="1544050"/>
                    <a:pt x="1264741" y="1544050"/>
                  </a:cubicBezTo>
                  <a:cubicBezTo>
                    <a:pt x="1278079" y="1544050"/>
                    <a:pt x="1288416" y="1533756"/>
                    <a:pt x="1298795" y="1532084"/>
                  </a:cubicBezTo>
                  <a:cubicBezTo>
                    <a:pt x="1309174" y="1530368"/>
                    <a:pt x="1338811" y="1525221"/>
                    <a:pt x="1346187" y="1521790"/>
                  </a:cubicBezTo>
                  <a:cubicBezTo>
                    <a:pt x="1353607" y="1518402"/>
                    <a:pt x="1393580" y="1511540"/>
                    <a:pt x="1395081" y="1502962"/>
                  </a:cubicBezTo>
                  <a:cubicBezTo>
                    <a:pt x="1396582" y="1494427"/>
                    <a:pt x="1428406" y="1487522"/>
                    <a:pt x="1436555" y="1491854"/>
                  </a:cubicBezTo>
                  <a:cubicBezTo>
                    <a:pt x="1444704" y="1496100"/>
                    <a:pt x="1455083" y="1499574"/>
                    <a:pt x="1462460" y="1496100"/>
                  </a:cubicBezTo>
                  <a:cubicBezTo>
                    <a:pt x="1469880" y="1492668"/>
                    <a:pt x="1485449" y="1502104"/>
                    <a:pt x="1483948" y="1511540"/>
                  </a:cubicBezTo>
                  <a:cubicBezTo>
                    <a:pt x="1482490" y="1520975"/>
                    <a:pt x="1490596" y="1531226"/>
                    <a:pt x="1489867" y="1538946"/>
                  </a:cubicBezTo>
                  <a:cubicBezTo>
                    <a:pt x="1489095" y="1546666"/>
                    <a:pt x="1481717" y="1549239"/>
                    <a:pt x="1486135" y="1555244"/>
                  </a:cubicBezTo>
                  <a:cubicBezTo>
                    <a:pt x="1490596" y="1561248"/>
                    <a:pt x="1510582" y="1556960"/>
                    <a:pt x="1516501" y="1549239"/>
                  </a:cubicBezTo>
                  <a:cubicBezTo>
                    <a:pt x="1522462" y="1541519"/>
                    <a:pt x="1529067" y="1552671"/>
                    <a:pt x="1529067" y="1558675"/>
                  </a:cubicBezTo>
                  <a:cubicBezTo>
                    <a:pt x="1529067" y="1564637"/>
                    <a:pt x="1538675" y="1568968"/>
                    <a:pt x="1538675" y="1561248"/>
                  </a:cubicBezTo>
                  <a:cubicBezTo>
                    <a:pt x="1538675" y="1553528"/>
                    <a:pt x="1550555" y="1558675"/>
                    <a:pt x="1554243" y="1563822"/>
                  </a:cubicBezTo>
                  <a:cubicBezTo>
                    <a:pt x="1557932" y="1568968"/>
                    <a:pt x="1572043" y="1557817"/>
                    <a:pt x="1572043" y="1566395"/>
                  </a:cubicBezTo>
                  <a:cubicBezTo>
                    <a:pt x="1572043" y="1574930"/>
                    <a:pt x="1551284" y="1581792"/>
                    <a:pt x="1560205" y="1591228"/>
                  </a:cubicBezTo>
                  <a:cubicBezTo>
                    <a:pt x="1569083" y="1600664"/>
                    <a:pt x="1574273" y="1580077"/>
                    <a:pt x="1585381" y="1584366"/>
                  </a:cubicBezTo>
                  <a:cubicBezTo>
                    <a:pt x="1596489" y="1588655"/>
                    <a:pt x="1611329" y="1569783"/>
                    <a:pt x="1621708" y="1567210"/>
                  </a:cubicBezTo>
                  <a:cubicBezTo>
                    <a:pt x="1632088" y="1564637"/>
                    <a:pt x="1643153" y="1553485"/>
                    <a:pt x="1652074" y="1547524"/>
                  </a:cubicBezTo>
                  <a:cubicBezTo>
                    <a:pt x="1660952" y="1541519"/>
                    <a:pt x="1680209" y="1543235"/>
                    <a:pt x="1674291" y="1550097"/>
                  </a:cubicBezTo>
                  <a:cubicBezTo>
                    <a:pt x="1668372" y="1556960"/>
                    <a:pt x="1661681" y="1569783"/>
                    <a:pt x="1683941" y="1579219"/>
                  </a:cubicBezTo>
                  <a:cubicBezTo>
                    <a:pt x="1706158" y="1588655"/>
                    <a:pt x="1731334" y="1638321"/>
                    <a:pt x="1745401" y="1663153"/>
                  </a:cubicBezTo>
                  <a:cubicBezTo>
                    <a:pt x="1759469" y="1688029"/>
                    <a:pt x="1772807" y="1732548"/>
                    <a:pt x="1780227" y="1732548"/>
                  </a:cubicBezTo>
                  <a:cubicBezTo>
                    <a:pt x="1787647" y="1732548"/>
                    <a:pt x="1789878" y="1710289"/>
                    <a:pt x="1799485" y="1707715"/>
                  </a:cubicBezTo>
                  <a:cubicBezTo>
                    <a:pt x="1809092" y="1705142"/>
                    <a:pt x="1815011" y="1726544"/>
                    <a:pt x="1825390" y="1729117"/>
                  </a:cubicBezTo>
                  <a:cubicBezTo>
                    <a:pt x="1835769" y="1731691"/>
                    <a:pt x="1849837" y="1738553"/>
                    <a:pt x="1857986" y="1735122"/>
                  </a:cubicBezTo>
                  <a:cubicBezTo>
                    <a:pt x="1866134" y="1731691"/>
                    <a:pt x="1884620" y="1719724"/>
                    <a:pt x="1891310" y="1724013"/>
                  </a:cubicBezTo>
                  <a:cubicBezTo>
                    <a:pt x="1898001" y="1728302"/>
                    <a:pt x="1906879" y="1728302"/>
                    <a:pt x="1912798" y="1744557"/>
                  </a:cubicBezTo>
                  <a:cubicBezTo>
                    <a:pt x="1918674" y="1760812"/>
                    <a:pt x="1927595" y="1764286"/>
                    <a:pt x="1933514" y="1764286"/>
                  </a:cubicBezTo>
                  <a:cubicBezTo>
                    <a:pt x="1939433" y="1764286"/>
                    <a:pt x="1940676" y="1771963"/>
                    <a:pt x="1940676" y="1778826"/>
                  </a:cubicBezTo>
                  <a:cubicBezTo>
                    <a:pt x="1940676" y="1785688"/>
                    <a:pt x="1951527" y="1794824"/>
                    <a:pt x="1957446" y="1794824"/>
                  </a:cubicBezTo>
                  <a:cubicBezTo>
                    <a:pt x="1963365" y="1794824"/>
                    <a:pt x="1979190" y="1792508"/>
                    <a:pt x="1984123" y="1789077"/>
                  </a:cubicBezTo>
                  <a:cubicBezTo>
                    <a:pt x="1989055" y="1785645"/>
                    <a:pt x="1995017" y="1782257"/>
                    <a:pt x="1995960" y="1790234"/>
                  </a:cubicBezTo>
                  <a:cubicBezTo>
                    <a:pt x="1996947" y="1798212"/>
                    <a:pt x="2005868" y="1810779"/>
                    <a:pt x="2011787" y="1810779"/>
                  </a:cubicBezTo>
                  <a:cubicBezTo>
                    <a:pt x="2017706" y="1810779"/>
                    <a:pt x="2029543" y="1816526"/>
                    <a:pt x="2030529" y="1810779"/>
                  </a:cubicBezTo>
                  <a:cubicBezTo>
                    <a:pt x="2031516" y="1805074"/>
                    <a:pt x="2047299" y="1801686"/>
                    <a:pt x="2053260" y="1800485"/>
                  </a:cubicBezTo>
                  <a:cubicBezTo>
                    <a:pt x="2059179" y="1799327"/>
                    <a:pt x="2079938" y="1794781"/>
                    <a:pt x="2083841" y="1784487"/>
                  </a:cubicBezTo>
                  <a:cubicBezTo>
                    <a:pt x="2087787" y="1774237"/>
                    <a:pt x="2104556" y="1774237"/>
                    <a:pt x="2109531" y="1767374"/>
                  </a:cubicBezTo>
                  <a:cubicBezTo>
                    <a:pt x="2114464" y="1760512"/>
                    <a:pt x="2128274" y="1757124"/>
                    <a:pt x="2131233" y="1750262"/>
                  </a:cubicBezTo>
                  <a:cubicBezTo>
                    <a:pt x="2134193" y="1743399"/>
                    <a:pt x="2151949" y="1744557"/>
                    <a:pt x="2153964" y="1738853"/>
                  </a:cubicBezTo>
                  <a:cubicBezTo>
                    <a:pt x="2155938" y="1733149"/>
                    <a:pt x="2170734" y="1731991"/>
                    <a:pt x="2177682" y="1734264"/>
                  </a:cubicBezTo>
                  <a:cubicBezTo>
                    <a:pt x="2184588" y="1736580"/>
                    <a:pt x="2219157" y="1744557"/>
                    <a:pt x="2224089" y="1743399"/>
                  </a:cubicBezTo>
                  <a:cubicBezTo>
                    <a:pt x="2229021" y="1742284"/>
                    <a:pt x="2230008" y="1763986"/>
                    <a:pt x="2234940" y="1765101"/>
                  </a:cubicBezTo>
                  <a:cubicBezTo>
                    <a:pt x="2239915" y="1766259"/>
                    <a:pt x="2257672" y="1782214"/>
                    <a:pt x="2262603" y="1777668"/>
                  </a:cubicBezTo>
                  <a:cubicBezTo>
                    <a:pt x="2267535" y="1773079"/>
                    <a:pt x="2279373" y="1768489"/>
                    <a:pt x="2289280" y="1775352"/>
                  </a:cubicBezTo>
                  <a:cubicBezTo>
                    <a:pt x="2299145" y="1782214"/>
                    <a:pt x="2309053" y="1791350"/>
                    <a:pt x="2312955" y="1783372"/>
                  </a:cubicBezTo>
                  <a:cubicBezTo>
                    <a:pt x="2316901" y="1775352"/>
                    <a:pt x="2337660" y="1771921"/>
                    <a:pt x="2340619" y="1767374"/>
                  </a:cubicBezTo>
                  <a:cubicBezTo>
                    <a:pt x="2343578" y="1762785"/>
                    <a:pt x="2346538" y="1749104"/>
                    <a:pt x="2341562" y="1744514"/>
                  </a:cubicBezTo>
                  <a:cubicBezTo>
                    <a:pt x="2336630" y="1739968"/>
                    <a:pt x="2331698" y="1721697"/>
                    <a:pt x="2329725" y="1712562"/>
                  </a:cubicBezTo>
                  <a:cubicBezTo>
                    <a:pt x="2327752" y="1703426"/>
                    <a:pt x="2341562" y="1701153"/>
                    <a:pt x="2343578" y="1693133"/>
                  </a:cubicBezTo>
                  <a:cubicBezTo>
                    <a:pt x="2345552" y="1685156"/>
                    <a:pt x="2357389" y="1683998"/>
                    <a:pt x="2361378" y="1679409"/>
                  </a:cubicBezTo>
                  <a:cubicBezTo>
                    <a:pt x="2365323" y="1674862"/>
                    <a:pt x="2366309" y="1664569"/>
                    <a:pt x="2373258" y="1666842"/>
                  </a:cubicBezTo>
                  <a:cubicBezTo>
                    <a:pt x="2380163" y="1669115"/>
                    <a:pt x="2394959" y="1674819"/>
                    <a:pt x="2397919" y="1678250"/>
                  </a:cubicBezTo>
                  <a:cubicBezTo>
                    <a:pt x="2400879" y="1681682"/>
                    <a:pt x="2411773" y="1683955"/>
                    <a:pt x="2418634" y="1683955"/>
                  </a:cubicBezTo>
                  <a:cubicBezTo>
                    <a:pt x="2425583" y="1683955"/>
                    <a:pt x="2436434" y="1690817"/>
                    <a:pt x="2443338" y="1695406"/>
                  </a:cubicBezTo>
                  <a:cubicBezTo>
                    <a:pt x="2450244" y="1699952"/>
                    <a:pt x="2471989" y="1699952"/>
                    <a:pt x="2475935" y="1706815"/>
                  </a:cubicBezTo>
                  <a:cubicBezTo>
                    <a:pt x="2479880" y="1713634"/>
                    <a:pt x="2474905" y="1733063"/>
                    <a:pt x="2479880" y="1739968"/>
                  </a:cubicBezTo>
                  <a:cubicBezTo>
                    <a:pt x="2484813" y="1746787"/>
                    <a:pt x="2496651" y="1761627"/>
                    <a:pt x="2500639" y="1758196"/>
                  </a:cubicBezTo>
                  <a:cubicBezTo>
                    <a:pt x="2504585" y="1754765"/>
                    <a:pt x="2523328" y="1769605"/>
                    <a:pt x="2530275" y="1768447"/>
                  </a:cubicBezTo>
                  <a:cubicBezTo>
                    <a:pt x="2537181" y="1767332"/>
                    <a:pt x="2548032" y="1754765"/>
                    <a:pt x="2553950" y="1754765"/>
                  </a:cubicBezTo>
                  <a:cubicBezTo>
                    <a:pt x="2559869" y="1754765"/>
                    <a:pt x="2578654" y="1749061"/>
                    <a:pt x="2584574" y="1750219"/>
                  </a:cubicBezTo>
                  <a:cubicBezTo>
                    <a:pt x="2590492" y="1751334"/>
                    <a:pt x="2612237" y="1760512"/>
                    <a:pt x="2615196" y="1758196"/>
                  </a:cubicBezTo>
                  <a:cubicBezTo>
                    <a:pt x="2618155" y="1755923"/>
                    <a:pt x="2637885" y="1759354"/>
                    <a:pt x="2640844" y="1766216"/>
                  </a:cubicBezTo>
                  <a:cubicBezTo>
                    <a:pt x="2643803" y="1773036"/>
                    <a:pt x="2668507" y="1773036"/>
                    <a:pt x="2668507" y="1781056"/>
                  </a:cubicBezTo>
                  <a:cubicBezTo>
                    <a:pt x="2668507" y="1789034"/>
                    <a:pt x="2682318" y="1793623"/>
                    <a:pt x="2686307" y="1802758"/>
                  </a:cubicBezTo>
                  <a:cubicBezTo>
                    <a:pt x="2690253" y="1811893"/>
                    <a:pt x="2722849" y="1806232"/>
                    <a:pt x="2728810" y="1811893"/>
                  </a:cubicBezTo>
                  <a:cubicBezTo>
                    <a:pt x="2734729" y="1817598"/>
                    <a:pt x="2772257" y="1816483"/>
                    <a:pt x="2773244" y="1811893"/>
                  </a:cubicBezTo>
                  <a:cubicBezTo>
                    <a:pt x="2774187" y="1807305"/>
                    <a:pt x="2809786" y="1805031"/>
                    <a:pt x="2816690" y="1799284"/>
                  </a:cubicBezTo>
                  <a:cubicBezTo>
                    <a:pt x="2823596" y="1793580"/>
                    <a:pt x="2842338" y="1795896"/>
                    <a:pt x="2843367" y="1787876"/>
                  </a:cubicBezTo>
                  <a:cubicBezTo>
                    <a:pt x="2844354" y="1779855"/>
                    <a:pt x="2862110" y="1774194"/>
                    <a:pt x="2870001" y="1767332"/>
                  </a:cubicBezTo>
                  <a:cubicBezTo>
                    <a:pt x="2877893" y="1760469"/>
                    <a:pt x="2909503" y="1761584"/>
                    <a:pt x="2911476" y="1769605"/>
                  </a:cubicBezTo>
                  <a:cubicBezTo>
                    <a:pt x="2913449" y="1777625"/>
                    <a:pt x="2932191" y="1779855"/>
                    <a:pt x="2940126" y="1776467"/>
                  </a:cubicBezTo>
                  <a:cubicBezTo>
                    <a:pt x="2948018" y="1773036"/>
                    <a:pt x="2968775" y="1777625"/>
                    <a:pt x="2971736" y="1785602"/>
                  </a:cubicBezTo>
                  <a:cubicBezTo>
                    <a:pt x="2974695" y="1793580"/>
                    <a:pt x="2998370" y="1798169"/>
                    <a:pt x="3004331" y="1795896"/>
                  </a:cubicBezTo>
                  <a:cubicBezTo>
                    <a:pt x="3010250" y="1793623"/>
                    <a:pt x="3028992" y="1777625"/>
                    <a:pt x="3035898" y="1776467"/>
                  </a:cubicBezTo>
                  <a:cubicBezTo>
                    <a:pt x="3042802" y="1775309"/>
                    <a:pt x="3052667" y="1767332"/>
                    <a:pt x="3050694" y="1759354"/>
                  </a:cubicBezTo>
                  <a:cubicBezTo>
                    <a:pt x="3048722" y="1751334"/>
                    <a:pt x="3064548" y="1728517"/>
                    <a:pt x="3066520" y="1719381"/>
                  </a:cubicBezTo>
                  <a:cubicBezTo>
                    <a:pt x="3068493" y="1710246"/>
                    <a:pt x="3082303" y="1685113"/>
                    <a:pt x="3087236" y="1682840"/>
                  </a:cubicBezTo>
                  <a:cubicBezTo>
                    <a:pt x="3092168" y="1680566"/>
                    <a:pt x="3103062" y="1670273"/>
                    <a:pt x="3102033" y="1663454"/>
                  </a:cubicBezTo>
                  <a:cubicBezTo>
                    <a:pt x="3101046" y="1656591"/>
                    <a:pt x="3098087" y="1636047"/>
                    <a:pt x="3092168" y="1636047"/>
                  </a:cubicBezTo>
                  <a:cubicBezTo>
                    <a:pt x="3086250" y="1636047"/>
                    <a:pt x="3075399" y="1637205"/>
                    <a:pt x="3089209" y="1615503"/>
                  </a:cubicBezTo>
                  <a:cubicBezTo>
                    <a:pt x="3103019" y="1593801"/>
                    <a:pt x="3127723" y="1599549"/>
                    <a:pt x="3131669" y="1599549"/>
                  </a:cubicBezTo>
                  <a:cubicBezTo>
                    <a:pt x="3135615" y="1599549"/>
                    <a:pt x="3167224" y="1590413"/>
                    <a:pt x="3181035" y="1594959"/>
                  </a:cubicBezTo>
                  <a:cubicBezTo>
                    <a:pt x="3194845" y="1599549"/>
                    <a:pt x="3203723" y="1592686"/>
                    <a:pt x="3218520" y="1601822"/>
                  </a:cubicBezTo>
                  <a:cubicBezTo>
                    <a:pt x="3233360" y="1610957"/>
                    <a:pt x="3254075" y="1607526"/>
                    <a:pt x="3259008" y="1615503"/>
                  </a:cubicBezTo>
                  <a:cubicBezTo>
                    <a:pt x="3263983" y="1623524"/>
                    <a:pt x="3283712" y="1630386"/>
                    <a:pt x="3280752" y="1644068"/>
                  </a:cubicBezTo>
                  <a:cubicBezTo>
                    <a:pt x="3277793" y="1657749"/>
                    <a:pt x="3291603" y="1649772"/>
                    <a:pt x="3296536" y="1679451"/>
                  </a:cubicBezTo>
                  <a:cubicBezTo>
                    <a:pt x="3301468" y="1709174"/>
                    <a:pt x="3313306" y="1711447"/>
                    <a:pt x="3316265" y="1725128"/>
                  </a:cubicBezTo>
                  <a:cubicBezTo>
                    <a:pt x="3319224" y="1738853"/>
                    <a:pt x="3335051" y="1763986"/>
                    <a:pt x="3333078" y="1771963"/>
                  </a:cubicBezTo>
                  <a:cubicBezTo>
                    <a:pt x="3331104" y="1779941"/>
                    <a:pt x="3329131" y="1792508"/>
                    <a:pt x="3345902" y="1793665"/>
                  </a:cubicBezTo>
                  <a:cubicBezTo>
                    <a:pt x="3362714" y="1794824"/>
                    <a:pt x="3374552" y="1809663"/>
                    <a:pt x="3378497" y="1807390"/>
                  </a:cubicBezTo>
                  <a:cubicBezTo>
                    <a:pt x="3382444" y="1805117"/>
                    <a:pt x="3402172" y="1813094"/>
                    <a:pt x="3412037" y="1824503"/>
                  </a:cubicBezTo>
                  <a:cubicBezTo>
                    <a:pt x="3421944" y="1835912"/>
                    <a:pt x="3436741" y="1830250"/>
                    <a:pt x="3435755" y="1842817"/>
                  </a:cubicBezTo>
                  <a:cubicBezTo>
                    <a:pt x="3434768" y="1855340"/>
                    <a:pt x="3443646" y="1865634"/>
                    <a:pt x="3442659" y="1875927"/>
                  </a:cubicBezTo>
                  <a:cubicBezTo>
                    <a:pt x="3441673" y="1886221"/>
                    <a:pt x="3461445" y="1893083"/>
                    <a:pt x="3475256" y="1890767"/>
                  </a:cubicBezTo>
                  <a:cubicBezTo>
                    <a:pt x="3489066" y="1888494"/>
                    <a:pt x="3498974" y="1896471"/>
                    <a:pt x="3504892" y="1882747"/>
                  </a:cubicBezTo>
                  <a:cubicBezTo>
                    <a:pt x="3510811" y="1869065"/>
                    <a:pt x="3530582" y="1874769"/>
                    <a:pt x="3537488" y="1869065"/>
                  </a:cubicBezTo>
                  <a:cubicBezTo>
                    <a:pt x="3544393" y="1863361"/>
                    <a:pt x="3565151" y="1856498"/>
                    <a:pt x="3564165" y="1877042"/>
                  </a:cubicBezTo>
                  <a:cubicBezTo>
                    <a:pt x="3563136" y="1897629"/>
                    <a:pt x="3575016" y="1902176"/>
                    <a:pt x="3565151" y="1908995"/>
                  </a:cubicBezTo>
                  <a:cubicBezTo>
                    <a:pt x="3555287" y="1915857"/>
                    <a:pt x="3550355" y="1945537"/>
                    <a:pt x="3547396" y="1958103"/>
                  </a:cubicBezTo>
                  <a:cubicBezTo>
                    <a:pt x="3544393" y="1970670"/>
                    <a:pt x="3529596" y="1974101"/>
                    <a:pt x="3527623" y="1987783"/>
                  </a:cubicBezTo>
                  <a:cubicBezTo>
                    <a:pt x="3525651" y="2001507"/>
                    <a:pt x="3511797" y="2002622"/>
                    <a:pt x="3511797" y="2012916"/>
                  </a:cubicBezTo>
                  <a:cubicBezTo>
                    <a:pt x="3511797" y="2023209"/>
                    <a:pt x="3492068" y="2020936"/>
                    <a:pt x="3482161" y="2012916"/>
                  </a:cubicBezTo>
                  <a:cubicBezTo>
                    <a:pt x="3472296" y="2004895"/>
                    <a:pt x="3462432" y="2027798"/>
                    <a:pt x="3454540" y="2027798"/>
                  </a:cubicBezTo>
                  <a:cubicBezTo>
                    <a:pt x="3446649" y="2027798"/>
                    <a:pt x="3447635" y="2047184"/>
                    <a:pt x="3449565" y="2055205"/>
                  </a:cubicBezTo>
                  <a:cubicBezTo>
                    <a:pt x="3451581" y="2063182"/>
                    <a:pt x="3446606" y="2073476"/>
                    <a:pt x="3451581" y="2087200"/>
                  </a:cubicBezTo>
                  <a:cubicBezTo>
                    <a:pt x="3454197" y="2094534"/>
                    <a:pt x="3452610" y="2108516"/>
                    <a:pt x="3453940" y="2124128"/>
                  </a:cubicBezTo>
                  <a:cubicBezTo>
                    <a:pt x="3465992" y="2114049"/>
                    <a:pt x="3476885" y="2106586"/>
                    <a:pt x="3481689" y="2106586"/>
                  </a:cubicBezTo>
                  <a:cubicBezTo>
                    <a:pt x="3494041" y="2106586"/>
                    <a:pt x="3506393" y="2131119"/>
                    <a:pt x="3520204" y="2131676"/>
                  </a:cubicBezTo>
                  <a:cubicBezTo>
                    <a:pt x="3534057" y="2132277"/>
                    <a:pt x="3596761" y="2083726"/>
                    <a:pt x="3597233" y="2075749"/>
                  </a:cubicBezTo>
                  <a:cubicBezTo>
                    <a:pt x="3597748" y="2067771"/>
                    <a:pt x="3634289" y="2027198"/>
                    <a:pt x="3651531" y="2006053"/>
                  </a:cubicBezTo>
                  <a:cubicBezTo>
                    <a:pt x="3668772" y="1984952"/>
                    <a:pt x="3691546" y="1954072"/>
                    <a:pt x="3700424" y="1930096"/>
                  </a:cubicBezTo>
                  <a:cubicBezTo>
                    <a:pt x="3705871" y="1915300"/>
                    <a:pt x="3730061" y="1886692"/>
                    <a:pt x="3735980" y="1875284"/>
                  </a:cubicBezTo>
                  <a:cubicBezTo>
                    <a:pt x="3741898" y="1863875"/>
                    <a:pt x="3745845" y="1862717"/>
                    <a:pt x="3756738" y="1835869"/>
                  </a:cubicBezTo>
                  <a:cubicBezTo>
                    <a:pt x="3767589" y="1809020"/>
                    <a:pt x="3767589" y="1738767"/>
                    <a:pt x="3771063" y="1734221"/>
                  </a:cubicBezTo>
                  <a:cubicBezTo>
                    <a:pt x="3774537" y="1729675"/>
                    <a:pt x="3772522" y="1717666"/>
                    <a:pt x="3777496" y="1710246"/>
                  </a:cubicBezTo>
                  <a:cubicBezTo>
                    <a:pt x="3782428" y="1702826"/>
                    <a:pt x="3779941" y="1692533"/>
                    <a:pt x="3789849" y="1682840"/>
                  </a:cubicBezTo>
                  <a:cubicBezTo>
                    <a:pt x="3799713" y="1673147"/>
                    <a:pt x="3797740" y="1664569"/>
                    <a:pt x="3795295" y="1657149"/>
                  </a:cubicBezTo>
                  <a:cubicBezTo>
                    <a:pt x="3792808" y="1649729"/>
                    <a:pt x="3795767" y="1633174"/>
                    <a:pt x="3793322" y="1628027"/>
                  </a:cubicBezTo>
                  <a:cubicBezTo>
                    <a:pt x="3790835" y="1622880"/>
                    <a:pt x="3791350" y="1620607"/>
                    <a:pt x="3797269" y="1616619"/>
                  </a:cubicBezTo>
                  <a:cubicBezTo>
                    <a:pt x="3803187" y="1612630"/>
                    <a:pt x="3793322" y="1602336"/>
                    <a:pt x="3784916" y="1597747"/>
                  </a:cubicBezTo>
                  <a:cubicBezTo>
                    <a:pt x="3776510" y="1593158"/>
                    <a:pt x="3765659" y="1589212"/>
                    <a:pt x="3764673" y="1578318"/>
                  </a:cubicBezTo>
                  <a:cubicBezTo>
                    <a:pt x="3763686" y="1567467"/>
                    <a:pt x="3749404" y="1554343"/>
                    <a:pt x="3738467" y="1555458"/>
                  </a:cubicBezTo>
                  <a:cubicBezTo>
                    <a:pt x="3734779" y="1555844"/>
                    <a:pt x="3730061" y="1555201"/>
                    <a:pt x="3725472" y="1554472"/>
                  </a:cubicBezTo>
                  <a:cubicBezTo>
                    <a:pt x="3721397" y="1558332"/>
                    <a:pt x="3716379" y="1561120"/>
                    <a:pt x="3710632" y="1562364"/>
                  </a:cubicBezTo>
                  <a:cubicBezTo>
                    <a:pt x="3710418" y="1567510"/>
                    <a:pt x="3707458" y="1570984"/>
                    <a:pt x="3703469" y="1569741"/>
                  </a:cubicBezTo>
                  <a:cubicBezTo>
                    <a:pt x="3698022" y="1568025"/>
                    <a:pt x="3695536" y="1573172"/>
                    <a:pt x="3689144" y="1584580"/>
                  </a:cubicBezTo>
                  <a:cubicBezTo>
                    <a:pt x="3682754" y="1596032"/>
                    <a:pt x="3660023" y="1597147"/>
                    <a:pt x="3670359" y="1586296"/>
                  </a:cubicBezTo>
                  <a:cubicBezTo>
                    <a:pt x="3680738" y="1575488"/>
                    <a:pt x="3666928" y="1574887"/>
                    <a:pt x="3668857" y="1563479"/>
                  </a:cubicBezTo>
                  <a:cubicBezTo>
                    <a:pt x="3669459" y="1560005"/>
                    <a:pt x="3670660" y="1556531"/>
                    <a:pt x="3671732" y="1553571"/>
                  </a:cubicBezTo>
                  <a:cubicBezTo>
                    <a:pt x="3669501" y="1552542"/>
                    <a:pt x="3667314" y="1551513"/>
                    <a:pt x="3665170" y="1550355"/>
                  </a:cubicBezTo>
                  <a:cubicBezTo>
                    <a:pt x="3656549" y="1558589"/>
                    <a:pt x="3655691" y="1573343"/>
                    <a:pt x="3647156" y="1575445"/>
                  </a:cubicBezTo>
                  <a:cubicBezTo>
                    <a:pt x="3637806" y="1577718"/>
                    <a:pt x="3640723" y="1544607"/>
                    <a:pt x="3643210" y="1536030"/>
                  </a:cubicBezTo>
                  <a:cubicBezTo>
                    <a:pt x="3643296" y="1535686"/>
                    <a:pt x="3643296" y="1535386"/>
                    <a:pt x="3643339" y="1535086"/>
                  </a:cubicBezTo>
                  <a:cubicBezTo>
                    <a:pt x="3642395" y="1534228"/>
                    <a:pt x="3641495" y="1533285"/>
                    <a:pt x="3640551" y="1532384"/>
                  </a:cubicBezTo>
                  <a:cubicBezTo>
                    <a:pt x="3634632" y="1531698"/>
                    <a:pt x="3620179" y="1536115"/>
                    <a:pt x="3605210" y="1534872"/>
                  </a:cubicBezTo>
                  <a:cubicBezTo>
                    <a:pt x="3584452" y="1533156"/>
                    <a:pt x="3589899" y="1516558"/>
                    <a:pt x="3606668" y="1506307"/>
                  </a:cubicBezTo>
                  <a:cubicBezTo>
                    <a:pt x="3615890" y="1500646"/>
                    <a:pt x="3619149" y="1495199"/>
                    <a:pt x="3621593" y="1490738"/>
                  </a:cubicBezTo>
                  <a:cubicBezTo>
                    <a:pt x="3623352" y="1473626"/>
                    <a:pt x="3635876" y="1458786"/>
                    <a:pt x="3656678" y="1457757"/>
                  </a:cubicBezTo>
                  <a:cubicBezTo>
                    <a:pt x="3657106" y="1457757"/>
                    <a:pt x="3661181" y="1456899"/>
                    <a:pt x="3665598" y="1455912"/>
                  </a:cubicBezTo>
                  <a:cubicBezTo>
                    <a:pt x="3661953" y="1443174"/>
                    <a:pt x="3664697" y="1428721"/>
                    <a:pt x="3670788" y="1417441"/>
                  </a:cubicBezTo>
                  <a:cubicBezTo>
                    <a:pt x="3683269" y="1394409"/>
                    <a:pt x="3708702" y="1371806"/>
                    <a:pt x="3729031" y="1355637"/>
                  </a:cubicBezTo>
                  <a:cubicBezTo>
                    <a:pt x="3753736" y="1335994"/>
                    <a:pt x="3767589" y="1309574"/>
                    <a:pt x="3790621" y="1288944"/>
                  </a:cubicBezTo>
                  <a:cubicBezTo>
                    <a:pt x="3817641" y="1264712"/>
                    <a:pt x="3853539" y="1258236"/>
                    <a:pt x="3888022" y="1264197"/>
                  </a:cubicBezTo>
                  <a:cubicBezTo>
                    <a:pt x="3888494" y="1264283"/>
                    <a:pt x="3888966" y="1264412"/>
                    <a:pt x="3889395" y="1264497"/>
                  </a:cubicBezTo>
                  <a:cubicBezTo>
                    <a:pt x="3913070" y="1263468"/>
                    <a:pt x="3940819" y="1269687"/>
                    <a:pt x="3946866" y="1276678"/>
                  </a:cubicBezTo>
                  <a:cubicBezTo>
                    <a:pt x="3947081" y="1276935"/>
                    <a:pt x="3947253" y="1277064"/>
                    <a:pt x="3947467" y="1277278"/>
                  </a:cubicBezTo>
                  <a:cubicBezTo>
                    <a:pt x="3960076" y="1275777"/>
                    <a:pt x="3972256" y="1268958"/>
                    <a:pt x="3984566" y="1266170"/>
                  </a:cubicBezTo>
                  <a:cubicBezTo>
                    <a:pt x="4004296" y="1261667"/>
                    <a:pt x="4024410" y="1263468"/>
                    <a:pt x="4040709" y="1273247"/>
                  </a:cubicBezTo>
                  <a:cubicBezTo>
                    <a:pt x="4046197" y="1273032"/>
                    <a:pt x="4051002" y="1270116"/>
                    <a:pt x="4054990" y="1261238"/>
                  </a:cubicBezTo>
                  <a:cubicBezTo>
                    <a:pt x="4061939" y="1245798"/>
                    <a:pt x="4094491" y="1248671"/>
                    <a:pt x="4101912" y="1254976"/>
                  </a:cubicBezTo>
                  <a:cubicBezTo>
                    <a:pt x="4109331" y="1261281"/>
                    <a:pt x="4115250" y="1269816"/>
                    <a:pt x="4127087" y="1260680"/>
                  </a:cubicBezTo>
                  <a:cubicBezTo>
                    <a:pt x="4138925" y="1251545"/>
                    <a:pt x="4138925" y="1272646"/>
                    <a:pt x="4150290" y="1274405"/>
                  </a:cubicBezTo>
                  <a:cubicBezTo>
                    <a:pt x="4161656" y="1276120"/>
                    <a:pt x="4154236" y="1287529"/>
                    <a:pt x="4144372" y="1286371"/>
                  </a:cubicBezTo>
                  <a:cubicBezTo>
                    <a:pt x="4134507" y="1285213"/>
                    <a:pt x="4122155" y="1292075"/>
                    <a:pt x="4133521" y="1299538"/>
                  </a:cubicBezTo>
                  <a:cubicBezTo>
                    <a:pt x="4144886" y="1306915"/>
                    <a:pt x="4158225" y="1292676"/>
                    <a:pt x="4167103" y="1293791"/>
                  </a:cubicBezTo>
                  <a:cubicBezTo>
                    <a:pt x="4168218" y="1293919"/>
                    <a:pt x="4169419" y="1294091"/>
                    <a:pt x="4170662" y="1294177"/>
                  </a:cubicBezTo>
                  <a:cubicBezTo>
                    <a:pt x="4179927" y="1281138"/>
                    <a:pt x="4194294" y="1279294"/>
                    <a:pt x="4206991" y="1284441"/>
                  </a:cubicBezTo>
                  <a:cubicBezTo>
                    <a:pt x="4215568" y="1282125"/>
                    <a:pt x="4219085" y="1293147"/>
                    <a:pt x="4225819" y="1286328"/>
                  </a:cubicBezTo>
                  <a:cubicBezTo>
                    <a:pt x="4233711" y="1278308"/>
                    <a:pt x="4251509" y="1276035"/>
                    <a:pt x="4260388" y="1276635"/>
                  </a:cubicBezTo>
                  <a:cubicBezTo>
                    <a:pt x="4269265" y="1277193"/>
                    <a:pt x="4261888" y="1264626"/>
                    <a:pt x="4247049" y="1264626"/>
                  </a:cubicBezTo>
                  <a:cubicBezTo>
                    <a:pt x="4232209" y="1264626"/>
                    <a:pt x="4232724" y="1255491"/>
                    <a:pt x="4244561" y="1232073"/>
                  </a:cubicBezTo>
                  <a:cubicBezTo>
                    <a:pt x="4256398" y="1208698"/>
                    <a:pt x="4279130" y="1196089"/>
                    <a:pt x="4293455" y="1181850"/>
                  </a:cubicBezTo>
                  <a:cubicBezTo>
                    <a:pt x="4307780" y="1167567"/>
                    <a:pt x="4318116" y="1174430"/>
                    <a:pt x="4318116" y="1165251"/>
                  </a:cubicBezTo>
                  <a:cubicBezTo>
                    <a:pt x="4318116" y="1156116"/>
                    <a:pt x="4325021" y="1130425"/>
                    <a:pt x="4335915" y="1129911"/>
                  </a:cubicBezTo>
                  <a:cubicBezTo>
                    <a:pt x="4346766" y="1129310"/>
                    <a:pt x="4373915" y="1135015"/>
                    <a:pt x="4390728" y="1124164"/>
                  </a:cubicBezTo>
                  <a:cubicBezTo>
                    <a:pt x="4407498" y="1113313"/>
                    <a:pt x="4405997" y="1132184"/>
                    <a:pt x="4412944" y="1135015"/>
                  </a:cubicBezTo>
                  <a:cubicBezTo>
                    <a:pt x="4419850" y="1137845"/>
                    <a:pt x="4429242" y="1118459"/>
                    <a:pt x="4437091" y="1124164"/>
                  </a:cubicBezTo>
                  <a:cubicBezTo>
                    <a:pt x="4445026" y="1129911"/>
                    <a:pt x="4425254" y="1143592"/>
                    <a:pt x="4420793" y="1160148"/>
                  </a:cubicBezTo>
                  <a:cubicBezTo>
                    <a:pt x="4416333" y="1176703"/>
                    <a:pt x="4431172" y="1170441"/>
                    <a:pt x="4439579" y="1175030"/>
                  </a:cubicBezTo>
                  <a:cubicBezTo>
                    <a:pt x="4447985" y="1179619"/>
                    <a:pt x="4428685" y="1186439"/>
                    <a:pt x="4430701" y="1190985"/>
                  </a:cubicBezTo>
                  <a:cubicBezTo>
                    <a:pt x="4432631" y="1195574"/>
                    <a:pt x="4449443" y="1195574"/>
                    <a:pt x="4471188" y="1170441"/>
                  </a:cubicBezTo>
                  <a:cubicBezTo>
                    <a:pt x="4492933" y="1145308"/>
                    <a:pt x="4512662" y="1138446"/>
                    <a:pt x="4526473" y="1140161"/>
                  </a:cubicBezTo>
                  <a:cubicBezTo>
                    <a:pt x="4540283" y="1141877"/>
                    <a:pt x="4532391" y="1125879"/>
                    <a:pt x="4533378" y="1102462"/>
                  </a:cubicBezTo>
                  <a:cubicBezTo>
                    <a:pt x="4534364" y="1079044"/>
                    <a:pt x="4576825" y="1072182"/>
                    <a:pt x="4590635" y="1079044"/>
                  </a:cubicBezTo>
                  <a:cubicBezTo>
                    <a:pt x="4604445" y="1085906"/>
                    <a:pt x="4603459" y="1092168"/>
                    <a:pt x="4590120" y="1088179"/>
                  </a:cubicBezTo>
                  <a:cubicBezTo>
                    <a:pt x="4576825" y="1084191"/>
                    <a:pt x="4564472" y="1097915"/>
                    <a:pt x="4564945" y="1117301"/>
                  </a:cubicBezTo>
                  <a:cubicBezTo>
                    <a:pt x="4565459" y="1136730"/>
                    <a:pt x="4553107" y="1142992"/>
                    <a:pt x="4559541" y="1150455"/>
                  </a:cubicBezTo>
                  <a:cubicBezTo>
                    <a:pt x="4565931" y="1157874"/>
                    <a:pt x="4550147" y="1159590"/>
                    <a:pt x="4549633" y="1167567"/>
                  </a:cubicBezTo>
                  <a:cubicBezTo>
                    <a:pt x="4549161" y="1175545"/>
                    <a:pt x="4549633" y="1181850"/>
                    <a:pt x="4539768" y="1185281"/>
                  </a:cubicBezTo>
                  <a:cubicBezTo>
                    <a:pt x="4529903" y="1188712"/>
                    <a:pt x="4496793" y="1192701"/>
                    <a:pt x="4495849" y="1207540"/>
                  </a:cubicBezTo>
                  <a:cubicBezTo>
                    <a:pt x="4494820" y="1222423"/>
                    <a:pt x="4477064" y="1224096"/>
                    <a:pt x="4468657" y="1242366"/>
                  </a:cubicBezTo>
                  <a:cubicBezTo>
                    <a:pt x="4460294" y="1260680"/>
                    <a:pt x="4428170" y="1271488"/>
                    <a:pt x="4406940" y="1308073"/>
                  </a:cubicBezTo>
                  <a:cubicBezTo>
                    <a:pt x="4385710" y="1344615"/>
                    <a:pt x="4352170" y="1344615"/>
                    <a:pt x="4352170" y="1351434"/>
                  </a:cubicBezTo>
                  <a:cubicBezTo>
                    <a:pt x="4352170" y="1358296"/>
                    <a:pt x="4328925" y="1357739"/>
                    <a:pt x="4321033" y="1358854"/>
                  </a:cubicBezTo>
                  <a:cubicBezTo>
                    <a:pt x="4313142" y="1360012"/>
                    <a:pt x="4328452" y="1382271"/>
                    <a:pt x="4309667" y="1405689"/>
                  </a:cubicBezTo>
                  <a:cubicBezTo>
                    <a:pt x="4308380" y="1407319"/>
                    <a:pt x="4307179" y="1409034"/>
                    <a:pt x="4305978" y="1410750"/>
                  </a:cubicBezTo>
                  <a:cubicBezTo>
                    <a:pt x="4306579" y="1413581"/>
                    <a:pt x="4307008" y="1416497"/>
                    <a:pt x="4306922" y="1419628"/>
                  </a:cubicBezTo>
                  <a:cubicBezTo>
                    <a:pt x="4321804" y="1426319"/>
                    <a:pt x="4332870" y="1441802"/>
                    <a:pt x="4327852" y="1462646"/>
                  </a:cubicBezTo>
                  <a:cubicBezTo>
                    <a:pt x="4312111" y="1527709"/>
                    <a:pt x="4305078" y="1593372"/>
                    <a:pt x="4302461" y="1660280"/>
                  </a:cubicBezTo>
                  <a:cubicBezTo>
                    <a:pt x="4302461" y="1660580"/>
                    <a:pt x="4302376" y="1660794"/>
                    <a:pt x="4302376" y="1661052"/>
                  </a:cubicBezTo>
                  <a:cubicBezTo>
                    <a:pt x="4303748" y="1678208"/>
                    <a:pt x="4303277" y="1697079"/>
                    <a:pt x="4307738" y="1702612"/>
                  </a:cubicBezTo>
                  <a:cubicBezTo>
                    <a:pt x="4314642" y="1711146"/>
                    <a:pt x="4312197" y="1725429"/>
                    <a:pt x="4316615" y="1730575"/>
                  </a:cubicBezTo>
                  <a:cubicBezTo>
                    <a:pt x="4321076" y="1735722"/>
                    <a:pt x="4339304" y="1707715"/>
                    <a:pt x="4351656" y="1695749"/>
                  </a:cubicBezTo>
                  <a:cubicBezTo>
                    <a:pt x="4364008" y="1683740"/>
                    <a:pt x="4360062" y="1679794"/>
                    <a:pt x="4368468" y="1673490"/>
                  </a:cubicBezTo>
                  <a:cubicBezTo>
                    <a:pt x="4376875" y="1667185"/>
                    <a:pt x="4373400" y="1640937"/>
                    <a:pt x="4375888" y="1634075"/>
                  </a:cubicBezTo>
                  <a:cubicBezTo>
                    <a:pt x="4378333" y="1627212"/>
                    <a:pt x="4393644" y="1623781"/>
                    <a:pt x="4398577" y="1616361"/>
                  </a:cubicBezTo>
                  <a:cubicBezTo>
                    <a:pt x="4401622" y="1611815"/>
                    <a:pt x="4407583" y="1611772"/>
                    <a:pt x="4413330" y="1611772"/>
                  </a:cubicBezTo>
                  <a:cubicBezTo>
                    <a:pt x="4418049" y="1608169"/>
                    <a:pt x="4422123" y="1604438"/>
                    <a:pt x="4425768" y="1600406"/>
                  </a:cubicBezTo>
                  <a:cubicBezTo>
                    <a:pt x="4424782" y="1593415"/>
                    <a:pt x="4421737" y="1584409"/>
                    <a:pt x="4420322" y="1578104"/>
                  </a:cubicBezTo>
                  <a:cubicBezTo>
                    <a:pt x="4419893" y="1576174"/>
                    <a:pt x="4420279" y="1574115"/>
                    <a:pt x="4421222" y="1571971"/>
                  </a:cubicBezTo>
                  <a:cubicBezTo>
                    <a:pt x="4411615" y="1557603"/>
                    <a:pt x="4411358" y="1536458"/>
                    <a:pt x="4424867" y="1523677"/>
                  </a:cubicBezTo>
                  <a:cubicBezTo>
                    <a:pt x="4440951" y="1508366"/>
                    <a:pt x="4459737" y="1495113"/>
                    <a:pt x="4480195" y="1486750"/>
                  </a:cubicBezTo>
                  <a:cubicBezTo>
                    <a:pt x="4482383" y="1473154"/>
                    <a:pt x="4490402" y="1463847"/>
                    <a:pt x="4500353" y="1458743"/>
                  </a:cubicBezTo>
                  <a:cubicBezTo>
                    <a:pt x="4503784" y="1454068"/>
                    <a:pt x="4507258" y="1450551"/>
                    <a:pt x="4510175" y="1449608"/>
                  </a:cubicBezTo>
                  <a:cubicBezTo>
                    <a:pt x="4520554" y="1446176"/>
                    <a:pt x="4525958" y="1458185"/>
                    <a:pt x="4535866" y="1447892"/>
                  </a:cubicBezTo>
                  <a:cubicBezTo>
                    <a:pt x="4545730" y="1437599"/>
                    <a:pt x="4526987" y="1421086"/>
                    <a:pt x="4520083" y="1422201"/>
                  </a:cubicBezTo>
                  <a:cubicBezTo>
                    <a:pt x="4513177" y="1423316"/>
                    <a:pt x="4510689" y="1393080"/>
                    <a:pt x="4526987" y="1378797"/>
                  </a:cubicBezTo>
                  <a:cubicBezTo>
                    <a:pt x="4543285" y="1364515"/>
                    <a:pt x="4536852" y="1361642"/>
                    <a:pt x="4526001" y="1358253"/>
                  </a:cubicBezTo>
                  <a:cubicBezTo>
                    <a:pt x="4515150" y="1354822"/>
                    <a:pt x="4513134" y="1359411"/>
                    <a:pt x="4504771" y="1359969"/>
                  </a:cubicBezTo>
                  <a:cubicBezTo>
                    <a:pt x="4496365" y="1360526"/>
                    <a:pt x="4488000" y="1339983"/>
                    <a:pt x="4500824" y="1319996"/>
                  </a:cubicBezTo>
                  <a:cubicBezTo>
                    <a:pt x="4513691" y="1300010"/>
                    <a:pt x="4526001" y="1302283"/>
                    <a:pt x="4528960" y="1285728"/>
                  </a:cubicBezTo>
                  <a:cubicBezTo>
                    <a:pt x="4531919" y="1269172"/>
                    <a:pt x="4549676" y="1245712"/>
                    <a:pt x="4554136" y="1237177"/>
                  </a:cubicBezTo>
                  <a:cubicBezTo>
                    <a:pt x="4558597" y="1228599"/>
                    <a:pt x="4576353" y="1237177"/>
                    <a:pt x="4583258" y="1235461"/>
                  </a:cubicBezTo>
                  <a:cubicBezTo>
                    <a:pt x="4590163" y="1233746"/>
                    <a:pt x="4587718" y="1250859"/>
                    <a:pt x="4596082" y="1242281"/>
                  </a:cubicBezTo>
                  <a:cubicBezTo>
                    <a:pt x="4604488" y="1233746"/>
                    <a:pt x="4618299" y="1205181"/>
                    <a:pt x="4629664" y="1205181"/>
                  </a:cubicBezTo>
                  <a:cubicBezTo>
                    <a:pt x="4636140" y="1205181"/>
                    <a:pt x="4636527" y="1212044"/>
                    <a:pt x="4636183" y="1220236"/>
                  </a:cubicBezTo>
                  <a:cubicBezTo>
                    <a:pt x="4644161" y="1220021"/>
                    <a:pt x="4652052" y="1221994"/>
                    <a:pt x="4658358" y="1226369"/>
                  </a:cubicBezTo>
                  <a:cubicBezTo>
                    <a:pt x="4661102" y="1223795"/>
                    <a:pt x="4664190" y="1221050"/>
                    <a:pt x="4667707" y="1218306"/>
                  </a:cubicBezTo>
                  <a:cubicBezTo>
                    <a:pt x="4689409" y="1201150"/>
                    <a:pt x="4736801" y="1202865"/>
                    <a:pt x="4751127" y="1210886"/>
                  </a:cubicBezTo>
                  <a:cubicBezTo>
                    <a:pt x="4755931" y="1213588"/>
                    <a:pt x="4759404" y="1217491"/>
                    <a:pt x="4762192" y="1221436"/>
                  </a:cubicBezTo>
                  <a:cubicBezTo>
                    <a:pt x="4781278" y="1211057"/>
                    <a:pt x="4798133" y="1195488"/>
                    <a:pt x="4815160" y="1182450"/>
                  </a:cubicBezTo>
                  <a:cubicBezTo>
                    <a:pt x="4851444" y="1154615"/>
                    <a:pt x="4890302" y="1129782"/>
                    <a:pt x="4933921" y="1121633"/>
                  </a:cubicBezTo>
                  <a:cubicBezTo>
                    <a:pt x="4964930" y="1113484"/>
                    <a:pt x="5004859" y="1089809"/>
                    <a:pt x="5002930" y="1082432"/>
                  </a:cubicBezTo>
                  <a:cubicBezTo>
                    <a:pt x="5000957" y="1075012"/>
                    <a:pt x="5014767" y="1071581"/>
                    <a:pt x="5016269" y="1079001"/>
                  </a:cubicBezTo>
                  <a:cubicBezTo>
                    <a:pt x="5017726" y="1086421"/>
                    <a:pt x="5029564" y="1083590"/>
                    <a:pt x="5045905" y="1087579"/>
                  </a:cubicBezTo>
                  <a:cubicBezTo>
                    <a:pt x="5062203" y="1091611"/>
                    <a:pt x="5069623" y="1099030"/>
                    <a:pt x="5082447" y="1084148"/>
                  </a:cubicBezTo>
                  <a:cubicBezTo>
                    <a:pt x="5088022" y="1077714"/>
                    <a:pt x="5088451" y="1073082"/>
                    <a:pt x="5087251" y="1069008"/>
                  </a:cubicBezTo>
                  <a:cubicBezTo>
                    <a:pt x="5082361" y="1067421"/>
                    <a:pt x="5077257" y="1066392"/>
                    <a:pt x="5071638" y="1065448"/>
                  </a:cubicBezTo>
                  <a:cubicBezTo>
                    <a:pt x="5056541" y="1062918"/>
                    <a:pt x="5048479" y="1052067"/>
                    <a:pt x="5046248" y="1039500"/>
                  </a:cubicBezTo>
                  <a:cubicBezTo>
                    <a:pt x="5032009" y="1027105"/>
                    <a:pt x="5019657" y="1012866"/>
                    <a:pt x="5011636" y="995710"/>
                  </a:cubicBezTo>
                  <a:cubicBezTo>
                    <a:pt x="5004732" y="980956"/>
                    <a:pt x="5007004" y="962599"/>
                    <a:pt x="5016611" y="950891"/>
                  </a:cubicBezTo>
                  <a:cubicBezTo>
                    <a:pt x="5015068" y="949647"/>
                    <a:pt x="5012794" y="949776"/>
                    <a:pt x="5009406" y="952220"/>
                  </a:cubicBezTo>
                  <a:cubicBezTo>
                    <a:pt x="5000056" y="959083"/>
                    <a:pt x="4984230" y="955651"/>
                    <a:pt x="4981270" y="945401"/>
                  </a:cubicBezTo>
                  <a:cubicBezTo>
                    <a:pt x="4978268" y="935107"/>
                    <a:pt x="4999541" y="927688"/>
                    <a:pt x="5014339" y="934550"/>
                  </a:cubicBezTo>
                  <a:cubicBezTo>
                    <a:pt x="5020857" y="937552"/>
                    <a:pt x="5023646" y="940554"/>
                    <a:pt x="5025361" y="943428"/>
                  </a:cubicBezTo>
                  <a:cubicBezTo>
                    <a:pt x="5030208" y="940640"/>
                    <a:pt x="5035954" y="939010"/>
                    <a:pt x="5042602" y="939225"/>
                  </a:cubicBezTo>
                  <a:cubicBezTo>
                    <a:pt x="5047063" y="930647"/>
                    <a:pt x="5054526" y="923913"/>
                    <a:pt x="5064390" y="921769"/>
                  </a:cubicBezTo>
                  <a:cubicBezTo>
                    <a:pt x="5082103" y="917952"/>
                    <a:pt x="5099602" y="916236"/>
                    <a:pt x="5117016" y="915979"/>
                  </a:cubicBezTo>
                  <a:cubicBezTo>
                    <a:pt x="5117616" y="911347"/>
                    <a:pt x="5117444" y="908044"/>
                    <a:pt x="5124006" y="904227"/>
                  </a:cubicBezTo>
                  <a:cubicBezTo>
                    <a:pt x="5133871" y="898523"/>
                    <a:pt x="5126451" y="886514"/>
                    <a:pt x="5118088" y="881410"/>
                  </a:cubicBezTo>
                  <a:cubicBezTo>
                    <a:pt x="5109682" y="876263"/>
                    <a:pt x="5111654" y="862582"/>
                    <a:pt x="5120575" y="862582"/>
                  </a:cubicBezTo>
                  <a:cubicBezTo>
                    <a:pt x="5129453" y="862582"/>
                    <a:pt x="5127008" y="850573"/>
                    <a:pt x="5132927" y="850015"/>
                  </a:cubicBezTo>
                  <a:cubicBezTo>
                    <a:pt x="5138889" y="849458"/>
                    <a:pt x="5139833" y="855162"/>
                    <a:pt x="5150726" y="848900"/>
                  </a:cubicBezTo>
                  <a:cubicBezTo>
                    <a:pt x="5161577" y="842595"/>
                    <a:pt x="5151198" y="858593"/>
                    <a:pt x="5146308" y="869444"/>
                  </a:cubicBezTo>
                  <a:cubicBezTo>
                    <a:pt x="5141376" y="880252"/>
                    <a:pt x="5156688" y="889387"/>
                    <a:pt x="5158146" y="895692"/>
                  </a:cubicBezTo>
                  <a:cubicBezTo>
                    <a:pt x="5159604" y="901997"/>
                    <a:pt x="5180834" y="904227"/>
                    <a:pt x="5192715" y="896807"/>
                  </a:cubicBezTo>
                  <a:cubicBezTo>
                    <a:pt x="5204552" y="889387"/>
                    <a:pt x="5242596" y="905943"/>
                    <a:pt x="5245040" y="916794"/>
                  </a:cubicBezTo>
                  <a:cubicBezTo>
                    <a:pt x="5246455" y="923013"/>
                    <a:pt x="5248943" y="930004"/>
                    <a:pt x="5253703" y="936566"/>
                  </a:cubicBezTo>
                  <a:cubicBezTo>
                    <a:pt x="5266271" y="939739"/>
                    <a:pt x="5278880" y="942999"/>
                    <a:pt x="5291446" y="946173"/>
                  </a:cubicBezTo>
                  <a:cubicBezTo>
                    <a:pt x="5307615" y="950247"/>
                    <a:pt x="5315550" y="961999"/>
                    <a:pt x="5317137" y="974909"/>
                  </a:cubicBezTo>
                  <a:cubicBezTo>
                    <a:pt x="5317951" y="974823"/>
                    <a:pt x="5318767" y="974694"/>
                    <a:pt x="5319625" y="974480"/>
                  </a:cubicBezTo>
                  <a:cubicBezTo>
                    <a:pt x="5328503" y="972207"/>
                    <a:pt x="5333435" y="983615"/>
                    <a:pt x="5339868" y="976753"/>
                  </a:cubicBezTo>
                  <a:cubicBezTo>
                    <a:pt x="5346302" y="969891"/>
                    <a:pt x="5349733" y="980785"/>
                    <a:pt x="5358139" y="972207"/>
                  </a:cubicBezTo>
                  <a:cubicBezTo>
                    <a:pt x="5366545" y="963629"/>
                    <a:pt x="5339868" y="957924"/>
                    <a:pt x="5343343" y="951062"/>
                  </a:cubicBezTo>
                  <a:cubicBezTo>
                    <a:pt x="5346816" y="944200"/>
                    <a:pt x="5352220" y="956209"/>
                    <a:pt x="5359641" y="955651"/>
                  </a:cubicBezTo>
                  <a:cubicBezTo>
                    <a:pt x="5367060" y="955094"/>
                    <a:pt x="5357667" y="938539"/>
                    <a:pt x="5363114" y="936780"/>
                  </a:cubicBezTo>
                  <a:cubicBezTo>
                    <a:pt x="5368518" y="935065"/>
                    <a:pt x="5364100" y="900839"/>
                    <a:pt x="5358139" y="898523"/>
                  </a:cubicBezTo>
                  <a:cubicBezTo>
                    <a:pt x="5352220" y="896250"/>
                    <a:pt x="5357153" y="884241"/>
                    <a:pt x="5368518" y="893934"/>
                  </a:cubicBezTo>
                  <a:cubicBezTo>
                    <a:pt x="5379841" y="903670"/>
                    <a:pt x="5397640" y="903069"/>
                    <a:pt x="5406046" y="903069"/>
                  </a:cubicBezTo>
                  <a:cubicBezTo>
                    <a:pt x="5414452" y="903069"/>
                    <a:pt x="5406518" y="893934"/>
                    <a:pt x="5398155" y="892218"/>
                  </a:cubicBezTo>
                  <a:cubicBezTo>
                    <a:pt x="5389748" y="890502"/>
                    <a:pt x="5399613" y="882482"/>
                    <a:pt x="5405532" y="888787"/>
                  </a:cubicBezTo>
                  <a:cubicBezTo>
                    <a:pt x="5411450" y="895092"/>
                    <a:pt x="5422817" y="897922"/>
                    <a:pt x="5423803" y="891060"/>
                  </a:cubicBezTo>
                  <a:cubicBezTo>
                    <a:pt x="5424789" y="884198"/>
                    <a:pt x="5430708" y="869401"/>
                    <a:pt x="5441087" y="869959"/>
                  </a:cubicBezTo>
                  <a:cubicBezTo>
                    <a:pt x="5441945" y="870001"/>
                    <a:pt x="5442717" y="869916"/>
                    <a:pt x="5443446" y="869873"/>
                  </a:cubicBezTo>
                  <a:cubicBezTo>
                    <a:pt x="5399142" y="835261"/>
                    <a:pt x="5347073" y="814674"/>
                    <a:pt x="5295092" y="793916"/>
                  </a:cubicBezTo>
                  <a:close/>
                  <a:moveTo>
                    <a:pt x="2691411" y="1609456"/>
                  </a:moveTo>
                  <a:cubicBezTo>
                    <a:pt x="2663275" y="1638578"/>
                    <a:pt x="2606962" y="1645440"/>
                    <a:pt x="2606962" y="1669415"/>
                  </a:cubicBezTo>
                  <a:cubicBezTo>
                    <a:pt x="2606962" y="1693390"/>
                    <a:pt x="2538853" y="1705399"/>
                    <a:pt x="2532892" y="1695106"/>
                  </a:cubicBezTo>
                  <a:cubicBezTo>
                    <a:pt x="2527702" y="1686099"/>
                    <a:pt x="2583287" y="1683140"/>
                    <a:pt x="2596582" y="1648828"/>
                  </a:cubicBezTo>
                  <a:cubicBezTo>
                    <a:pt x="2609921" y="1614560"/>
                    <a:pt x="2660488" y="1596932"/>
                    <a:pt x="2685449" y="1551169"/>
                  </a:cubicBezTo>
                  <a:cubicBezTo>
                    <a:pt x="2703205" y="1518659"/>
                    <a:pt x="2718045" y="1468951"/>
                    <a:pt x="2728382" y="1472382"/>
                  </a:cubicBezTo>
                  <a:cubicBezTo>
                    <a:pt x="2738804" y="1475856"/>
                    <a:pt x="2719546" y="1580334"/>
                    <a:pt x="2691411" y="1609456"/>
                  </a:cubicBezTo>
                  <a:close/>
                </a:path>
              </a:pathLst>
            </a:custGeom>
            <a:grpFill/>
            <a:ln w="1905" cap="flat">
              <a:solidFill>
                <a:schemeClr val="bg1"/>
              </a:solidFill>
              <a:prstDash val="solid"/>
              <a:miter/>
            </a:ln>
          </p:spPr>
          <p:txBody>
            <a:bodyPr rtlCol="0" anchor="ctr"/>
            <a:lstStyle/>
            <a:p>
              <a:endParaRPr lang="en-US" dirty="0">
                <a:sym typeface="+mn-lt"/>
              </a:endParaRPr>
            </a:p>
          </p:txBody>
        </p:sp>
        <p:grpSp>
          <p:nvGrpSpPr>
            <p:cNvPr id="193" name="Group 11">
              <a:extLst>
                <a:ext uri="{FF2B5EF4-FFF2-40B4-BE49-F238E27FC236}">
                  <a16:creationId xmlns:a16="http://schemas.microsoft.com/office/drawing/2014/main" id="{4327CF52-ED7C-BBA6-B3F6-A78036C73640}"/>
                </a:ext>
              </a:extLst>
            </p:cNvPr>
            <p:cNvGrpSpPr/>
            <p:nvPr/>
          </p:nvGrpSpPr>
          <p:grpSpPr>
            <a:xfrm>
              <a:off x="8092603" y="1215052"/>
              <a:ext cx="3795773" cy="3595413"/>
              <a:chOff x="8092603" y="1215052"/>
              <a:chExt cx="3795773" cy="3595413"/>
            </a:xfrm>
            <a:grpFill/>
          </p:grpSpPr>
          <p:sp>
            <p:nvSpPr>
              <p:cNvPr id="194" name="Freeform: Shape 122">
                <a:extLst>
                  <a:ext uri="{FF2B5EF4-FFF2-40B4-BE49-F238E27FC236}">
                    <a16:creationId xmlns:a16="http://schemas.microsoft.com/office/drawing/2014/main" id="{989A1B79-E95C-9108-D4AF-E0467854DA44}"/>
                  </a:ext>
                </a:extLst>
              </p:cNvPr>
              <p:cNvSpPr/>
              <p:nvPr/>
            </p:nvSpPr>
            <p:spPr>
              <a:xfrm>
                <a:off x="10196596" y="3243945"/>
                <a:ext cx="98410" cy="141055"/>
              </a:xfrm>
              <a:custGeom>
                <a:avLst/>
                <a:gdLst>
                  <a:gd name="connsiteX0" fmla="*/ 113978 w 128667"/>
                  <a:gd name="connsiteY0" fmla="*/ 64462 h 184424"/>
                  <a:gd name="connsiteX1" fmla="*/ 113935 w 128667"/>
                  <a:gd name="connsiteY1" fmla="*/ 61375 h 184424"/>
                  <a:gd name="connsiteX2" fmla="*/ 109989 w 128667"/>
                  <a:gd name="connsiteY2" fmla="*/ 58544 h 184424"/>
                  <a:gd name="connsiteX3" fmla="*/ 67957 w 128667"/>
                  <a:gd name="connsiteY3" fmla="*/ 6433 h 184424"/>
                  <a:gd name="connsiteX4" fmla="*/ 61782 w 128667"/>
                  <a:gd name="connsiteY4" fmla="*/ 7291 h 184424"/>
                  <a:gd name="connsiteX5" fmla="*/ 31459 w 128667"/>
                  <a:gd name="connsiteY5" fmla="*/ 14925 h 184424"/>
                  <a:gd name="connsiteX6" fmla="*/ 11773 w 128667"/>
                  <a:gd name="connsiteY6" fmla="*/ 32038 h 184424"/>
                  <a:gd name="connsiteX7" fmla="*/ 22152 w 128667"/>
                  <a:gd name="connsiteY7" fmla="*/ 52496 h 184424"/>
                  <a:gd name="connsiteX8" fmla="*/ 20179 w 128667"/>
                  <a:gd name="connsiteY8" fmla="*/ 69052 h 184424"/>
                  <a:gd name="connsiteX9" fmla="*/ 18678 w 128667"/>
                  <a:gd name="connsiteY9" fmla="*/ 104478 h 184424"/>
                  <a:gd name="connsiteX10" fmla="*/ 7826 w 128667"/>
                  <a:gd name="connsiteY10" fmla="*/ 151313 h 184424"/>
                  <a:gd name="connsiteX11" fmla="*/ 12759 w 128667"/>
                  <a:gd name="connsiteY11" fmla="*/ 177004 h 184424"/>
                  <a:gd name="connsiteX12" fmla="*/ 76449 w 128667"/>
                  <a:gd name="connsiteY12" fmla="*/ 153029 h 184424"/>
                  <a:gd name="connsiteX13" fmla="*/ 109046 w 128667"/>
                  <a:gd name="connsiteY13" fmla="*/ 137031 h 184424"/>
                  <a:gd name="connsiteX14" fmla="*/ 122856 w 128667"/>
                  <a:gd name="connsiteY14" fmla="*/ 120476 h 184424"/>
                  <a:gd name="connsiteX15" fmla="*/ 113978 w 128667"/>
                  <a:gd name="connsiteY15" fmla="*/ 64462 h 184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667" h="184424">
                    <a:moveTo>
                      <a:pt x="113978" y="64462"/>
                    </a:moveTo>
                    <a:cubicBezTo>
                      <a:pt x="114020" y="63476"/>
                      <a:pt x="114020" y="62447"/>
                      <a:pt x="113935" y="61375"/>
                    </a:cubicBezTo>
                    <a:cubicBezTo>
                      <a:pt x="112605" y="60474"/>
                      <a:pt x="111233" y="59616"/>
                      <a:pt x="109989" y="58544"/>
                    </a:cubicBezTo>
                    <a:cubicBezTo>
                      <a:pt x="92790" y="44347"/>
                      <a:pt x="76965" y="26977"/>
                      <a:pt x="67957" y="6433"/>
                    </a:cubicBezTo>
                    <a:cubicBezTo>
                      <a:pt x="66070" y="6948"/>
                      <a:pt x="64055" y="7291"/>
                      <a:pt x="61782" y="7291"/>
                    </a:cubicBezTo>
                    <a:cubicBezTo>
                      <a:pt x="49901" y="7291"/>
                      <a:pt x="36734" y="8835"/>
                      <a:pt x="31459" y="14925"/>
                    </a:cubicBezTo>
                    <a:cubicBezTo>
                      <a:pt x="28456" y="18399"/>
                      <a:pt x="19492" y="24876"/>
                      <a:pt x="11773" y="32038"/>
                    </a:cubicBezTo>
                    <a:cubicBezTo>
                      <a:pt x="15547" y="39286"/>
                      <a:pt x="14818" y="51682"/>
                      <a:pt x="22152" y="52496"/>
                    </a:cubicBezTo>
                    <a:cubicBezTo>
                      <a:pt x="32531" y="53654"/>
                      <a:pt x="31544" y="71925"/>
                      <a:pt x="20179" y="69052"/>
                    </a:cubicBezTo>
                    <a:cubicBezTo>
                      <a:pt x="8856" y="66178"/>
                      <a:pt x="8813" y="86765"/>
                      <a:pt x="18678" y="104478"/>
                    </a:cubicBezTo>
                    <a:cubicBezTo>
                      <a:pt x="28585" y="122149"/>
                      <a:pt x="-64" y="142178"/>
                      <a:pt x="7826" y="151313"/>
                    </a:cubicBezTo>
                    <a:cubicBezTo>
                      <a:pt x="15718" y="160406"/>
                      <a:pt x="9328" y="171300"/>
                      <a:pt x="12759" y="177004"/>
                    </a:cubicBezTo>
                    <a:cubicBezTo>
                      <a:pt x="16233" y="182708"/>
                      <a:pt x="58178" y="174731"/>
                      <a:pt x="76449" y="153029"/>
                    </a:cubicBezTo>
                    <a:cubicBezTo>
                      <a:pt x="94720" y="131284"/>
                      <a:pt x="99653" y="134201"/>
                      <a:pt x="109046" y="137031"/>
                    </a:cubicBezTo>
                    <a:cubicBezTo>
                      <a:pt x="118438" y="139905"/>
                      <a:pt x="127831" y="129011"/>
                      <a:pt x="122856" y="120476"/>
                    </a:cubicBezTo>
                    <a:cubicBezTo>
                      <a:pt x="117966" y="111898"/>
                      <a:pt x="112520" y="90797"/>
                      <a:pt x="113978" y="64462"/>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95" name="Freeform: Shape 123">
                <a:extLst>
                  <a:ext uri="{FF2B5EF4-FFF2-40B4-BE49-F238E27FC236}">
                    <a16:creationId xmlns:a16="http://schemas.microsoft.com/office/drawing/2014/main" id="{6433AEB5-16B5-E6BD-3FA5-5BFE1155326A}"/>
                  </a:ext>
                </a:extLst>
              </p:cNvPr>
              <p:cNvSpPr/>
              <p:nvPr/>
            </p:nvSpPr>
            <p:spPr>
              <a:xfrm>
                <a:off x="9237609" y="3641570"/>
                <a:ext cx="114812" cy="173858"/>
              </a:xfrm>
              <a:custGeom>
                <a:avLst/>
                <a:gdLst>
                  <a:gd name="connsiteX0" fmla="*/ 146377 w 150112"/>
                  <a:gd name="connsiteY0" fmla="*/ 186464 h 227313"/>
                  <a:gd name="connsiteX1" fmla="*/ 132867 w 150112"/>
                  <a:gd name="connsiteY1" fmla="*/ 111879 h 227313"/>
                  <a:gd name="connsiteX2" fmla="*/ 108892 w 150112"/>
                  <a:gd name="connsiteY2" fmla="*/ 141945 h 227313"/>
                  <a:gd name="connsiteX3" fmla="*/ 110864 w 150112"/>
                  <a:gd name="connsiteY3" fmla="*/ 100299 h 227313"/>
                  <a:gd name="connsiteX4" fmla="*/ 136855 w 150112"/>
                  <a:gd name="connsiteY4" fmla="*/ 60927 h 227313"/>
                  <a:gd name="connsiteX5" fmla="*/ 112880 w 150112"/>
                  <a:gd name="connsiteY5" fmla="*/ 51705 h 227313"/>
                  <a:gd name="connsiteX6" fmla="*/ 74837 w 150112"/>
                  <a:gd name="connsiteY6" fmla="*/ 54022 h 227313"/>
                  <a:gd name="connsiteX7" fmla="*/ 58797 w 150112"/>
                  <a:gd name="connsiteY7" fmla="*/ 35493 h 227313"/>
                  <a:gd name="connsiteX8" fmla="*/ 36794 w 150112"/>
                  <a:gd name="connsiteY8" fmla="*/ 14649 h 227313"/>
                  <a:gd name="connsiteX9" fmla="*/ 8788 w 150112"/>
                  <a:gd name="connsiteY9" fmla="*/ 14649 h 227313"/>
                  <a:gd name="connsiteX10" fmla="*/ 30790 w 150112"/>
                  <a:gd name="connsiteY10" fmla="*/ 47073 h 227313"/>
                  <a:gd name="connsiteX11" fmla="*/ 12777 w 150112"/>
                  <a:gd name="connsiteY11" fmla="*/ 63243 h 227313"/>
                  <a:gd name="connsiteX12" fmla="*/ 20797 w 150112"/>
                  <a:gd name="connsiteY12" fmla="*/ 121100 h 227313"/>
                  <a:gd name="connsiteX13" fmla="*/ 32548 w 150112"/>
                  <a:gd name="connsiteY13" fmla="*/ 191782 h 227313"/>
                  <a:gd name="connsiteX14" fmla="*/ 54851 w 150112"/>
                  <a:gd name="connsiteY14" fmla="*/ 184705 h 227313"/>
                  <a:gd name="connsiteX15" fmla="*/ 81485 w 150112"/>
                  <a:gd name="connsiteY15" fmla="*/ 169865 h 227313"/>
                  <a:gd name="connsiteX16" fmla="*/ 101729 w 150112"/>
                  <a:gd name="connsiteY16" fmla="*/ 150994 h 227313"/>
                  <a:gd name="connsiteX17" fmla="*/ 119528 w 150112"/>
                  <a:gd name="connsiteY17" fmla="*/ 203534 h 227313"/>
                  <a:gd name="connsiteX18" fmla="*/ 124718 w 150112"/>
                  <a:gd name="connsiteY18" fmla="*/ 223005 h 227313"/>
                  <a:gd name="connsiteX19" fmla="*/ 136684 w 150112"/>
                  <a:gd name="connsiteY19" fmla="*/ 211682 h 227313"/>
                  <a:gd name="connsiteX20" fmla="*/ 146377 w 150112"/>
                  <a:gd name="connsiteY20" fmla="*/ 186464 h 22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0112" h="227313">
                    <a:moveTo>
                      <a:pt x="146377" y="186464"/>
                    </a:moveTo>
                    <a:cubicBezTo>
                      <a:pt x="140501" y="148592"/>
                      <a:pt x="137198" y="111879"/>
                      <a:pt x="132867" y="111879"/>
                    </a:cubicBezTo>
                    <a:cubicBezTo>
                      <a:pt x="126862" y="111879"/>
                      <a:pt x="118885" y="144261"/>
                      <a:pt x="108892" y="141945"/>
                    </a:cubicBezTo>
                    <a:cubicBezTo>
                      <a:pt x="98855" y="139628"/>
                      <a:pt x="98855" y="100299"/>
                      <a:pt x="110864" y="100299"/>
                    </a:cubicBezTo>
                    <a:cubicBezTo>
                      <a:pt x="122874" y="100299"/>
                      <a:pt x="136855" y="70191"/>
                      <a:pt x="136855" y="60927"/>
                    </a:cubicBezTo>
                    <a:cubicBezTo>
                      <a:pt x="136855" y="51705"/>
                      <a:pt x="124889" y="51705"/>
                      <a:pt x="112880" y="51705"/>
                    </a:cubicBezTo>
                    <a:cubicBezTo>
                      <a:pt x="100871" y="51705"/>
                      <a:pt x="74837" y="54022"/>
                      <a:pt x="74837" y="54022"/>
                    </a:cubicBezTo>
                    <a:cubicBezTo>
                      <a:pt x="74837" y="54022"/>
                      <a:pt x="58797" y="47116"/>
                      <a:pt x="58797" y="35493"/>
                    </a:cubicBezTo>
                    <a:cubicBezTo>
                      <a:pt x="58797" y="23913"/>
                      <a:pt x="52792" y="14649"/>
                      <a:pt x="36794" y="14649"/>
                    </a:cubicBezTo>
                    <a:cubicBezTo>
                      <a:pt x="20840" y="14649"/>
                      <a:pt x="20840" y="-3836"/>
                      <a:pt x="8788" y="14649"/>
                    </a:cubicBezTo>
                    <a:cubicBezTo>
                      <a:pt x="-3221" y="33177"/>
                      <a:pt x="34822" y="33177"/>
                      <a:pt x="30790" y="47073"/>
                    </a:cubicBezTo>
                    <a:cubicBezTo>
                      <a:pt x="26759" y="60927"/>
                      <a:pt x="14749" y="51705"/>
                      <a:pt x="12777" y="63243"/>
                    </a:cubicBezTo>
                    <a:cubicBezTo>
                      <a:pt x="10761" y="74823"/>
                      <a:pt x="14792" y="104888"/>
                      <a:pt x="20797" y="121100"/>
                    </a:cubicBezTo>
                    <a:cubicBezTo>
                      <a:pt x="25386" y="133581"/>
                      <a:pt x="32291" y="165191"/>
                      <a:pt x="32548" y="191782"/>
                    </a:cubicBezTo>
                    <a:cubicBezTo>
                      <a:pt x="41856" y="189723"/>
                      <a:pt x="46230" y="184705"/>
                      <a:pt x="54851" y="184705"/>
                    </a:cubicBezTo>
                    <a:cubicBezTo>
                      <a:pt x="65702" y="184705"/>
                      <a:pt x="80499" y="183032"/>
                      <a:pt x="81485" y="169865"/>
                    </a:cubicBezTo>
                    <a:cubicBezTo>
                      <a:pt x="82472" y="156741"/>
                      <a:pt x="94824" y="147048"/>
                      <a:pt x="101729" y="150994"/>
                    </a:cubicBezTo>
                    <a:cubicBezTo>
                      <a:pt x="108677" y="155026"/>
                      <a:pt x="119013" y="186978"/>
                      <a:pt x="119528" y="203534"/>
                    </a:cubicBezTo>
                    <a:cubicBezTo>
                      <a:pt x="119699" y="208809"/>
                      <a:pt x="121673" y="215800"/>
                      <a:pt x="124718" y="223005"/>
                    </a:cubicBezTo>
                    <a:cubicBezTo>
                      <a:pt x="130250" y="216701"/>
                      <a:pt x="136684" y="211682"/>
                      <a:pt x="136684" y="211682"/>
                    </a:cubicBezTo>
                    <a:cubicBezTo>
                      <a:pt x="136684" y="211682"/>
                      <a:pt x="140844" y="194141"/>
                      <a:pt x="146377" y="18646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96" name="Freeform: Shape 125">
                <a:extLst>
                  <a:ext uri="{FF2B5EF4-FFF2-40B4-BE49-F238E27FC236}">
                    <a16:creationId xmlns:a16="http://schemas.microsoft.com/office/drawing/2014/main" id="{02784980-59D2-CD7C-FC56-C8EF96EDB08B}"/>
                  </a:ext>
                </a:extLst>
              </p:cNvPr>
              <p:cNvSpPr/>
              <p:nvPr/>
            </p:nvSpPr>
            <p:spPr>
              <a:xfrm>
                <a:off x="9231930" y="2733473"/>
                <a:ext cx="810244" cy="403481"/>
              </a:xfrm>
              <a:custGeom>
                <a:avLst/>
                <a:gdLst>
                  <a:gd name="connsiteX0" fmla="*/ 1011973 w 1059365"/>
                  <a:gd name="connsiteY0" fmla="*/ 223135 h 527538"/>
                  <a:gd name="connsiteX1" fmla="*/ 979720 w 1059365"/>
                  <a:gd name="connsiteY1" fmla="*/ 228110 h 527538"/>
                  <a:gd name="connsiteX2" fmla="*/ 947467 w 1059365"/>
                  <a:gd name="connsiteY2" fmla="*/ 223135 h 527538"/>
                  <a:gd name="connsiteX3" fmla="*/ 913027 w 1059365"/>
                  <a:gd name="connsiteY3" fmla="*/ 220647 h 527538"/>
                  <a:gd name="connsiteX4" fmla="*/ 917316 w 1059365"/>
                  <a:gd name="connsiteY4" fmla="*/ 200746 h 527538"/>
                  <a:gd name="connsiteX5" fmla="*/ 919460 w 1059365"/>
                  <a:gd name="connsiteY5" fmla="*/ 180846 h 527538"/>
                  <a:gd name="connsiteX6" fmla="*/ 946180 w 1059365"/>
                  <a:gd name="connsiteY6" fmla="*/ 119085 h 527538"/>
                  <a:gd name="connsiteX7" fmla="*/ 922034 w 1059365"/>
                  <a:gd name="connsiteY7" fmla="*/ 116383 h 527538"/>
                  <a:gd name="connsiteX8" fmla="*/ 893384 w 1059365"/>
                  <a:gd name="connsiteY8" fmla="*/ 109521 h 527538"/>
                  <a:gd name="connsiteX9" fmla="*/ 851910 w 1059365"/>
                  <a:gd name="connsiteY9" fmla="*/ 107248 h 527538"/>
                  <a:gd name="connsiteX10" fmla="*/ 825276 w 1059365"/>
                  <a:gd name="connsiteY10" fmla="*/ 127792 h 527538"/>
                  <a:gd name="connsiteX11" fmla="*/ 798599 w 1059365"/>
                  <a:gd name="connsiteY11" fmla="*/ 139200 h 527538"/>
                  <a:gd name="connsiteX12" fmla="*/ 755152 w 1059365"/>
                  <a:gd name="connsiteY12" fmla="*/ 151810 h 527538"/>
                  <a:gd name="connsiteX13" fmla="*/ 710719 w 1059365"/>
                  <a:gd name="connsiteY13" fmla="*/ 151810 h 527538"/>
                  <a:gd name="connsiteX14" fmla="*/ 668216 w 1059365"/>
                  <a:gd name="connsiteY14" fmla="*/ 142674 h 527538"/>
                  <a:gd name="connsiteX15" fmla="*/ 650416 w 1059365"/>
                  <a:gd name="connsiteY15" fmla="*/ 120972 h 527538"/>
                  <a:gd name="connsiteX16" fmla="*/ 622753 w 1059365"/>
                  <a:gd name="connsiteY16" fmla="*/ 106133 h 527538"/>
                  <a:gd name="connsiteX17" fmla="*/ 597105 w 1059365"/>
                  <a:gd name="connsiteY17" fmla="*/ 98112 h 527538"/>
                  <a:gd name="connsiteX18" fmla="*/ 566481 w 1059365"/>
                  <a:gd name="connsiteY18" fmla="*/ 90135 h 527538"/>
                  <a:gd name="connsiteX19" fmla="*/ 535859 w 1059365"/>
                  <a:gd name="connsiteY19" fmla="*/ 94681 h 527538"/>
                  <a:gd name="connsiteX20" fmla="*/ 512184 w 1059365"/>
                  <a:gd name="connsiteY20" fmla="*/ 108363 h 527538"/>
                  <a:gd name="connsiteX21" fmla="*/ 482548 w 1059365"/>
                  <a:gd name="connsiteY21" fmla="*/ 98112 h 527538"/>
                  <a:gd name="connsiteX22" fmla="*/ 461789 w 1059365"/>
                  <a:gd name="connsiteY22" fmla="*/ 79884 h 527538"/>
                  <a:gd name="connsiteX23" fmla="*/ 457843 w 1059365"/>
                  <a:gd name="connsiteY23" fmla="*/ 46731 h 527538"/>
                  <a:gd name="connsiteX24" fmla="*/ 425247 w 1059365"/>
                  <a:gd name="connsiteY24" fmla="*/ 35322 h 527538"/>
                  <a:gd name="connsiteX25" fmla="*/ 400543 w 1059365"/>
                  <a:gd name="connsiteY25" fmla="*/ 23871 h 527538"/>
                  <a:gd name="connsiteX26" fmla="*/ 379828 w 1059365"/>
                  <a:gd name="connsiteY26" fmla="*/ 18167 h 527538"/>
                  <a:gd name="connsiteX27" fmla="*/ 355167 w 1059365"/>
                  <a:gd name="connsiteY27" fmla="*/ 6758 h 527538"/>
                  <a:gd name="connsiteX28" fmla="*/ 343286 w 1059365"/>
                  <a:gd name="connsiteY28" fmla="*/ 19324 h 527538"/>
                  <a:gd name="connsiteX29" fmla="*/ 325486 w 1059365"/>
                  <a:gd name="connsiteY29" fmla="*/ 33049 h 527538"/>
                  <a:gd name="connsiteX30" fmla="*/ 311633 w 1059365"/>
                  <a:gd name="connsiteY30" fmla="*/ 52478 h 527538"/>
                  <a:gd name="connsiteX31" fmla="*/ 323471 w 1059365"/>
                  <a:gd name="connsiteY31" fmla="*/ 84430 h 527538"/>
                  <a:gd name="connsiteX32" fmla="*/ 322527 w 1059365"/>
                  <a:gd name="connsiteY32" fmla="*/ 107291 h 527538"/>
                  <a:gd name="connsiteX33" fmla="*/ 294864 w 1059365"/>
                  <a:gd name="connsiteY33" fmla="*/ 123288 h 527538"/>
                  <a:gd name="connsiteX34" fmla="*/ 271189 w 1059365"/>
                  <a:gd name="connsiteY34" fmla="*/ 115268 h 527538"/>
                  <a:gd name="connsiteX35" fmla="*/ 244512 w 1059365"/>
                  <a:gd name="connsiteY35" fmla="*/ 117584 h 527538"/>
                  <a:gd name="connsiteX36" fmla="*/ 216849 w 1059365"/>
                  <a:gd name="connsiteY36" fmla="*/ 105018 h 527538"/>
                  <a:gd name="connsiteX37" fmla="*/ 205997 w 1059365"/>
                  <a:gd name="connsiteY37" fmla="*/ 83316 h 527538"/>
                  <a:gd name="connsiteX38" fmla="*/ 159591 w 1059365"/>
                  <a:gd name="connsiteY38" fmla="*/ 74180 h 527538"/>
                  <a:gd name="connsiteX39" fmla="*/ 135873 w 1059365"/>
                  <a:gd name="connsiteY39" fmla="*/ 78769 h 527538"/>
                  <a:gd name="connsiteX40" fmla="*/ 113142 w 1059365"/>
                  <a:gd name="connsiteY40" fmla="*/ 90178 h 527538"/>
                  <a:gd name="connsiteX41" fmla="*/ 91440 w 1059365"/>
                  <a:gd name="connsiteY41" fmla="*/ 107291 h 527538"/>
                  <a:gd name="connsiteX42" fmla="*/ 65749 w 1059365"/>
                  <a:gd name="connsiteY42" fmla="*/ 124403 h 527538"/>
                  <a:gd name="connsiteX43" fmla="*/ 35169 w 1059365"/>
                  <a:gd name="connsiteY43" fmla="*/ 140401 h 527538"/>
                  <a:gd name="connsiteX44" fmla="*/ 12437 w 1059365"/>
                  <a:gd name="connsiteY44" fmla="*/ 150694 h 527538"/>
                  <a:gd name="connsiteX45" fmla="*/ 6433 w 1059365"/>
                  <a:gd name="connsiteY45" fmla="*/ 153053 h 527538"/>
                  <a:gd name="connsiteX46" fmla="*/ 7506 w 1059365"/>
                  <a:gd name="connsiteY46" fmla="*/ 157685 h 527538"/>
                  <a:gd name="connsiteX47" fmla="*/ 31438 w 1059365"/>
                  <a:gd name="connsiteY47" fmla="*/ 193284 h 527538"/>
                  <a:gd name="connsiteX48" fmla="*/ 61503 w 1059365"/>
                  <a:gd name="connsiteY48" fmla="*/ 212241 h 527538"/>
                  <a:gd name="connsiteX49" fmla="*/ 90196 w 1059365"/>
                  <a:gd name="connsiteY49" fmla="*/ 239132 h 527538"/>
                  <a:gd name="connsiteX50" fmla="*/ 107995 w 1059365"/>
                  <a:gd name="connsiteY50" fmla="*/ 268383 h 527538"/>
                  <a:gd name="connsiteX51" fmla="*/ 105936 w 1059365"/>
                  <a:gd name="connsiteY51" fmla="*/ 307112 h 527538"/>
                  <a:gd name="connsiteX52" fmla="*/ 98388 w 1059365"/>
                  <a:gd name="connsiteY52" fmla="*/ 338721 h 527538"/>
                  <a:gd name="connsiteX53" fmla="*/ 173573 w 1059365"/>
                  <a:gd name="connsiteY53" fmla="*/ 360037 h 527538"/>
                  <a:gd name="connsiteX54" fmla="*/ 198620 w 1059365"/>
                  <a:gd name="connsiteY54" fmla="*/ 377536 h 527538"/>
                  <a:gd name="connsiteX55" fmla="*/ 220150 w 1059365"/>
                  <a:gd name="connsiteY55" fmla="*/ 394949 h 527538"/>
                  <a:gd name="connsiteX56" fmla="*/ 245970 w 1059365"/>
                  <a:gd name="connsiteY56" fmla="*/ 427288 h 527538"/>
                  <a:gd name="connsiteX57" fmla="*/ 265313 w 1059365"/>
                  <a:gd name="connsiteY57" fmla="*/ 467089 h 527538"/>
                  <a:gd name="connsiteX58" fmla="*/ 308331 w 1059365"/>
                  <a:gd name="connsiteY58" fmla="*/ 472064 h 527538"/>
                  <a:gd name="connsiteX59" fmla="*/ 387934 w 1059365"/>
                  <a:gd name="connsiteY59" fmla="*/ 474552 h 527538"/>
                  <a:gd name="connsiteX60" fmla="*/ 448150 w 1059365"/>
                  <a:gd name="connsiteY60" fmla="*/ 489477 h 527538"/>
                  <a:gd name="connsiteX61" fmla="*/ 484735 w 1059365"/>
                  <a:gd name="connsiteY61" fmla="*/ 499427 h 527538"/>
                  <a:gd name="connsiteX62" fmla="*/ 519132 w 1059365"/>
                  <a:gd name="connsiteY62" fmla="*/ 509378 h 527538"/>
                  <a:gd name="connsiteX63" fmla="*/ 544952 w 1059365"/>
                  <a:gd name="connsiteY63" fmla="*/ 524346 h 527538"/>
                  <a:gd name="connsiteX64" fmla="*/ 603066 w 1059365"/>
                  <a:gd name="connsiteY64" fmla="*/ 489520 h 527538"/>
                  <a:gd name="connsiteX65" fmla="*/ 678337 w 1059365"/>
                  <a:gd name="connsiteY65" fmla="*/ 487033 h 527538"/>
                  <a:gd name="connsiteX66" fmla="*/ 738554 w 1059365"/>
                  <a:gd name="connsiteY66" fmla="*/ 457139 h 527538"/>
                  <a:gd name="connsiteX67" fmla="*/ 779427 w 1059365"/>
                  <a:gd name="connsiteY67" fmla="*/ 419825 h 527538"/>
                  <a:gd name="connsiteX68" fmla="*/ 770807 w 1059365"/>
                  <a:gd name="connsiteY68" fmla="*/ 375048 h 527538"/>
                  <a:gd name="connsiteX69" fmla="*/ 803102 w 1059365"/>
                  <a:gd name="connsiteY69" fmla="*/ 365098 h 527538"/>
                  <a:gd name="connsiteX70" fmla="*/ 856886 w 1059365"/>
                  <a:gd name="connsiteY70" fmla="*/ 360123 h 527538"/>
                  <a:gd name="connsiteX71" fmla="*/ 906379 w 1059365"/>
                  <a:gd name="connsiteY71" fmla="*/ 342710 h 527538"/>
                  <a:gd name="connsiteX72" fmla="*/ 936487 w 1059365"/>
                  <a:gd name="connsiteY72" fmla="*/ 310372 h 527538"/>
                  <a:gd name="connsiteX73" fmla="*/ 977404 w 1059365"/>
                  <a:gd name="connsiteY73" fmla="*/ 290428 h 527538"/>
                  <a:gd name="connsiteX74" fmla="*/ 1020422 w 1059365"/>
                  <a:gd name="connsiteY74" fmla="*/ 280478 h 527538"/>
                  <a:gd name="connsiteX75" fmla="*/ 1054862 w 1059365"/>
                  <a:gd name="connsiteY75" fmla="*/ 275503 h 527538"/>
                  <a:gd name="connsiteX76" fmla="*/ 1011973 w 1059365"/>
                  <a:gd name="connsiteY76" fmla="*/ 223135 h 52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059365" h="527538">
                    <a:moveTo>
                      <a:pt x="1011973" y="223135"/>
                    </a:moveTo>
                    <a:cubicBezTo>
                      <a:pt x="1001208" y="208252"/>
                      <a:pt x="984009" y="215715"/>
                      <a:pt x="979720" y="228110"/>
                    </a:cubicBezTo>
                    <a:cubicBezTo>
                      <a:pt x="975388" y="240548"/>
                      <a:pt x="966810" y="223135"/>
                      <a:pt x="947467" y="223135"/>
                    </a:cubicBezTo>
                    <a:cubicBezTo>
                      <a:pt x="928081" y="223135"/>
                      <a:pt x="925937" y="235573"/>
                      <a:pt x="913027" y="220647"/>
                    </a:cubicBezTo>
                    <a:cubicBezTo>
                      <a:pt x="900160" y="205722"/>
                      <a:pt x="917316" y="200746"/>
                      <a:pt x="917316" y="200746"/>
                    </a:cubicBezTo>
                    <a:lnTo>
                      <a:pt x="919460" y="180846"/>
                    </a:lnTo>
                    <a:lnTo>
                      <a:pt x="946180" y="119085"/>
                    </a:lnTo>
                    <a:cubicBezTo>
                      <a:pt x="938546" y="115483"/>
                      <a:pt x="927395" y="114067"/>
                      <a:pt x="922034" y="116383"/>
                    </a:cubicBezTo>
                    <a:cubicBezTo>
                      <a:pt x="914142" y="119814"/>
                      <a:pt x="895357" y="117541"/>
                      <a:pt x="893384" y="109521"/>
                    </a:cubicBezTo>
                    <a:cubicBezTo>
                      <a:pt x="891411" y="101501"/>
                      <a:pt x="859802" y="100385"/>
                      <a:pt x="851910" y="107248"/>
                    </a:cubicBezTo>
                    <a:cubicBezTo>
                      <a:pt x="844019" y="114110"/>
                      <a:pt x="826262" y="119771"/>
                      <a:pt x="825276" y="127792"/>
                    </a:cubicBezTo>
                    <a:cubicBezTo>
                      <a:pt x="824246" y="135812"/>
                      <a:pt x="805547" y="133496"/>
                      <a:pt x="798599" y="139200"/>
                    </a:cubicBezTo>
                    <a:cubicBezTo>
                      <a:pt x="791693" y="144905"/>
                      <a:pt x="756096" y="147220"/>
                      <a:pt x="755152" y="151810"/>
                    </a:cubicBezTo>
                    <a:cubicBezTo>
                      <a:pt x="754165" y="156399"/>
                      <a:pt x="716637" y="157514"/>
                      <a:pt x="710719" y="151810"/>
                    </a:cubicBezTo>
                    <a:cubicBezTo>
                      <a:pt x="704799" y="146105"/>
                      <a:pt x="672204" y="151810"/>
                      <a:pt x="668216" y="142674"/>
                    </a:cubicBezTo>
                    <a:cubicBezTo>
                      <a:pt x="664269" y="133539"/>
                      <a:pt x="650416" y="128950"/>
                      <a:pt x="650416" y="120972"/>
                    </a:cubicBezTo>
                    <a:cubicBezTo>
                      <a:pt x="650416" y="112952"/>
                      <a:pt x="625712" y="112952"/>
                      <a:pt x="622753" y="106133"/>
                    </a:cubicBezTo>
                    <a:cubicBezTo>
                      <a:pt x="619793" y="99270"/>
                      <a:pt x="600021" y="95839"/>
                      <a:pt x="597105" y="98112"/>
                    </a:cubicBezTo>
                    <a:cubicBezTo>
                      <a:pt x="594103" y="100385"/>
                      <a:pt x="572401" y="91250"/>
                      <a:pt x="566481" y="90135"/>
                    </a:cubicBezTo>
                    <a:cubicBezTo>
                      <a:pt x="560563" y="88977"/>
                      <a:pt x="541820" y="94681"/>
                      <a:pt x="535859" y="94681"/>
                    </a:cubicBezTo>
                    <a:cubicBezTo>
                      <a:pt x="529941" y="94681"/>
                      <a:pt x="519046" y="107248"/>
                      <a:pt x="512184" y="108363"/>
                    </a:cubicBezTo>
                    <a:cubicBezTo>
                      <a:pt x="505279" y="109521"/>
                      <a:pt x="486493" y="94681"/>
                      <a:pt x="482548" y="98112"/>
                    </a:cubicBezTo>
                    <a:cubicBezTo>
                      <a:pt x="478601" y="101543"/>
                      <a:pt x="466722" y="86704"/>
                      <a:pt x="461789" y="79884"/>
                    </a:cubicBezTo>
                    <a:cubicBezTo>
                      <a:pt x="456814" y="73022"/>
                      <a:pt x="461789" y="53593"/>
                      <a:pt x="457843" y="46731"/>
                    </a:cubicBezTo>
                    <a:cubicBezTo>
                      <a:pt x="453940" y="39869"/>
                      <a:pt x="432196" y="39869"/>
                      <a:pt x="425247" y="35322"/>
                    </a:cubicBezTo>
                    <a:cubicBezTo>
                      <a:pt x="418342" y="30733"/>
                      <a:pt x="407448" y="23871"/>
                      <a:pt x="400543" y="23871"/>
                    </a:cubicBezTo>
                    <a:cubicBezTo>
                      <a:pt x="393638" y="23871"/>
                      <a:pt x="382787" y="21598"/>
                      <a:pt x="379828" y="18167"/>
                    </a:cubicBezTo>
                    <a:cubicBezTo>
                      <a:pt x="376868" y="14735"/>
                      <a:pt x="362071" y="9031"/>
                      <a:pt x="355167" y="6758"/>
                    </a:cubicBezTo>
                    <a:cubicBezTo>
                      <a:pt x="348218" y="4485"/>
                      <a:pt x="347232" y="14735"/>
                      <a:pt x="343286" y="19324"/>
                    </a:cubicBezTo>
                    <a:cubicBezTo>
                      <a:pt x="339340" y="23914"/>
                      <a:pt x="327459" y="25072"/>
                      <a:pt x="325486" y="33049"/>
                    </a:cubicBezTo>
                    <a:cubicBezTo>
                      <a:pt x="323471" y="41026"/>
                      <a:pt x="309661" y="43300"/>
                      <a:pt x="311633" y="52478"/>
                    </a:cubicBezTo>
                    <a:cubicBezTo>
                      <a:pt x="313649" y="61614"/>
                      <a:pt x="318582" y="79927"/>
                      <a:pt x="323471" y="84430"/>
                    </a:cubicBezTo>
                    <a:cubicBezTo>
                      <a:pt x="328446" y="89020"/>
                      <a:pt x="325486" y="102701"/>
                      <a:pt x="322527" y="107291"/>
                    </a:cubicBezTo>
                    <a:cubicBezTo>
                      <a:pt x="319568" y="111837"/>
                      <a:pt x="298809" y="115268"/>
                      <a:pt x="294864" y="123288"/>
                    </a:cubicBezTo>
                    <a:cubicBezTo>
                      <a:pt x="290917" y="131266"/>
                      <a:pt x="281054" y="122130"/>
                      <a:pt x="271189" y="115268"/>
                    </a:cubicBezTo>
                    <a:cubicBezTo>
                      <a:pt x="261324" y="108406"/>
                      <a:pt x="249444" y="112995"/>
                      <a:pt x="244512" y="117584"/>
                    </a:cubicBezTo>
                    <a:cubicBezTo>
                      <a:pt x="239579" y="122130"/>
                      <a:pt x="221823" y="106175"/>
                      <a:pt x="216849" y="105018"/>
                    </a:cubicBezTo>
                    <a:cubicBezTo>
                      <a:pt x="211916" y="103902"/>
                      <a:pt x="210929" y="82200"/>
                      <a:pt x="205997" y="83316"/>
                    </a:cubicBezTo>
                    <a:cubicBezTo>
                      <a:pt x="201065" y="84430"/>
                      <a:pt x="166496" y="76496"/>
                      <a:pt x="159591" y="74180"/>
                    </a:cubicBezTo>
                    <a:cubicBezTo>
                      <a:pt x="152643" y="71907"/>
                      <a:pt x="137846" y="73065"/>
                      <a:pt x="135873" y="78769"/>
                    </a:cubicBezTo>
                    <a:cubicBezTo>
                      <a:pt x="133857" y="84516"/>
                      <a:pt x="116101" y="83358"/>
                      <a:pt x="113142" y="90178"/>
                    </a:cubicBezTo>
                    <a:cubicBezTo>
                      <a:pt x="110182" y="97040"/>
                      <a:pt x="96372" y="100471"/>
                      <a:pt x="91440" y="107291"/>
                    </a:cubicBezTo>
                    <a:cubicBezTo>
                      <a:pt x="86464" y="114153"/>
                      <a:pt x="69695" y="114153"/>
                      <a:pt x="65749" y="124403"/>
                    </a:cubicBezTo>
                    <a:cubicBezTo>
                      <a:pt x="61846" y="134697"/>
                      <a:pt x="41088" y="139243"/>
                      <a:pt x="35169" y="140401"/>
                    </a:cubicBezTo>
                    <a:cubicBezTo>
                      <a:pt x="29250" y="141559"/>
                      <a:pt x="13424" y="144990"/>
                      <a:pt x="12437" y="150694"/>
                    </a:cubicBezTo>
                    <a:cubicBezTo>
                      <a:pt x="12009" y="153139"/>
                      <a:pt x="9521" y="153482"/>
                      <a:pt x="6433" y="153053"/>
                    </a:cubicBezTo>
                    <a:cubicBezTo>
                      <a:pt x="6819" y="154598"/>
                      <a:pt x="7248" y="155970"/>
                      <a:pt x="7506" y="157685"/>
                    </a:cubicBezTo>
                    <a:cubicBezTo>
                      <a:pt x="11623" y="183762"/>
                      <a:pt x="21187" y="182990"/>
                      <a:pt x="31438" y="193284"/>
                    </a:cubicBezTo>
                    <a:cubicBezTo>
                      <a:pt x="41688" y="203534"/>
                      <a:pt x="50566" y="211426"/>
                      <a:pt x="61503" y="212241"/>
                    </a:cubicBezTo>
                    <a:cubicBezTo>
                      <a:pt x="72440" y="213056"/>
                      <a:pt x="88867" y="228024"/>
                      <a:pt x="90196" y="239132"/>
                    </a:cubicBezTo>
                    <a:cubicBezTo>
                      <a:pt x="91569" y="250155"/>
                      <a:pt x="101819" y="262807"/>
                      <a:pt x="107995" y="268383"/>
                    </a:cubicBezTo>
                    <a:cubicBezTo>
                      <a:pt x="114128" y="273916"/>
                      <a:pt x="105936" y="292873"/>
                      <a:pt x="105936" y="307112"/>
                    </a:cubicBezTo>
                    <a:cubicBezTo>
                      <a:pt x="105936" y="321308"/>
                      <a:pt x="90882" y="324482"/>
                      <a:pt x="98388" y="338721"/>
                    </a:cubicBezTo>
                    <a:cubicBezTo>
                      <a:pt x="105936" y="352918"/>
                      <a:pt x="158519" y="360037"/>
                      <a:pt x="173573" y="360037"/>
                    </a:cubicBezTo>
                    <a:cubicBezTo>
                      <a:pt x="188627" y="360037"/>
                      <a:pt x="194074" y="376678"/>
                      <a:pt x="198620" y="377536"/>
                    </a:cubicBezTo>
                    <a:cubicBezTo>
                      <a:pt x="208098" y="379337"/>
                      <a:pt x="209342" y="392461"/>
                      <a:pt x="220150" y="394949"/>
                    </a:cubicBezTo>
                    <a:cubicBezTo>
                      <a:pt x="230915" y="397437"/>
                      <a:pt x="241638" y="404899"/>
                      <a:pt x="245970" y="427288"/>
                    </a:cubicBezTo>
                    <a:cubicBezTo>
                      <a:pt x="250258" y="449633"/>
                      <a:pt x="263168" y="457139"/>
                      <a:pt x="265313" y="467089"/>
                    </a:cubicBezTo>
                    <a:cubicBezTo>
                      <a:pt x="267457" y="477039"/>
                      <a:pt x="291175" y="469577"/>
                      <a:pt x="308331" y="472064"/>
                    </a:cubicBezTo>
                    <a:cubicBezTo>
                      <a:pt x="325529" y="474552"/>
                      <a:pt x="375024" y="472064"/>
                      <a:pt x="387934" y="474552"/>
                    </a:cubicBezTo>
                    <a:cubicBezTo>
                      <a:pt x="400843" y="477039"/>
                      <a:pt x="430952" y="474552"/>
                      <a:pt x="448150" y="489477"/>
                    </a:cubicBezTo>
                    <a:cubicBezTo>
                      <a:pt x="465349" y="504403"/>
                      <a:pt x="473970" y="491965"/>
                      <a:pt x="484735" y="499427"/>
                    </a:cubicBezTo>
                    <a:cubicBezTo>
                      <a:pt x="495500" y="506847"/>
                      <a:pt x="504078" y="511865"/>
                      <a:pt x="519132" y="509378"/>
                    </a:cubicBezTo>
                    <a:cubicBezTo>
                      <a:pt x="534187" y="506890"/>
                      <a:pt x="534187" y="521816"/>
                      <a:pt x="544952" y="524346"/>
                    </a:cubicBezTo>
                    <a:cubicBezTo>
                      <a:pt x="555717" y="526834"/>
                      <a:pt x="575102" y="504446"/>
                      <a:pt x="603066" y="489520"/>
                    </a:cubicBezTo>
                    <a:cubicBezTo>
                      <a:pt x="631030" y="474595"/>
                      <a:pt x="663283" y="484545"/>
                      <a:pt x="678337" y="487033"/>
                    </a:cubicBezTo>
                    <a:cubicBezTo>
                      <a:pt x="693391" y="489520"/>
                      <a:pt x="721355" y="479570"/>
                      <a:pt x="738554" y="457139"/>
                    </a:cubicBezTo>
                    <a:cubicBezTo>
                      <a:pt x="755795" y="434751"/>
                      <a:pt x="777283" y="439726"/>
                      <a:pt x="779427" y="419825"/>
                    </a:cubicBezTo>
                    <a:cubicBezTo>
                      <a:pt x="781572" y="399924"/>
                      <a:pt x="762229" y="392461"/>
                      <a:pt x="770807" y="375048"/>
                    </a:cubicBezTo>
                    <a:cubicBezTo>
                      <a:pt x="779427" y="357635"/>
                      <a:pt x="794481" y="360123"/>
                      <a:pt x="803102" y="365098"/>
                    </a:cubicBezTo>
                    <a:cubicBezTo>
                      <a:pt x="811680" y="370073"/>
                      <a:pt x="835355" y="377536"/>
                      <a:pt x="856886" y="360123"/>
                    </a:cubicBezTo>
                    <a:cubicBezTo>
                      <a:pt x="878373" y="342710"/>
                      <a:pt x="886994" y="345198"/>
                      <a:pt x="906379" y="342710"/>
                    </a:cubicBezTo>
                    <a:cubicBezTo>
                      <a:pt x="925765" y="340222"/>
                      <a:pt x="923578" y="325297"/>
                      <a:pt x="936487" y="310372"/>
                    </a:cubicBezTo>
                    <a:cubicBezTo>
                      <a:pt x="949397" y="295446"/>
                      <a:pt x="964451" y="290428"/>
                      <a:pt x="977404" y="290428"/>
                    </a:cubicBezTo>
                    <a:cubicBezTo>
                      <a:pt x="990314" y="290428"/>
                      <a:pt x="1007512" y="275503"/>
                      <a:pt x="1020422" y="280478"/>
                    </a:cubicBezTo>
                    <a:cubicBezTo>
                      <a:pt x="1033332" y="285453"/>
                      <a:pt x="1052675" y="287940"/>
                      <a:pt x="1054862" y="275503"/>
                    </a:cubicBezTo>
                    <a:cubicBezTo>
                      <a:pt x="1057136" y="262979"/>
                      <a:pt x="1022738" y="238060"/>
                      <a:pt x="1011973" y="22313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97" name="Freeform: Shape 129">
                <a:extLst>
                  <a:ext uri="{FF2B5EF4-FFF2-40B4-BE49-F238E27FC236}">
                    <a16:creationId xmlns:a16="http://schemas.microsoft.com/office/drawing/2014/main" id="{2B5B8E0F-D0D2-B2AE-1F5B-CEB38FD5073F}"/>
                  </a:ext>
                </a:extLst>
              </p:cNvPr>
              <p:cNvSpPr/>
              <p:nvPr/>
            </p:nvSpPr>
            <p:spPr>
              <a:xfrm>
                <a:off x="8769408" y="3068698"/>
                <a:ext cx="285389" cy="144335"/>
              </a:xfrm>
              <a:custGeom>
                <a:avLst/>
                <a:gdLst>
                  <a:gd name="connsiteX0" fmla="*/ 342721 w 373136"/>
                  <a:gd name="connsiteY0" fmla="*/ 38958 h 188712"/>
                  <a:gd name="connsiteX1" fmla="*/ 311155 w 373136"/>
                  <a:gd name="connsiteY1" fmla="*/ 28708 h 188712"/>
                  <a:gd name="connsiteX2" fmla="*/ 225205 w 373136"/>
                  <a:gd name="connsiteY2" fmla="*/ 22961 h 188712"/>
                  <a:gd name="connsiteX3" fmla="*/ 180771 w 373136"/>
                  <a:gd name="connsiteY3" fmla="*/ 8121 h 188712"/>
                  <a:gd name="connsiteX4" fmla="*/ 146203 w 373136"/>
                  <a:gd name="connsiteY4" fmla="*/ 24119 h 188712"/>
                  <a:gd name="connsiteX5" fmla="*/ 116566 w 373136"/>
                  <a:gd name="connsiteY5" fmla="*/ 29780 h 188712"/>
                  <a:gd name="connsiteX6" fmla="*/ 71147 w 373136"/>
                  <a:gd name="connsiteY6" fmla="*/ 30938 h 188712"/>
                  <a:gd name="connsiteX7" fmla="*/ 50388 w 373136"/>
                  <a:gd name="connsiteY7" fmla="*/ 57186 h 188712"/>
                  <a:gd name="connsiteX8" fmla="*/ 40309 w 373136"/>
                  <a:gd name="connsiteY8" fmla="*/ 78717 h 188712"/>
                  <a:gd name="connsiteX9" fmla="*/ 52704 w 373136"/>
                  <a:gd name="connsiteY9" fmla="*/ 91541 h 188712"/>
                  <a:gd name="connsiteX10" fmla="*/ 79081 w 373136"/>
                  <a:gd name="connsiteY10" fmla="*/ 90039 h 188712"/>
                  <a:gd name="connsiteX11" fmla="*/ 125230 w 373136"/>
                  <a:gd name="connsiteY11" fmla="*/ 114401 h 188712"/>
                  <a:gd name="connsiteX12" fmla="*/ 110690 w 373136"/>
                  <a:gd name="connsiteY12" fmla="*/ 134259 h 188712"/>
                  <a:gd name="connsiteX13" fmla="*/ 79038 w 373136"/>
                  <a:gd name="connsiteY13" fmla="*/ 140349 h 188712"/>
                  <a:gd name="connsiteX14" fmla="*/ 30230 w 373136"/>
                  <a:gd name="connsiteY14" fmla="*/ 147983 h 188712"/>
                  <a:gd name="connsiteX15" fmla="*/ 6512 w 373136"/>
                  <a:gd name="connsiteY15" fmla="*/ 170843 h 188712"/>
                  <a:gd name="connsiteX16" fmla="*/ 53991 w 373136"/>
                  <a:gd name="connsiteY16" fmla="*/ 175432 h 188712"/>
                  <a:gd name="connsiteX17" fmla="*/ 84313 w 373136"/>
                  <a:gd name="connsiteY17" fmla="*/ 176933 h 188712"/>
                  <a:gd name="connsiteX18" fmla="*/ 111977 w 373136"/>
                  <a:gd name="connsiteY18" fmla="*/ 183066 h 188712"/>
                  <a:gd name="connsiteX19" fmla="*/ 155467 w 373136"/>
                  <a:gd name="connsiteY19" fmla="*/ 180021 h 188712"/>
                  <a:gd name="connsiteX20" fmla="*/ 160957 w 373136"/>
                  <a:gd name="connsiteY20" fmla="*/ 160893 h 188712"/>
                  <a:gd name="connsiteX21" fmla="*/ 175797 w 373136"/>
                  <a:gd name="connsiteY21" fmla="*/ 150599 h 188712"/>
                  <a:gd name="connsiteX22" fmla="*/ 194325 w 373136"/>
                  <a:gd name="connsiteY22" fmla="*/ 136875 h 188712"/>
                  <a:gd name="connsiteX23" fmla="*/ 214311 w 373136"/>
                  <a:gd name="connsiteY23" fmla="*/ 129197 h 188712"/>
                  <a:gd name="connsiteX24" fmla="*/ 235069 w 373136"/>
                  <a:gd name="connsiteY24" fmla="*/ 136875 h 188712"/>
                  <a:gd name="connsiteX25" fmla="*/ 255056 w 373136"/>
                  <a:gd name="connsiteY25" fmla="*/ 121434 h 188712"/>
                  <a:gd name="connsiteX26" fmla="*/ 285421 w 373136"/>
                  <a:gd name="connsiteY26" fmla="*/ 111184 h 188712"/>
                  <a:gd name="connsiteX27" fmla="*/ 312056 w 373136"/>
                  <a:gd name="connsiteY27" fmla="*/ 94071 h 188712"/>
                  <a:gd name="connsiteX28" fmla="*/ 338004 w 373136"/>
                  <a:gd name="connsiteY28" fmla="*/ 76958 h 188712"/>
                  <a:gd name="connsiteX29" fmla="*/ 367640 w 373136"/>
                  <a:gd name="connsiteY29" fmla="*/ 59845 h 188712"/>
                  <a:gd name="connsiteX30" fmla="*/ 370685 w 373136"/>
                  <a:gd name="connsiteY30" fmla="*/ 51525 h 188712"/>
                  <a:gd name="connsiteX31" fmla="*/ 342721 w 373136"/>
                  <a:gd name="connsiteY31" fmla="*/ 38958 h 188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3136" h="188712">
                    <a:moveTo>
                      <a:pt x="342721" y="38958"/>
                    </a:moveTo>
                    <a:cubicBezTo>
                      <a:pt x="329898" y="21846"/>
                      <a:pt x="325952" y="33211"/>
                      <a:pt x="311155" y="28708"/>
                    </a:cubicBezTo>
                    <a:cubicBezTo>
                      <a:pt x="296315" y="24119"/>
                      <a:pt x="237085" y="17256"/>
                      <a:pt x="225205" y="22961"/>
                    </a:cubicBezTo>
                    <a:cubicBezTo>
                      <a:pt x="213368" y="28708"/>
                      <a:pt x="188663" y="12667"/>
                      <a:pt x="180771" y="8121"/>
                    </a:cubicBezTo>
                    <a:cubicBezTo>
                      <a:pt x="172837" y="3532"/>
                      <a:pt x="147189" y="8121"/>
                      <a:pt x="146203" y="24119"/>
                    </a:cubicBezTo>
                    <a:cubicBezTo>
                      <a:pt x="145216" y="40117"/>
                      <a:pt x="134365" y="40074"/>
                      <a:pt x="116566" y="29780"/>
                    </a:cubicBezTo>
                    <a:cubicBezTo>
                      <a:pt x="98810" y="19530"/>
                      <a:pt x="72133" y="19530"/>
                      <a:pt x="71147" y="30938"/>
                    </a:cubicBezTo>
                    <a:cubicBezTo>
                      <a:pt x="70160" y="42347"/>
                      <a:pt x="57293" y="53755"/>
                      <a:pt x="50388" y="57186"/>
                    </a:cubicBezTo>
                    <a:cubicBezTo>
                      <a:pt x="47772" y="58516"/>
                      <a:pt x="43998" y="67780"/>
                      <a:pt x="40309" y="78717"/>
                    </a:cubicBezTo>
                    <a:cubicBezTo>
                      <a:pt x="45756" y="81119"/>
                      <a:pt x="49101" y="86523"/>
                      <a:pt x="52704" y="91541"/>
                    </a:cubicBezTo>
                    <a:cubicBezTo>
                      <a:pt x="59309" y="100676"/>
                      <a:pt x="76422" y="99175"/>
                      <a:pt x="79081" y="90039"/>
                    </a:cubicBezTo>
                    <a:cubicBezTo>
                      <a:pt x="81740" y="80904"/>
                      <a:pt x="109404" y="99175"/>
                      <a:pt x="125230" y="114401"/>
                    </a:cubicBezTo>
                    <a:cubicBezTo>
                      <a:pt x="141056" y="129669"/>
                      <a:pt x="117296" y="118990"/>
                      <a:pt x="110690" y="134259"/>
                    </a:cubicBezTo>
                    <a:cubicBezTo>
                      <a:pt x="104085" y="149484"/>
                      <a:pt x="84356" y="134259"/>
                      <a:pt x="79038" y="140349"/>
                    </a:cubicBezTo>
                    <a:cubicBezTo>
                      <a:pt x="73763" y="146439"/>
                      <a:pt x="39494" y="149484"/>
                      <a:pt x="30230" y="147983"/>
                    </a:cubicBezTo>
                    <a:cubicBezTo>
                      <a:pt x="21009" y="146439"/>
                      <a:pt x="5183" y="163209"/>
                      <a:pt x="6512" y="170843"/>
                    </a:cubicBezTo>
                    <a:cubicBezTo>
                      <a:pt x="7842" y="178477"/>
                      <a:pt x="42153" y="166254"/>
                      <a:pt x="53991" y="175432"/>
                    </a:cubicBezTo>
                    <a:cubicBezTo>
                      <a:pt x="65828" y="184611"/>
                      <a:pt x="77709" y="166297"/>
                      <a:pt x="84313" y="176933"/>
                    </a:cubicBezTo>
                    <a:cubicBezTo>
                      <a:pt x="90876" y="187656"/>
                      <a:pt x="105415" y="179978"/>
                      <a:pt x="111977" y="183066"/>
                    </a:cubicBezTo>
                    <a:cubicBezTo>
                      <a:pt x="118539" y="186112"/>
                      <a:pt x="155124" y="180064"/>
                      <a:pt x="155467" y="180021"/>
                    </a:cubicBezTo>
                    <a:cubicBezTo>
                      <a:pt x="159498" y="174531"/>
                      <a:pt x="160957" y="167240"/>
                      <a:pt x="160957" y="160893"/>
                    </a:cubicBezTo>
                    <a:cubicBezTo>
                      <a:pt x="160957" y="150599"/>
                      <a:pt x="168334" y="153173"/>
                      <a:pt x="175797" y="150599"/>
                    </a:cubicBezTo>
                    <a:cubicBezTo>
                      <a:pt x="183173" y="148026"/>
                      <a:pt x="188363" y="136875"/>
                      <a:pt x="194325" y="136875"/>
                    </a:cubicBezTo>
                    <a:cubicBezTo>
                      <a:pt x="200243" y="136875"/>
                      <a:pt x="208392" y="126581"/>
                      <a:pt x="214311" y="129197"/>
                    </a:cubicBezTo>
                    <a:cubicBezTo>
                      <a:pt x="220230" y="131771"/>
                      <a:pt x="227650" y="143737"/>
                      <a:pt x="235069" y="136875"/>
                    </a:cubicBezTo>
                    <a:cubicBezTo>
                      <a:pt x="242489" y="130012"/>
                      <a:pt x="244719" y="136017"/>
                      <a:pt x="255056" y="121434"/>
                    </a:cubicBezTo>
                    <a:cubicBezTo>
                      <a:pt x="265435" y="106852"/>
                      <a:pt x="272083" y="109426"/>
                      <a:pt x="285421" y="111184"/>
                    </a:cubicBezTo>
                    <a:cubicBezTo>
                      <a:pt x="300947" y="113200"/>
                      <a:pt x="307638" y="104322"/>
                      <a:pt x="312056" y="94071"/>
                    </a:cubicBezTo>
                    <a:cubicBezTo>
                      <a:pt x="316516" y="83778"/>
                      <a:pt x="329855" y="83778"/>
                      <a:pt x="338004" y="76958"/>
                    </a:cubicBezTo>
                    <a:cubicBezTo>
                      <a:pt x="346153" y="70096"/>
                      <a:pt x="362451" y="62419"/>
                      <a:pt x="367640" y="59845"/>
                    </a:cubicBezTo>
                    <a:cubicBezTo>
                      <a:pt x="370128" y="58602"/>
                      <a:pt x="370685" y="55557"/>
                      <a:pt x="370685" y="51525"/>
                    </a:cubicBezTo>
                    <a:cubicBezTo>
                      <a:pt x="358719" y="40417"/>
                      <a:pt x="353487" y="53326"/>
                      <a:pt x="342721" y="3895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98" name="Freeform: Shape 132">
                <a:extLst>
                  <a:ext uri="{FF2B5EF4-FFF2-40B4-BE49-F238E27FC236}">
                    <a16:creationId xmlns:a16="http://schemas.microsoft.com/office/drawing/2014/main" id="{4FC14EA2-9B57-A639-5B83-2787FC3A36E8}"/>
                  </a:ext>
                </a:extLst>
              </p:cNvPr>
              <p:cNvSpPr/>
              <p:nvPr/>
            </p:nvSpPr>
            <p:spPr>
              <a:xfrm>
                <a:off x="8990071" y="3324355"/>
                <a:ext cx="65607" cy="72167"/>
              </a:xfrm>
              <a:custGeom>
                <a:avLst/>
                <a:gdLst>
                  <a:gd name="connsiteX0" fmla="*/ 44305 w 85778"/>
                  <a:gd name="connsiteY0" fmla="*/ 6465 h 94356"/>
                  <a:gd name="connsiteX1" fmla="*/ 6433 w 85778"/>
                  <a:gd name="connsiteY1" fmla="*/ 31598 h 94356"/>
                  <a:gd name="connsiteX2" fmla="*/ 12095 w 85778"/>
                  <a:gd name="connsiteY2" fmla="*/ 42492 h 94356"/>
                  <a:gd name="connsiteX3" fmla="*/ 31867 w 85778"/>
                  <a:gd name="connsiteY3" fmla="*/ 68397 h 94356"/>
                  <a:gd name="connsiteX4" fmla="*/ 35255 w 85778"/>
                  <a:gd name="connsiteY4" fmla="*/ 91257 h 94356"/>
                  <a:gd name="connsiteX5" fmla="*/ 49494 w 85778"/>
                  <a:gd name="connsiteY5" fmla="*/ 89541 h 94356"/>
                  <a:gd name="connsiteX6" fmla="*/ 82820 w 85778"/>
                  <a:gd name="connsiteY6" fmla="*/ 43307 h 94356"/>
                  <a:gd name="connsiteX7" fmla="*/ 44305 w 85778"/>
                  <a:gd name="connsiteY7" fmla="*/ 6465 h 94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78" h="94356">
                    <a:moveTo>
                      <a:pt x="44305" y="6465"/>
                    </a:moveTo>
                    <a:cubicBezTo>
                      <a:pt x="32467" y="5693"/>
                      <a:pt x="9693" y="19246"/>
                      <a:pt x="6433" y="31598"/>
                    </a:cubicBezTo>
                    <a:cubicBezTo>
                      <a:pt x="8793" y="34600"/>
                      <a:pt x="11023" y="38246"/>
                      <a:pt x="12095" y="42492"/>
                    </a:cubicBezTo>
                    <a:cubicBezTo>
                      <a:pt x="14711" y="53171"/>
                      <a:pt x="22646" y="62307"/>
                      <a:pt x="31867" y="68397"/>
                    </a:cubicBezTo>
                    <a:cubicBezTo>
                      <a:pt x="37528" y="72128"/>
                      <a:pt x="36713" y="82293"/>
                      <a:pt x="35255" y="91257"/>
                    </a:cubicBezTo>
                    <a:cubicBezTo>
                      <a:pt x="40488" y="91043"/>
                      <a:pt x="45849" y="90571"/>
                      <a:pt x="49494" y="89541"/>
                    </a:cubicBezTo>
                    <a:cubicBezTo>
                      <a:pt x="59145" y="86968"/>
                      <a:pt x="79860" y="52700"/>
                      <a:pt x="82820" y="43307"/>
                    </a:cubicBezTo>
                    <a:cubicBezTo>
                      <a:pt x="85779" y="33871"/>
                      <a:pt x="56914" y="7323"/>
                      <a:pt x="44305" y="646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199" name="Freeform: Shape 133">
                <a:extLst>
                  <a:ext uri="{FF2B5EF4-FFF2-40B4-BE49-F238E27FC236}">
                    <a16:creationId xmlns:a16="http://schemas.microsoft.com/office/drawing/2014/main" id="{8A37B1FC-906E-51F9-F00B-DC1A7F765AE6}"/>
                  </a:ext>
                </a:extLst>
              </p:cNvPr>
              <p:cNvSpPr/>
              <p:nvPr/>
            </p:nvSpPr>
            <p:spPr>
              <a:xfrm>
                <a:off x="10143471" y="3078091"/>
                <a:ext cx="183699" cy="196820"/>
              </a:xfrm>
              <a:custGeom>
                <a:avLst/>
                <a:gdLst>
                  <a:gd name="connsiteX0" fmla="*/ 129998 w 240180"/>
                  <a:gd name="connsiteY0" fmla="*/ 194460 h 257335"/>
                  <a:gd name="connsiteX1" fmla="*/ 119275 w 240180"/>
                  <a:gd name="connsiteY1" fmla="*/ 184295 h 257335"/>
                  <a:gd name="connsiteX2" fmla="*/ 128668 w 240180"/>
                  <a:gd name="connsiteY2" fmla="*/ 150027 h 257335"/>
                  <a:gd name="connsiteX3" fmla="*/ 139519 w 240180"/>
                  <a:gd name="connsiteY3" fmla="*/ 144537 h 257335"/>
                  <a:gd name="connsiteX4" fmla="*/ 172158 w 240180"/>
                  <a:gd name="connsiteY4" fmla="*/ 98517 h 257335"/>
                  <a:gd name="connsiteX5" fmla="*/ 193775 w 240180"/>
                  <a:gd name="connsiteY5" fmla="*/ 87237 h 257335"/>
                  <a:gd name="connsiteX6" fmla="*/ 198792 w 240180"/>
                  <a:gd name="connsiteY6" fmla="*/ 62061 h 257335"/>
                  <a:gd name="connsiteX7" fmla="*/ 235977 w 240180"/>
                  <a:gd name="connsiteY7" fmla="*/ 20415 h 257335"/>
                  <a:gd name="connsiteX8" fmla="*/ 226799 w 240180"/>
                  <a:gd name="connsiteY8" fmla="*/ 18871 h 257335"/>
                  <a:gd name="connsiteX9" fmla="*/ 198792 w 240180"/>
                  <a:gd name="connsiteY9" fmla="*/ 6433 h 257335"/>
                  <a:gd name="connsiteX10" fmla="*/ 179449 w 240180"/>
                  <a:gd name="connsiteY10" fmla="*/ 36327 h 257335"/>
                  <a:gd name="connsiteX11" fmla="*/ 155774 w 240180"/>
                  <a:gd name="connsiteY11" fmla="*/ 56185 h 257335"/>
                  <a:gd name="connsiteX12" fmla="*/ 142865 w 240180"/>
                  <a:gd name="connsiteY12" fmla="*/ 71153 h 257335"/>
                  <a:gd name="connsiteX13" fmla="*/ 121334 w 240180"/>
                  <a:gd name="connsiteY13" fmla="*/ 78616 h 257335"/>
                  <a:gd name="connsiteX14" fmla="*/ 99804 w 240180"/>
                  <a:gd name="connsiteY14" fmla="*/ 68666 h 257335"/>
                  <a:gd name="connsiteX15" fmla="*/ 78273 w 240180"/>
                  <a:gd name="connsiteY15" fmla="*/ 95986 h 257335"/>
                  <a:gd name="connsiteX16" fmla="*/ 15869 w 240180"/>
                  <a:gd name="connsiteY16" fmla="*/ 135830 h 257335"/>
                  <a:gd name="connsiteX17" fmla="*/ 6433 w 240180"/>
                  <a:gd name="connsiteY17" fmla="*/ 152814 h 257335"/>
                  <a:gd name="connsiteX18" fmla="*/ 44648 w 240180"/>
                  <a:gd name="connsiteY18" fmla="*/ 174559 h 257335"/>
                  <a:gd name="connsiteX19" fmla="*/ 24876 w 240180"/>
                  <a:gd name="connsiteY19" fmla="*/ 216248 h 257335"/>
                  <a:gd name="connsiteX20" fmla="*/ 30795 w 240180"/>
                  <a:gd name="connsiteY20" fmla="*/ 239665 h 257335"/>
                  <a:gd name="connsiteX21" fmla="*/ 47608 w 240180"/>
                  <a:gd name="connsiteY21" fmla="*/ 249401 h 257335"/>
                  <a:gd name="connsiteX22" fmla="*/ 73255 w 240180"/>
                  <a:gd name="connsiteY22" fmla="*/ 243697 h 257335"/>
                  <a:gd name="connsiteX23" fmla="*/ 81147 w 240180"/>
                  <a:gd name="connsiteY23" fmla="*/ 248929 h 257335"/>
                  <a:gd name="connsiteX24" fmla="*/ 100833 w 240180"/>
                  <a:gd name="connsiteY24" fmla="*/ 231817 h 257335"/>
                  <a:gd name="connsiteX25" fmla="*/ 131156 w 240180"/>
                  <a:gd name="connsiteY25" fmla="*/ 224182 h 257335"/>
                  <a:gd name="connsiteX26" fmla="*/ 137332 w 240180"/>
                  <a:gd name="connsiteY26" fmla="*/ 223324 h 257335"/>
                  <a:gd name="connsiteX27" fmla="*/ 129998 w 240180"/>
                  <a:gd name="connsiteY27" fmla="*/ 194460 h 25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40180" h="257335">
                    <a:moveTo>
                      <a:pt x="129998" y="194460"/>
                    </a:moveTo>
                    <a:cubicBezTo>
                      <a:pt x="125322" y="189485"/>
                      <a:pt x="121463" y="185839"/>
                      <a:pt x="119275" y="184295"/>
                    </a:cubicBezTo>
                    <a:cubicBezTo>
                      <a:pt x="107953" y="176318"/>
                      <a:pt x="114815" y="154015"/>
                      <a:pt x="128668" y="150027"/>
                    </a:cubicBezTo>
                    <a:cubicBezTo>
                      <a:pt x="131542" y="149212"/>
                      <a:pt x="135316" y="147196"/>
                      <a:pt x="139519" y="144537"/>
                    </a:cubicBezTo>
                    <a:cubicBezTo>
                      <a:pt x="147454" y="127596"/>
                      <a:pt x="159377" y="112327"/>
                      <a:pt x="172158" y="98517"/>
                    </a:cubicBezTo>
                    <a:cubicBezTo>
                      <a:pt x="178848" y="91268"/>
                      <a:pt x="186354" y="87880"/>
                      <a:pt x="193775" y="87237"/>
                    </a:cubicBezTo>
                    <a:cubicBezTo>
                      <a:pt x="194332" y="79173"/>
                      <a:pt x="194975" y="70167"/>
                      <a:pt x="198792" y="62061"/>
                    </a:cubicBezTo>
                    <a:cubicBezTo>
                      <a:pt x="203167" y="52797"/>
                      <a:pt x="219551" y="35169"/>
                      <a:pt x="235977" y="20415"/>
                    </a:cubicBezTo>
                    <a:cubicBezTo>
                      <a:pt x="232460" y="18657"/>
                      <a:pt x="229243" y="17885"/>
                      <a:pt x="226799" y="18871"/>
                    </a:cubicBezTo>
                    <a:cubicBezTo>
                      <a:pt x="213889" y="23846"/>
                      <a:pt x="209558" y="6433"/>
                      <a:pt x="198792" y="6433"/>
                    </a:cubicBezTo>
                    <a:cubicBezTo>
                      <a:pt x="188027" y="6433"/>
                      <a:pt x="190214" y="36327"/>
                      <a:pt x="179449" y="36327"/>
                    </a:cubicBezTo>
                    <a:cubicBezTo>
                      <a:pt x="168684" y="36327"/>
                      <a:pt x="170828" y="53697"/>
                      <a:pt x="155774" y="56185"/>
                    </a:cubicBezTo>
                    <a:cubicBezTo>
                      <a:pt x="140720" y="58673"/>
                      <a:pt x="136388" y="58673"/>
                      <a:pt x="142865" y="71153"/>
                    </a:cubicBezTo>
                    <a:cubicBezTo>
                      <a:pt x="149298" y="83591"/>
                      <a:pt x="134287" y="78616"/>
                      <a:pt x="121334" y="78616"/>
                    </a:cubicBezTo>
                    <a:cubicBezTo>
                      <a:pt x="108424" y="78616"/>
                      <a:pt x="108424" y="68666"/>
                      <a:pt x="99804" y="68666"/>
                    </a:cubicBezTo>
                    <a:cubicBezTo>
                      <a:pt x="91183" y="68666"/>
                      <a:pt x="84749" y="86079"/>
                      <a:pt x="78273" y="95986"/>
                    </a:cubicBezTo>
                    <a:cubicBezTo>
                      <a:pt x="71840" y="105979"/>
                      <a:pt x="28779" y="128368"/>
                      <a:pt x="15869" y="135830"/>
                    </a:cubicBezTo>
                    <a:cubicBezTo>
                      <a:pt x="12224" y="137932"/>
                      <a:pt x="9093" y="144537"/>
                      <a:pt x="6433" y="152814"/>
                    </a:cubicBezTo>
                    <a:cubicBezTo>
                      <a:pt x="21831" y="154273"/>
                      <a:pt x="37743" y="164480"/>
                      <a:pt x="44648" y="174559"/>
                    </a:cubicBezTo>
                    <a:cubicBezTo>
                      <a:pt x="54041" y="188284"/>
                      <a:pt x="33797" y="203681"/>
                      <a:pt x="24876" y="216248"/>
                    </a:cubicBezTo>
                    <a:cubicBezTo>
                      <a:pt x="15998" y="228814"/>
                      <a:pt x="30323" y="229372"/>
                      <a:pt x="30795" y="239665"/>
                    </a:cubicBezTo>
                    <a:cubicBezTo>
                      <a:pt x="31309" y="249916"/>
                      <a:pt x="43190" y="258494"/>
                      <a:pt x="47608" y="249401"/>
                    </a:cubicBezTo>
                    <a:cubicBezTo>
                      <a:pt x="52025" y="240266"/>
                      <a:pt x="59445" y="243697"/>
                      <a:pt x="73255" y="243697"/>
                    </a:cubicBezTo>
                    <a:cubicBezTo>
                      <a:pt x="77287" y="243697"/>
                      <a:pt x="79560" y="245927"/>
                      <a:pt x="81147" y="248929"/>
                    </a:cubicBezTo>
                    <a:cubicBezTo>
                      <a:pt x="88824" y="241767"/>
                      <a:pt x="97788" y="235291"/>
                      <a:pt x="100833" y="231817"/>
                    </a:cubicBezTo>
                    <a:cubicBezTo>
                      <a:pt x="106108" y="225684"/>
                      <a:pt x="119275" y="224182"/>
                      <a:pt x="131156" y="224182"/>
                    </a:cubicBezTo>
                    <a:cubicBezTo>
                      <a:pt x="133429" y="224182"/>
                      <a:pt x="135445" y="223839"/>
                      <a:pt x="137332" y="223324"/>
                    </a:cubicBezTo>
                    <a:cubicBezTo>
                      <a:pt x="133472" y="214318"/>
                      <a:pt x="130855" y="204668"/>
                      <a:pt x="129998" y="19446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00" name="Freeform: Shape 134">
                <a:extLst>
                  <a:ext uri="{FF2B5EF4-FFF2-40B4-BE49-F238E27FC236}">
                    <a16:creationId xmlns:a16="http://schemas.microsoft.com/office/drawing/2014/main" id="{C0BD09BE-32F6-FCFA-508B-EFC1CDDD11A4}"/>
                  </a:ext>
                </a:extLst>
              </p:cNvPr>
              <p:cNvSpPr/>
              <p:nvPr/>
            </p:nvSpPr>
            <p:spPr>
              <a:xfrm>
                <a:off x="9043869" y="3510727"/>
                <a:ext cx="200101" cy="134494"/>
              </a:xfrm>
              <a:custGeom>
                <a:avLst/>
                <a:gdLst>
                  <a:gd name="connsiteX0" fmla="*/ 257893 w 261624"/>
                  <a:gd name="connsiteY0" fmla="*/ 113324 h 175846"/>
                  <a:gd name="connsiteX1" fmla="*/ 250259 w 261624"/>
                  <a:gd name="connsiteY1" fmla="*/ 113109 h 175846"/>
                  <a:gd name="connsiteX2" fmla="*/ 206555 w 261624"/>
                  <a:gd name="connsiteY2" fmla="*/ 103716 h 175846"/>
                  <a:gd name="connsiteX3" fmla="*/ 142135 w 261624"/>
                  <a:gd name="connsiteY3" fmla="*/ 73737 h 175846"/>
                  <a:gd name="connsiteX4" fmla="*/ 74027 w 261624"/>
                  <a:gd name="connsiteY4" fmla="*/ 16351 h 175846"/>
                  <a:gd name="connsiteX5" fmla="*/ 47350 w 261624"/>
                  <a:gd name="connsiteY5" fmla="*/ 10346 h 175846"/>
                  <a:gd name="connsiteX6" fmla="*/ 26892 w 261624"/>
                  <a:gd name="connsiteY6" fmla="*/ 17680 h 175846"/>
                  <a:gd name="connsiteX7" fmla="*/ 11709 w 261624"/>
                  <a:gd name="connsiteY7" fmla="*/ 39725 h 175846"/>
                  <a:gd name="connsiteX8" fmla="*/ 6433 w 261624"/>
                  <a:gd name="connsiteY8" fmla="*/ 68719 h 175846"/>
                  <a:gd name="connsiteX9" fmla="*/ 23589 w 261624"/>
                  <a:gd name="connsiteY9" fmla="*/ 83944 h 175846"/>
                  <a:gd name="connsiteX10" fmla="*/ 49966 w 261624"/>
                  <a:gd name="connsiteY10" fmla="*/ 99213 h 175846"/>
                  <a:gd name="connsiteX11" fmla="*/ 75013 w 261624"/>
                  <a:gd name="connsiteY11" fmla="*/ 114481 h 175846"/>
                  <a:gd name="connsiteX12" fmla="*/ 102720 w 261624"/>
                  <a:gd name="connsiteY12" fmla="*/ 132752 h 175846"/>
                  <a:gd name="connsiteX13" fmla="*/ 134330 w 261624"/>
                  <a:gd name="connsiteY13" fmla="*/ 126662 h 175846"/>
                  <a:gd name="connsiteX14" fmla="*/ 152815 w 261624"/>
                  <a:gd name="connsiteY14" fmla="*/ 147978 h 175846"/>
                  <a:gd name="connsiteX15" fmla="*/ 196304 w 261624"/>
                  <a:gd name="connsiteY15" fmla="*/ 167836 h 175846"/>
                  <a:gd name="connsiteX16" fmla="*/ 254334 w 261624"/>
                  <a:gd name="connsiteY16" fmla="*/ 161703 h 175846"/>
                  <a:gd name="connsiteX17" fmla="*/ 255663 w 261624"/>
                  <a:gd name="connsiteY17" fmla="*/ 122073 h 175846"/>
                  <a:gd name="connsiteX18" fmla="*/ 257893 w 261624"/>
                  <a:gd name="connsiteY18" fmla="*/ 113324 h 17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1624" h="175846">
                    <a:moveTo>
                      <a:pt x="257893" y="113324"/>
                    </a:moveTo>
                    <a:cubicBezTo>
                      <a:pt x="255620" y="113109"/>
                      <a:pt x="253133" y="113023"/>
                      <a:pt x="250259" y="113109"/>
                    </a:cubicBezTo>
                    <a:cubicBezTo>
                      <a:pt x="231002" y="113967"/>
                      <a:pt x="219164" y="102859"/>
                      <a:pt x="206555" y="103716"/>
                    </a:cubicBezTo>
                    <a:cubicBezTo>
                      <a:pt x="193945" y="104574"/>
                      <a:pt x="157704" y="88319"/>
                      <a:pt x="142135" y="73737"/>
                    </a:cubicBezTo>
                    <a:cubicBezTo>
                      <a:pt x="126609" y="59154"/>
                      <a:pt x="84363" y="28317"/>
                      <a:pt x="74027" y="16351"/>
                    </a:cubicBezTo>
                    <a:cubicBezTo>
                      <a:pt x="63648" y="4385"/>
                      <a:pt x="48851" y="4385"/>
                      <a:pt x="47350" y="10346"/>
                    </a:cubicBezTo>
                    <a:cubicBezTo>
                      <a:pt x="45977" y="15836"/>
                      <a:pt x="38386" y="16308"/>
                      <a:pt x="26892" y="17680"/>
                    </a:cubicBezTo>
                    <a:cubicBezTo>
                      <a:pt x="23933" y="23642"/>
                      <a:pt x="11709" y="31662"/>
                      <a:pt x="11709" y="39725"/>
                    </a:cubicBezTo>
                    <a:cubicBezTo>
                      <a:pt x="11709" y="48861"/>
                      <a:pt x="6433" y="61084"/>
                      <a:pt x="6433" y="68719"/>
                    </a:cubicBezTo>
                    <a:cubicBezTo>
                      <a:pt x="6433" y="76310"/>
                      <a:pt x="19601" y="77854"/>
                      <a:pt x="23589" y="83944"/>
                    </a:cubicBezTo>
                    <a:cubicBezTo>
                      <a:pt x="27535" y="90034"/>
                      <a:pt x="48637" y="93080"/>
                      <a:pt x="49966" y="99213"/>
                    </a:cubicBezTo>
                    <a:cubicBezTo>
                      <a:pt x="51296" y="105303"/>
                      <a:pt x="65793" y="112937"/>
                      <a:pt x="75013" y="114481"/>
                    </a:cubicBezTo>
                    <a:cubicBezTo>
                      <a:pt x="84235" y="115983"/>
                      <a:pt x="97444" y="128206"/>
                      <a:pt x="102720" y="132752"/>
                    </a:cubicBezTo>
                    <a:cubicBezTo>
                      <a:pt x="107996" y="137342"/>
                      <a:pt x="127767" y="126662"/>
                      <a:pt x="134330" y="126662"/>
                    </a:cubicBezTo>
                    <a:cubicBezTo>
                      <a:pt x="140934" y="126662"/>
                      <a:pt x="151485" y="140344"/>
                      <a:pt x="152815" y="147978"/>
                    </a:cubicBezTo>
                    <a:cubicBezTo>
                      <a:pt x="154144" y="155612"/>
                      <a:pt x="188413" y="160202"/>
                      <a:pt x="196304" y="167836"/>
                    </a:cubicBezTo>
                    <a:cubicBezTo>
                      <a:pt x="204196" y="175470"/>
                      <a:pt x="246399" y="170881"/>
                      <a:pt x="254334" y="161703"/>
                    </a:cubicBezTo>
                    <a:cubicBezTo>
                      <a:pt x="262268" y="152567"/>
                      <a:pt x="255663" y="135755"/>
                      <a:pt x="255663" y="122073"/>
                    </a:cubicBezTo>
                    <a:cubicBezTo>
                      <a:pt x="255620" y="117484"/>
                      <a:pt x="256521" y="115039"/>
                      <a:pt x="257893" y="11332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01" name="Freeform: Shape 136">
                <a:extLst>
                  <a:ext uri="{FF2B5EF4-FFF2-40B4-BE49-F238E27FC236}">
                    <a16:creationId xmlns:a16="http://schemas.microsoft.com/office/drawing/2014/main" id="{85261082-8DB5-7F83-0021-51D0213A70CF}"/>
                  </a:ext>
                </a:extLst>
              </p:cNvPr>
              <p:cNvSpPr/>
              <p:nvPr/>
            </p:nvSpPr>
            <p:spPr>
              <a:xfrm>
                <a:off x="9254007" y="3579973"/>
                <a:ext cx="82008" cy="55766"/>
              </a:xfrm>
              <a:custGeom>
                <a:avLst/>
                <a:gdLst>
                  <a:gd name="connsiteX0" fmla="*/ 103663 w 107223"/>
                  <a:gd name="connsiteY0" fmla="*/ 27033 h 72911"/>
                  <a:gd name="connsiteX1" fmla="*/ 65106 w 107223"/>
                  <a:gd name="connsiteY1" fmla="*/ 14853 h 72911"/>
                  <a:gd name="connsiteX2" fmla="*/ 37699 w 107223"/>
                  <a:gd name="connsiteY2" fmla="*/ 9706 h 72911"/>
                  <a:gd name="connsiteX3" fmla="*/ 13982 w 107223"/>
                  <a:gd name="connsiteY3" fmla="*/ 33681 h 72911"/>
                  <a:gd name="connsiteX4" fmla="*/ 6433 w 107223"/>
                  <a:gd name="connsiteY4" fmla="*/ 50022 h 72911"/>
                  <a:gd name="connsiteX5" fmla="*/ 15097 w 107223"/>
                  <a:gd name="connsiteY5" fmla="*/ 58986 h 72911"/>
                  <a:gd name="connsiteX6" fmla="*/ 37485 w 107223"/>
                  <a:gd name="connsiteY6" fmla="*/ 65119 h 72911"/>
                  <a:gd name="connsiteX7" fmla="*/ 69180 w 107223"/>
                  <a:gd name="connsiteY7" fmla="*/ 68164 h 72911"/>
                  <a:gd name="connsiteX8" fmla="*/ 102119 w 107223"/>
                  <a:gd name="connsiteY8" fmla="*/ 63575 h 72911"/>
                  <a:gd name="connsiteX9" fmla="*/ 98174 w 107223"/>
                  <a:gd name="connsiteY9" fmla="*/ 30035 h 72911"/>
                  <a:gd name="connsiteX10" fmla="*/ 103663 w 107223"/>
                  <a:gd name="connsiteY10" fmla="*/ 27033 h 7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223" h="72911">
                    <a:moveTo>
                      <a:pt x="103663" y="27033"/>
                    </a:moveTo>
                    <a:cubicBezTo>
                      <a:pt x="83805" y="5889"/>
                      <a:pt x="78402" y="22959"/>
                      <a:pt x="65106" y="14853"/>
                    </a:cubicBezTo>
                    <a:cubicBezTo>
                      <a:pt x="51038" y="6275"/>
                      <a:pt x="44390" y="3701"/>
                      <a:pt x="37699" y="9706"/>
                    </a:cubicBezTo>
                    <a:cubicBezTo>
                      <a:pt x="31009" y="15710"/>
                      <a:pt x="20629" y="14853"/>
                      <a:pt x="13982" y="33681"/>
                    </a:cubicBezTo>
                    <a:cubicBezTo>
                      <a:pt x="11795" y="39857"/>
                      <a:pt x="9093" y="45647"/>
                      <a:pt x="6433" y="50022"/>
                    </a:cubicBezTo>
                    <a:cubicBezTo>
                      <a:pt x="8749" y="55769"/>
                      <a:pt x="12266" y="59801"/>
                      <a:pt x="15097" y="58986"/>
                    </a:cubicBezTo>
                    <a:cubicBezTo>
                      <a:pt x="20372" y="57484"/>
                      <a:pt x="26977" y="68164"/>
                      <a:pt x="37485" y="65119"/>
                    </a:cubicBezTo>
                    <a:cubicBezTo>
                      <a:pt x="48036" y="62074"/>
                      <a:pt x="54641" y="72753"/>
                      <a:pt x="69180" y="68164"/>
                    </a:cubicBezTo>
                    <a:cubicBezTo>
                      <a:pt x="83634" y="63575"/>
                      <a:pt x="96844" y="74254"/>
                      <a:pt x="102119" y="63575"/>
                    </a:cubicBezTo>
                    <a:cubicBezTo>
                      <a:pt x="107394" y="52895"/>
                      <a:pt x="98174" y="30035"/>
                      <a:pt x="98174" y="30035"/>
                    </a:cubicBezTo>
                    <a:cubicBezTo>
                      <a:pt x="98174" y="30035"/>
                      <a:pt x="100618" y="28620"/>
                      <a:pt x="103663" y="2703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02" name="Freeform: Shape 166">
                <a:extLst>
                  <a:ext uri="{FF2B5EF4-FFF2-40B4-BE49-F238E27FC236}">
                    <a16:creationId xmlns:a16="http://schemas.microsoft.com/office/drawing/2014/main" id="{2F8535D2-FC1B-8F55-9FEF-10ADEE03484D}"/>
                  </a:ext>
                </a:extLst>
              </p:cNvPr>
              <p:cNvSpPr/>
              <p:nvPr/>
            </p:nvSpPr>
            <p:spPr>
              <a:xfrm>
                <a:off x="8279287" y="3647035"/>
                <a:ext cx="36084" cy="55766"/>
              </a:xfrm>
              <a:custGeom>
                <a:avLst/>
                <a:gdLst>
                  <a:gd name="connsiteX0" fmla="*/ 34311 w 47178"/>
                  <a:gd name="connsiteY0" fmla="*/ 67291 h 72911"/>
                  <a:gd name="connsiteX1" fmla="*/ 34998 w 47178"/>
                  <a:gd name="connsiteY1" fmla="*/ 56568 h 72911"/>
                  <a:gd name="connsiteX2" fmla="*/ 31052 w 47178"/>
                  <a:gd name="connsiteY2" fmla="*/ 6860 h 72911"/>
                  <a:gd name="connsiteX3" fmla="*/ 8835 w 47178"/>
                  <a:gd name="connsiteY3" fmla="*/ 44559 h 72911"/>
                  <a:gd name="connsiteX4" fmla="*/ 6433 w 47178"/>
                  <a:gd name="connsiteY4" fmla="*/ 45074 h 72911"/>
                  <a:gd name="connsiteX5" fmla="*/ 34311 w 47178"/>
                  <a:gd name="connsiteY5" fmla="*/ 67291 h 7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78" h="72911">
                    <a:moveTo>
                      <a:pt x="34311" y="67291"/>
                    </a:moveTo>
                    <a:cubicBezTo>
                      <a:pt x="33496" y="63216"/>
                      <a:pt x="33539" y="59399"/>
                      <a:pt x="34998" y="56568"/>
                    </a:cubicBezTo>
                    <a:cubicBezTo>
                      <a:pt x="41388" y="44002"/>
                      <a:pt x="45377" y="11449"/>
                      <a:pt x="31052" y="6860"/>
                    </a:cubicBezTo>
                    <a:cubicBezTo>
                      <a:pt x="16727" y="2313"/>
                      <a:pt x="8835" y="35424"/>
                      <a:pt x="8835" y="44559"/>
                    </a:cubicBezTo>
                    <a:cubicBezTo>
                      <a:pt x="8835" y="46232"/>
                      <a:pt x="7891" y="46232"/>
                      <a:pt x="6433" y="45074"/>
                    </a:cubicBezTo>
                    <a:cubicBezTo>
                      <a:pt x="13467" y="66304"/>
                      <a:pt x="26205" y="68492"/>
                      <a:pt x="34311" y="6729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03" name="Freeform: Shape 167">
                <a:extLst>
                  <a:ext uri="{FF2B5EF4-FFF2-40B4-BE49-F238E27FC236}">
                    <a16:creationId xmlns:a16="http://schemas.microsoft.com/office/drawing/2014/main" id="{E2E0C14B-F210-B004-7957-0FB13C1CF3F9}"/>
                  </a:ext>
                </a:extLst>
              </p:cNvPr>
              <p:cNvSpPr/>
              <p:nvPr/>
            </p:nvSpPr>
            <p:spPr>
              <a:xfrm>
                <a:off x="8311205" y="3639056"/>
                <a:ext cx="131213" cy="121372"/>
              </a:xfrm>
              <a:custGeom>
                <a:avLst/>
                <a:gdLst>
                  <a:gd name="connsiteX0" fmla="*/ 31609 w 171557"/>
                  <a:gd name="connsiteY0" fmla="*/ 143901 h 158690"/>
                  <a:gd name="connsiteX1" fmla="*/ 108767 w 171557"/>
                  <a:gd name="connsiteY1" fmla="*/ 154838 h 158690"/>
                  <a:gd name="connsiteX2" fmla="*/ 120047 w 171557"/>
                  <a:gd name="connsiteY2" fmla="*/ 122285 h 158690"/>
                  <a:gd name="connsiteX3" fmla="*/ 141149 w 171557"/>
                  <a:gd name="connsiteY3" fmla="*/ 91405 h 158690"/>
                  <a:gd name="connsiteX4" fmla="*/ 141149 w 171557"/>
                  <a:gd name="connsiteY4" fmla="*/ 62154 h 158690"/>
                  <a:gd name="connsiteX5" fmla="*/ 153801 w 171557"/>
                  <a:gd name="connsiteY5" fmla="*/ 62154 h 158690"/>
                  <a:gd name="connsiteX6" fmla="*/ 165381 w 171557"/>
                  <a:gd name="connsiteY6" fmla="*/ 54477 h 158690"/>
                  <a:gd name="connsiteX7" fmla="*/ 156203 w 171557"/>
                  <a:gd name="connsiteY7" fmla="*/ 6441 h 158690"/>
                  <a:gd name="connsiteX8" fmla="*/ 116187 w 171557"/>
                  <a:gd name="connsiteY8" fmla="*/ 58423 h 158690"/>
                  <a:gd name="connsiteX9" fmla="*/ 53011 w 171557"/>
                  <a:gd name="connsiteY9" fmla="*/ 92692 h 158690"/>
                  <a:gd name="connsiteX10" fmla="*/ 13467 w 171557"/>
                  <a:gd name="connsiteY10" fmla="*/ 104701 h 158690"/>
                  <a:gd name="connsiteX11" fmla="*/ 6433 w 171557"/>
                  <a:gd name="connsiteY11" fmla="*/ 102470 h 158690"/>
                  <a:gd name="connsiteX12" fmla="*/ 31609 w 171557"/>
                  <a:gd name="connsiteY12" fmla="*/ 143901 h 15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557" h="158690">
                    <a:moveTo>
                      <a:pt x="31609" y="143901"/>
                    </a:moveTo>
                    <a:cubicBezTo>
                      <a:pt x="35727" y="146732"/>
                      <a:pt x="88738" y="153680"/>
                      <a:pt x="108767" y="154838"/>
                    </a:cubicBezTo>
                    <a:lnTo>
                      <a:pt x="120047" y="122285"/>
                    </a:lnTo>
                    <a:lnTo>
                      <a:pt x="141149" y="91405"/>
                    </a:lnTo>
                    <a:lnTo>
                      <a:pt x="141149" y="62154"/>
                    </a:lnTo>
                    <a:lnTo>
                      <a:pt x="153801" y="62154"/>
                    </a:lnTo>
                    <a:lnTo>
                      <a:pt x="165381" y="54477"/>
                    </a:lnTo>
                    <a:cubicBezTo>
                      <a:pt x="160492" y="30674"/>
                      <a:pt x="159720" y="6784"/>
                      <a:pt x="156203" y="6441"/>
                    </a:cubicBezTo>
                    <a:cubicBezTo>
                      <a:pt x="150284" y="5883"/>
                      <a:pt x="126052" y="36121"/>
                      <a:pt x="116187" y="58423"/>
                    </a:cubicBezTo>
                    <a:cubicBezTo>
                      <a:pt x="106323" y="80682"/>
                      <a:pt x="77672" y="97795"/>
                      <a:pt x="53011" y="92692"/>
                    </a:cubicBezTo>
                    <a:cubicBezTo>
                      <a:pt x="28307" y="87545"/>
                      <a:pt x="19944" y="99554"/>
                      <a:pt x="13467" y="104701"/>
                    </a:cubicBezTo>
                    <a:cubicBezTo>
                      <a:pt x="11837" y="106030"/>
                      <a:pt x="9221" y="104958"/>
                      <a:pt x="6433" y="102470"/>
                    </a:cubicBezTo>
                    <a:cubicBezTo>
                      <a:pt x="9007" y="124901"/>
                      <a:pt x="27749" y="141199"/>
                      <a:pt x="31609" y="14390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04" name="Freeform: Shape 168">
                <a:extLst>
                  <a:ext uri="{FF2B5EF4-FFF2-40B4-BE49-F238E27FC236}">
                    <a16:creationId xmlns:a16="http://schemas.microsoft.com/office/drawing/2014/main" id="{514C4717-5B12-225B-8BE3-85E9DC572F89}"/>
                  </a:ext>
                </a:extLst>
              </p:cNvPr>
              <p:cNvSpPr/>
              <p:nvPr/>
            </p:nvSpPr>
            <p:spPr>
              <a:xfrm>
                <a:off x="9518370" y="4243071"/>
                <a:ext cx="501891" cy="183699"/>
              </a:xfrm>
              <a:custGeom>
                <a:avLst/>
                <a:gdLst>
                  <a:gd name="connsiteX0" fmla="*/ 123349 w 656206"/>
                  <a:gd name="connsiteY0" fmla="*/ 89210 h 240180"/>
                  <a:gd name="connsiteX1" fmla="*/ 97658 w 656206"/>
                  <a:gd name="connsiteY1" fmla="*/ 48722 h 240180"/>
                  <a:gd name="connsiteX2" fmla="*/ 81361 w 656206"/>
                  <a:gd name="connsiteY2" fmla="*/ 29851 h 240180"/>
                  <a:gd name="connsiteX3" fmla="*/ 78787 w 656206"/>
                  <a:gd name="connsiteY3" fmla="*/ 24318 h 240180"/>
                  <a:gd name="connsiteX4" fmla="*/ 68494 w 656206"/>
                  <a:gd name="connsiteY4" fmla="*/ 39887 h 240180"/>
                  <a:gd name="connsiteX5" fmla="*/ 42202 w 656206"/>
                  <a:gd name="connsiteY5" fmla="*/ 36113 h 240180"/>
                  <a:gd name="connsiteX6" fmla="*/ 25818 w 656206"/>
                  <a:gd name="connsiteY6" fmla="*/ 13339 h 240180"/>
                  <a:gd name="connsiteX7" fmla="*/ 6433 w 656206"/>
                  <a:gd name="connsiteY7" fmla="*/ 11837 h 240180"/>
                  <a:gd name="connsiteX8" fmla="*/ 15697 w 656206"/>
                  <a:gd name="connsiteY8" fmla="*/ 70939 h 240180"/>
                  <a:gd name="connsiteX9" fmla="*/ 49794 w 656206"/>
                  <a:gd name="connsiteY9" fmla="*/ 145180 h 240180"/>
                  <a:gd name="connsiteX10" fmla="*/ 81875 w 656206"/>
                  <a:gd name="connsiteY10" fmla="*/ 180607 h 240180"/>
                  <a:gd name="connsiteX11" fmla="*/ 146037 w 656206"/>
                  <a:gd name="connsiteY11" fmla="*/ 218307 h 240180"/>
                  <a:gd name="connsiteX12" fmla="*/ 123821 w 656206"/>
                  <a:gd name="connsiteY12" fmla="*/ 163494 h 240180"/>
                  <a:gd name="connsiteX13" fmla="*/ 123349 w 656206"/>
                  <a:gd name="connsiteY13" fmla="*/ 89210 h 240180"/>
                  <a:gd name="connsiteX14" fmla="*/ 628456 w 656206"/>
                  <a:gd name="connsiteY14" fmla="*/ 45291 h 240180"/>
                  <a:gd name="connsiteX15" fmla="*/ 598820 w 656206"/>
                  <a:gd name="connsiteY15" fmla="*/ 36113 h 240180"/>
                  <a:gd name="connsiteX16" fmla="*/ 568197 w 656206"/>
                  <a:gd name="connsiteY16" fmla="*/ 6433 h 240180"/>
                  <a:gd name="connsiteX17" fmla="*/ 541519 w 656206"/>
                  <a:gd name="connsiteY17" fmla="*/ 45248 h 240180"/>
                  <a:gd name="connsiteX18" fmla="*/ 523764 w 656206"/>
                  <a:gd name="connsiteY18" fmla="*/ 71497 h 240180"/>
                  <a:gd name="connsiteX19" fmla="*/ 516516 w 656206"/>
                  <a:gd name="connsiteY19" fmla="*/ 82133 h 240180"/>
                  <a:gd name="connsiteX20" fmla="*/ 516858 w 656206"/>
                  <a:gd name="connsiteY20" fmla="*/ 104607 h 240180"/>
                  <a:gd name="connsiteX21" fmla="*/ 495157 w 656206"/>
                  <a:gd name="connsiteY21" fmla="*/ 113743 h 240180"/>
                  <a:gd name="connsiteX22" fmla="*/ 477058 w 656206"/>
                  <a:gd name="connsiteY22" fmla="*/ 86465 h 240180"/>
                  <a:gd name="connsiteX23" fmla="*/ 476371 w 656206"/>
                  <a:gd name="connsiteY23" fmla="*/ 86293 h 240180"/>
                  <a:gd name="connsiteX24" fmla="*/ 446735 w 656206"/>
                  <a:gd name="connsiteY24" fmla="*/ 139991 h 240180"/>
                  <a:gd name="connsiteX25" fmla="*/ 398355 w 656206"/>
                  <a:gd name="connsiteY25" fmla="*/ 157104 h 240180"/>
                  <a:gd name="connsiteX26" fmla="*/ 376610 w 656206"/>
                  <a:gd name="connsiteY26" fmla="*/ 206255 h 240180"/>
                  <a:gd name="connsiteX27" fmla="*/ 327116 w 656206"/>
                  <a:gd name="connsiteY27" fmla="*/ 191801 h 240180"/>
                  <a:gd name="connsiteX28" fmla="*/ 337109 w 656206"/>
                  <a:gd name="connsiteY28" fmla="*/ 216505 h 240180"/>
                  <a:gd name="connsiteX29" fmla="*/ 364773 w 656206"/>
                  <a:gd name="connsiteY29" fmla="*/ 232460 h 240180"/>
                  <a:gd name="connsiteX30" fmla="*/ 408220 w 656206"/>
                  <a:gd name="connsiteY30" fmla="*/ 227914 h 240180"/>
                  <a:gd name="connsiteX31" fmla="*/ 441802 w 656206"/>
                  <a:gd name="connsiteY31" fmla="*/ 211916 h 240180"/>
                  <a:gd name="connsiteX32" fmla="*/ 473369 w 656206"/>
                  <a:gd name="connsiteY32" fmla="*/ 218778 h 240180"/>
                  <a:gd name="connsiteX33" fmla="*/ 503005 w 656206"/>
                  <a:gd name="connsiteY33" fmla="*/ 195918 h 240180"/>
                  <a:gd name="connsiteX34" fmla="*/ 512870 w 656206"/>
                  <a:gd name="connsiteY34" fmla="*/ 159377 h 240180"/>
                  <a:gd name="connsiteX35" fmla="*/ 532599 w 656206"/>
                  <a:gd name="connsiteY35" fmla="*/ 125108 h 240180"/>
                  <a:gd name="connsiteX36" fmla="*/ 583938 w 656206"/>
                  <a:gd name="connsiteY36" fmla="*/ 100018 h 240180"/>
                  <a:gd name="connsiteX37" fmla="*/ 599763 w 656206"/>
                  <a:gd name="connsiteY37" fmla="*/ 106237 h 240180"/>
                  <a:gd name="connsiteX38" fmla="*/ 620522 w 656206"/>
                  <a:gd name="connsiteY38" fmla="*/ 82905 h 240180"/>
                  <a:gd name="connsiteX39" fmla="*/ 651145 w 656206"/>
                  <a:gd name="connsiteY39" fmla="*/ 68023 h 240180"/>
                  <a:gd name="connsiteX40" fmla="*/ 628456 w 656206"/>
                  <a:gd name="connsiteY40" fmla="*/ 45291 h 24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56206" h="240180">
                    <a:moveTo>
                      <a:pt x="123349" y="89210"/>
                    </a:moveTo>
                    <a:cubicBezTo>
                      <a:pt x="123864" y="63519"/>
                      <a:pt x="102591" y="66393"/>
                      <a:pt x="97658" y="48722"/>
                    </a:cubicBezTo>
                    <a:cubicBezTo>
                      <a:pt x="92726" y="31009"/>
                      <a:pt x="84320" y="41302"/>
                      <a:pt x="81361" y="29851"/>
                    </a:cubicBezTo>
                    <a:cubicBezTo>
                      <a:pt x="80932" y="28135"/>
                      <a:pt x="79988" y="26291"/>
                      <a:pt x="78787" y="24318"/>
                    </a:cubicBezTo>
                    <a:cubicBezTo>
                      <a:pt x="67593" y="28479"/>
                      <a:pt x="71625" y="39158"/>
                      <a:pt x="68494" y="39887"/>
                    </a:cubicBezTo>
                    <a:cubicBezTo>
                      <a:pt x="64376" y="40874"/>
                      <a:pt x="42202" y="43704"/>
                      <a:pt x="42202" y="36113"/>
                    </a:cubicBezTo>
                    <a:cubicBezTo>
                      <a:pt x="42202" y="28521"/>
                      <a:pt x="38943" y="16169"/>
                      <a:pt x="25818" y="13339"/>
                    </a:cubicBezTo>
                    <a:cubicBezTo>
                      <a:pt x="19086" y="11837"/>
                      <a:pt x="12437" y="11452"/>
                      <a:pt x="6433" y="11837"/>
                    </a:cubicBezTo>
                    <a:cubicBezTo>
                      <a:pt x="14324" y="32167"/>
                      <a:pt x="15354" y="53655"/>
                      <a:pt x="15697" y="70939"/>
                    </a:cubicBezTo>
                    <a:cubicBezTo>
                      <a:pt x="16211" y="93756"/>
                      <a:pt x="45333" y="130341"/>
                      <a:pt x="49794" y="145180"/>
                    </a:cubicBezTo>
                    <a:cubicBezTo>
                      <a:pt x="54255" y="160020"/>
                      <a:pt x="62618" y="164609"/>
                      <a:pt x="81875" y="180607"/>
                    </a:cubicBezTo>
                    <a:cubicBezTo>
                      <a:pt x="101132" y="196605"/>
                      <a:pt x="138660" y="222296"/>
                      <a:pt x="146037" y="218307"/>
                    </a:cubicBezTo>
                    <a:cubicBezTo>
                      <a:pt x="153457" y="214275"/>
                      <a:pt x="134715" y="176575"/>
                      <a:pt x="123821" y="163494"/>
                    </a:cubicBezTo>
                    <a:cubicBezTo>
                      <a:pt x="112970" y="150327"/>
                      <a:pt x="122877" y="114944"/>
                      <a:pt x="123349" y="89210"/>
                    </a:cubicBezTo>
                    <a:close/>
                    <a:moveTo>
                      <a:pt x="628456" y="45291"/>
                    </a:moveTo>
                    <a:cubicBezTo>
                      <a:pt x="619579" y="47564"/>
                      <a:pt x="598820" y="46406"/>
                      <a:pt x="598820" y="36113"/>
                    </a:cubicBezTo>
                    <a:cubicBezTo>
                      <a:pt x="598820" y="25819"/>
                      <a:pt x="580035" y="6433"/>
                      <a:pt x="568197" y="6433"/>
                    </a:cubicBezTo>
                    <a:cubicBezTo>
                      <a:pt x="556317" y="6433"/>
                      <a:pt x="542507" y="33840"/>
                      <a:pt x="541519" y="45248"/>
                    </a:cubicBezTo>
                    <a:cubicBezTo>
                      <a:pt x="540533" y="56657"/>
                      <a:pt x="521748" y="55542"/>
                      <a:pt x="523764" y="71497"/>
                    </a:cubicBezTo>
                    <a:cubicBezTo>
                      <a:pt x="524535" y="77801"/>
                      <a:pt x="521019" y="80503"/>
                      <a:pt x="516516" y="82133"/>
                    </a:cubicBezTo>
                    <a:cubicBezTo>
                      <a:pt x="519561" y="95901"/>
                      <a:pt x="521233" y="105894"/>
                      <a:pt x="516858" y="104607"/>
                    </a:cubicBezTo>
                    <a:cubicBezTo>
                      <a:pt x="508967" y="102334"/>
                      <a:pt x="506994" y="113743"/>
                      <a:pt x="495157" y="113743"/>
                    </a:cubicBezTo>
                    <a:cubicBezTo>
                      <a:pt x="491083" y="113743"/>
                      <a:pt x="484263" y="101905"/>
                      <a:pt x="477058" y="86465"/>
                    </a:cubicBezTo>
                    <a:cubicBezTo>
                      <a:pt x="476843" y="86422"/>
                      <a:pt x="476585" y="86293"/>
                      <a:pt x="476371" y="86293"/>
                    </a:cubicBezTo>
                    <a:cubicBezTo>
                      <a:pt x="468480" y="86293"/>
                      <a:pt x="450723" y="118246"/>
                      <a:pt x="446735" y="139991"/>
                    </a:cubicBezTo>
                    <a:cubicBezTo>
                      <a:pt x="442789" y="161693"/>
                      <a:pt x="425032" y="154831"/>
                      <a:pt x="398355" y="157104"/>
                    </a:cubicBezTo>
                    <a:cubicBezTo>
                      <a:pt x="371678" y="159377"/>
                      <a:pt x="382529" y="191372"/>
                      <a:pt x="376610" y="206255"/>
                    </a:cubicBezTo>
                    <a:cubicBezTo>
                      <a:pt x="371206" y="219808"/>
                      <a:pt x="341913" y="195275"/>
                      <a:pt x="327116" y="191801"/>
                    </a:cubicBezTo>
                    <a:cubicBezTo>
                      <a:pt x="329604" y="204024"/>
                      <a:pt x="333078" y="216505"/>
                      <a:pt x="337109" y="216505"/>
                    </a:cubicBezTo>
                    <a:cubicBezTo>
                      <a:pt x="345044" y="216505"/>
                      <a:pt x="356882" y="239323"/>
                      <a:pt x="364773" y="232460"/>
                    </a:cubicBezTo>
                    <a:cubicBezTo>
                      <a:pt x="372665" y="225641"/>
                      <a:pt x="396340" y="232460"/>
                      <a:pt x="408220" y="227914"/>
                    </a:cubicBezTo>
                    <a:cubicBezTo>
                      <a:pt x="420058" y="223368"/>
                      <a:pt x="422073" y="211916"/>
                      <a:pt x="441802" y="211916"/>
                    </a:cubicBezTo>
                    <a:cubicBezTo>
                      <a:pt x="461531" y="211916"/>
                      <a:pt x="453639" y="230230"/>
                      <a:pt x="473369" y="218778"/>
                    </a:cubicBezTo>
                    <a:cubicBezTo>
                      <a:pt x="493141" y="207327"/>
                      <a:pt x="505022" y="216462"/>
                      <a:pt x="503005" y="195918"/>
                    </a:cubicBezTo>
                    <a:cubicBezTo>
                      <a:pt x="501032" y="175374"/>
                      <a:pt x="514885" y="175374"/>
                      <a:pt x="512870" y="159377"/>
                    </a:cubicBezTo>
                    <a:cubicBezTo>
                      <a:pt x="510897" y="143379"/>
                      <a:pt x="534615" y="154831"/>
                      <a:pt x="532599" y="125108"/>
                    </a:cubicBezTo>
                    <a:cubicBezTo>
                      <a:pt x="530669" y="95429"/>
                      <a:pt x="568155" y="100018"/>
                      <a:pt x="583938" y="100018"/>
                    </a:cubicBezTo>
                    <a:cubicBezTo>
                      <a:pt x="587584" y="100018"/>
                      <a:pt x="593287" y="102506"/>
                      <a:pt x="599763" y="106237"/>
                    </a:cubicBezTo>
                    <a:cubicBezTo>
                      <a:pt x="611472" y="99546"/>
                      <a:pt x="628242" y="90797"/>
                      <a:pt x="620522" y="82905"/>
                    </a:cubicBezTo>
                    <a:cubicBezTo>
                      <a:pt x="611644" y="73770"/>
                      <a:pt x="647199" y="81747"/>
                      <a:pt x="651145" y="68023"/>
                    </a:cubicBezTo>
                    <a:cubicBezTo>
                      <a:pt x="655134" y="54384"/>
                      <a:pt x="637377" y="42975"/>
                      <a:pt x="628456" y="4529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05" name="Freeform: Shape 169">
                <a:extLst>
                  <a:ext uri="{FF2B5EF4-FFF2-40B4-BE49-F238E27FC236}">
                    <a16:creationId xmlns:a16="http://schemas.microsoft.com/office/drawing/2014/main" id="{2A330C5D-CDD3-151D-7732-F938FEB444FD}"/>
                  </a:ext>
                </a:extLst>
              </p:cNvPr>
              <p:cNvSpPr/>
              <p:nvPr/>
            </p:nvSpPr>
            <p:spPr>
              <a:xfrm>
                <a:off x="9878321" y="4301001"/>
                <a:ext cx="39364" cy="32803"/>
              </a:xfrm>
              <a:custGeom>
                <a:avLst/>
                <a:gdLst>
                  <a:gd name="connsiteX0" fmla="*/ 24533 w 51467"/>
                  <a:gd name="connsiteY0" fmla="*/ 38043 h 42889"/>
                  <a:gd name="connsiteX1" fmla="*/ 46234 w 51467"/>
                  <a:gd name="connsiteY1" fmla="*/ 28907 h 42889"/>
                  <a:gd name="connsiteX2" fmla="*/ 45891 w 51467"/>
                  <a:gd name="connsiteY2" fmla="*/ 6433 h 42889"/>
                  <a:gd name="connsiteX3" fmla="*/ 29464 w 51467"/>
                  <a:gd name="connsiteY3" fmla="*/ 15183 h 42889"/>
                  <a:gd name="connsiteX4" fmla="*/ 6433 w 51467"/>
                  <a:gd name="connsiteY4" fmla="*/ 10765 h 42889"/>
                  <a:gd name="connsiteX5" fmla="*/ 24533 w 51467"/>
                  <a:gd name="connsiteY5" fmla="*/ 38043 h 4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67" h="42889">
                    <a:moveTo>
                      <a:pt x="24533" y="38043"/>
                    </a:moveTo>
                    <a:cubicBezTo>
                      <a:pt x="36370" y="38043"/>
                      <a:pt x="38343" y="26634"/>
                      <a:pt x="46234" y="28907"/>
                    </a:cubicBezTo>
                    <a:cubicBezTo>
                      <a:pt x="50609" y="30194"/>
                      <a:pt x="48936" y="20244"/>
                      <a:pt x="45891" y="6433"/>
                    </a:cubicBezTo>
                    <a:cubicBezTo>
                      <a:pt x="38857" y="9007"/>
                      <a:pt x="29464" y="8964"/>
                      <a:pt x="29464" y="15183"/>
                    </a:cubicBezTo>
                    <a:cubicBezTo>
                      <a:pt x="29464" y="25219"/>
                      <a:pt x="14496" y="11451"/>
                      <a:pt x="6433" y="10765"/>
                    </a:cubicBezTo>
                    <a:cubicBezTo>
                      <a:pt x="13639" y="26248"/>
                      <a:pt x="20500" y="38043"/>
                      <a:pt x="24533" y="3804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06" name="Freeform: Shape 171">
                <a:extLst>
                  <a:ext uri="{FF2B5EF4-FFF2-40B4-BE49-F238E27FC236}">
                    <a16:creationId xmlns:a16="http://schemas.microsoft.com/office/drawing/2014/main" id="{702BEB9A-4E88-4E0D-6B61-38986745CCE2}"/>
                  </a:ext>
                </a:extLst>
              </p:cNvPr>
              <p:cNvSpPr/>
              <p:nvPr/>
            </p:nvSpPr>
            <p:spPr>
              <a:xfrm>
                <a:off x="8175825" y="3512097"/>
                <a:ext cx="59046" cy="62327"/>
              </a:xfrm>
              <a:custGeom>
                <a:avLst/>
                <a:gdLst>
                  <a:gd name="connsiteX0" fmla="*/ 27063 w 77200"/>
                  <a:gd name="connsiteY0" fmla="*/ 57749 h 81489"/>
                  <a:gd name="connsiteX1" fmla="*/ 44176 w 77200"/>
                  <a:gd name="connsiteY1" fmla="*/ 74519 h 81489"/>
                  <a:gd name="connsiteX2" fmla="*/ 70767 w 77200"/>
                  <a:gd name="connsiteY2" fmla="*/ 76106 h 81489"/>
                  <a:gd name="connsiteX3" fmla="*/ 54727 w 77200"/>
                  <a:gd name="connsiteY3" fmla="*/ 27426 h 81489"/>
                  <a:gd name="connsiteX4" fmla="*/ 57686 w 77200"/>
                  <a:gd name="connsiteY4" fmla="*/ 20993 h 81489"/>
                  <a:gd name="connsiteX5" fmla="*/ 35598 w 77200"/>
                  <a:gd name="connsiteY5" fmla="*/ 6625 h 81489"/>
                  <a:gd name="connsiteX6" fmla="*/ 20329 w 77200"/>
                  <a:gd name="connsiteY6" fmla="*/ 20821 h 81489"/>
                  <a:gd name="connsiteX7" fmla="*/ 6433 w 77200"/>
                  <a:gd name="connsiteY7" fmla="*/ 54832 h 81489"/>
                  <a:gd name="connsiteX8" fmla="*/ 27063 w 77200"/>
                  <a:gd name="connsiteY8" fmla="*/ 57749 h 8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00" h="81489">
                    <a:moveTo>
                      <a:pt x="27063" y="57749"/>
                    </a:moveTo>
                    <a:lnTo>
                      <a:pt x="44176" y="74519"/>
                    </a:lnTo>
                    <a:lnTo>
                      <a:pt x="70767" y="76106"/>
                    </a:lnTo>
                    <a:cubicBezTo>
                      <a:pt x="64806" y="58092"/>
                      <a:pt x="54727" y="33602"/>
                      <a:pt x="54727" y="27426"/>
                    </a:cubicBezTo>
                    <a:cubicBezTo>
                      <a:pt x="54727" y="25196"/>
                      <a:pt x="55885" y="23052"/>
                      <a:pt x="57686" y="20993"/>
                    </a:cubicBezTo>
                    <a:cubicBezTo>
                      <a:pt x="48765" y="11385"/>
                      <a:pt x="43704" y="5252"/>
                      <a:pt x="35598" y="6625"/>
                    </a:cubicBezTo>
                    <a:cubicBezTo>
                      <a:pt x="25348" y="8383"/>
                      <a:pt x="24618" y="15589"/>
                      <a:pt x="20329" y="20821"/>
                    </a:cubicBezTo>
                    <a:cubicBezTo>
                      <a:pt x="17670" y="24038"/>
                      <a:pt x="11066" y="41837"/>
                      <a:pt x="6433" y="54832"/>
                    </a:cubicBezTo>
                    <a:cubicBezTo>
                      <a:pt x="17756" y="56376"/>
                      <a:pt x="27063" y="57749"/>
                      <a:pt x="27063" y="57749"/>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07" name="Freeform: Shape 261">
                <a:extLst>
                  <a:ext uri="{FF2B5EF4-FFF2-40B4-BE49-F238E27FC236}">
                    <a16:creationId xmlns:a16="http://schemas.microsoft.com/office/drawing/2014/main" id="{0C22BCCA-1D4E-6477-34CA-8D8EF1FB41FD}"/>
                  </a:ext>
                </a:extLst>
              </p:cNvPr>
              <p:cNvSpPr/>
              <p:nvPr/>
            </p:nvSpPr>
            <p:spPr>
              <a:xfrm>
                <a:off x="8420243" y="2979714"/>
                <a:ext cx="452686" cy="314912"/>
              </a:xfrm>
              <a:custGeom>
                <a:avLst/>
                <a:gdLst>
                  <a:gd name="connsiteX0" fmla="*/ 581751 w 591872"/>
                  <a:gd name="connsiteY0" fmla="*/ 230745 h 411737"/>
                  <a:gd name="connsiteX1" fmla="*/ 535602 w 591872"/>
                  <a:gd name="connsiteY1" fmla="*/ 206383 h 411737"/>
                  <a:gd name="connsiteX2" fmla="*/ 509225 w 591872"/>
                  <a:gd name="connsiteY2" fmla="*/ 207885 h 411737"/>
                  <a:gd name="connsiteX3" fmla="*/ 477572 w 591872"/>
                  <a:gd name="connsiteY3" fmla="*/ 197205 h 411737"/>
                  <a:gd name="connsiteX4" fmla="*/ 443304 w 591872"/>
                  <a:gd name="connsiteY4" fmla="*/ 227657 h 411737"/>
                  <a:gd name="connsiteX5" fmla="*/ 427478 w 591872"/>
                  <a:gd name="connsiteY5" fmla="*/ 233790 h 411737"/>
                  <a:gd name="connsiteX6" fmla="*/ 399814 w 591872"/>
                  <a:gd name="connsiteY6" fmla="*/ 213975 h 411737"/>
                  <a:gd name="connsiteX7" fmla="*/ 370778 w 591872"/>
                  <a:gd name="connsiteY7" fmla="*/ 204839 h 411737"/>
                  <a:gd name="connsiteX8" fmla="*/ 352336 w 591872"/>
                  <a:gd name="connsiteY8" fmla="*/ 165124 h 411737"/>
                  <a:gd name="connsiteX9" fmla="*/ 344401 w 591872"/>
                  <a:gd name="connsiteY9" fmla="*/ 128539 h 411737"/>
                  <a:gd name="connsiteX10" fmla="*/ 318067 w 591872"/>
                  <a:gd name="connsiteY10" fmla="*/ 105679 h 411737"/>
                  <a:gd name="connsiteX11" fmla="*/ 250774 w 591872"/>
                  <a:gd name="connsiteY11" fmla="*/ 102634 h 411737"/>
                  <a:gd name="connsiteX12" fmla="*/ 207241 w 591872"/>
                  <a:gd name="connsiteY12" fmla="*/ 105679 h 411737"/>
                  <a:gd name="connsiteX13" fmla="*/ 168169 w 591872"/>
                  <a:gd name="connsiteY13" fmla="*/ 56314 h 411737"/>
                  <a:gd name="connsiteX14" fmla="*/ 158305 w 591872"/>
                  <a:gd name="connsiteY14" fmla="*/ 73041 h 411737"/>
                  <a:gd name="connsiteX15" fmla="*/ 117817 w 591872"/>
                  <a:gd name="connsiteY15" fmla="*/ 65020 h 411737"/>
                  <a:gd name="connsiteX16" fmla="*/ 113871 w 591872"/>
                  <a:gd name="connsiteY16" fmla="*/ 10208 h 411737"/>
                  <a:gd name="connsiteX17" fmla="*/ 100061 w 591872"/>
                  <a:gd name="connsiteY17" fmla="*/ 66178 h 411737"/>
                  <a:gd name="connsiteX18" fmla="*/ 95257 w 591872"/>
                  <a:gd name="connsiteY18" fmla="*/ 6433 h 411737"/>
                  <a:gd name="connsiteX19" fmla="*/ 10765 w 591872"/>
                  <a:gd name="connsiteY19" fmla="*/ 32467 h 411737"/>
                  <a:gd name="connsiteX20" fmla="*/ 6819 w 591872"/>
                  <a:gd name="connsiteY20" fmla="*/ 203252 h 411737"/>
                  <a:gd name="connsiteX21" fmla="*/ 6433 w 591872"/>
                  <a:gd name="connsiteY21" fmla="*/ 203596 h 411737"/>
                  <a:gd name="connsiteX22" fmla="*/ 29937 w 591872"/>
                  <a:gd name="connsiteY22" fmla="*/ 210029 h 411737"/>
                  <a:gd name="connsiteX23" fmla="*/ 41774 w 591872"/>
                  <a:gd name="connsiteY23" fmla="*/ 191758 h 411737"/>
                  <a:gd name="connsiteX24" fmla="*/ 65492 w 591872"/>
                  <a:gd name="connsiteY24" fmla="*/ 171214 h 411737"/>
                  <a:gd name="connsiteX25" fmla="*/ 77372 w 591872"/>
                  <a:gd name="connsiteY25" fmla="*/ 156332 h 411737"/>
                  <a:gd name="connsiteX26" fmla="*/ 91183 w 591872"/>
                  <a:gd name="connsiteY26" fmla="*/ 148354 h 411737"/>
                  <a:gd name="connsiteX27" fmla="*/ 114901 w 591872"/>
                  <a:gd name="connsiteY27" fmla="*/ 155216 h 411737"/>
                  <a:gd name="connsiteX28" fmla="*/ 140548 w 591872"/>
                  <a:gd name="connsiteY28" fmla="*/ 165510 h 411737"/>
                  <a:gd name="connsiteX29" fmla="*/ 152386 w 591872"/>
                  <a:gd name="connsiteY29" fmla="*/ 206641 h 411737"/>
                  <a:gd name="connsiteX30" fmla="*/ 201794 w 591872"/>
                  <a:gd name="connsiteY30" fmla="*/ 213460 h 411737"/>
                  <a:gd name="connsiteX31" fmla="*/ 215605 w 591872"/>
                  <a:gd name="connsiteY31" fmla="*/ 238593 h 411737"/>
                  <a:gd name="connsiteX32" fmla="*/ 230401 w 591872"/>
                  <a:gd name="connsiteY32" fmla="*/ 270589 h 411737"/>
                  <a:gd name="connsiteX33" fmla="*/ 263984 w 591872"/>
                  <a:gd name="connsiteY33" fmla="*/ 299153 h 411737"/>
                  <a:gd name="connsiteX34" fmla="*/ 302498 w 591872"/>
                  <a:gd name="connsiteY34" fmla="*/ 325444 h 411737"/>
                  <a:gd name="connsiteX35" fmla="*/ 337067 w 591872"/>
                  <a:gd name="connsiteY35" fmla="*/ 351692 h 411737"/>
                  <a:gd name="connsiteX36" fmla="*/ 366704 w 591872"/>
                  <a:gd name="connsiteY36" fmla="*/ 363101 h 411737"/>
                  <a:gd name="connsiteX37" fmla="*/ 369234 w 591872"/>
                  <a:gd name="connsiteY37" fmla="*/ 388534 h 411737"/>
                  <a:gd name="connsiteX38" fmla="*/ 372108 w 591872"/>
                  <a:gd name="connsiteY38" fmla="*/ 387762 h 411737"/>
                  <a:gd name="connsiteX39" fmla="*/ 399814 w 591872"/>
                  <a:gd name="connsiteY39" fmla="*/ 398485 h 411737"/>
                  <a:gd name="connsiteX40" fmla="*/ 413153 w 591872"/>
                  <a:gd name="connsiteY40" fmla="*/ 405733 h 411737"/>
                  <a:gd name="connsiteX41" fmla="*/ 426963 w 591872"/>
                  <a:gd name="connsiteY41" fmla="*/ 365417 h 411737"/>
                  <a:gd name="connsiteX42" fmla="*/ 423017 w 591872"/>
                  <a:gd name="connsiteY42" fmla="*/ 331148 h 411737"/>
                  <a:gd name="connsiteX43" fmla="*/ 402259 w 591872"/>
                  <a:gd name="connsiteY43" fmla="*/ 301469 h 411737"/>
                  <a:gd name="connsiteX44" fmla="*/ 433868 w 591872"/>
                  <a:gd name="connsiteY44" fmla="*/ 287744 h 411737"/>
                  <a:gd name="connsiteX45" fmla="*/ 444719 w 591872"/>
                  <a:gd name="connsiteY45" fmla="*/ 266043 h 411737"/>
                  <a:gd name="connsiteX46" fmla="*/ 460502 w 591872"/>
                  <a:gd name="connsiteY46" fmla="*/ 245499 h 411737"/>
                  <a:gd name="connsiteX47" fmla="*/ 486193 w 591872"/>
                  <a:gd name="connsiteY47" fmla="*/ 238636 h 411737"/>
                  <a:gd name="connsiteX48" fmla="*/ 508925 w 591872"/>
                  <a:gd name="connsiteY48" fmla="*/ 232932 h 411737"/>
                  <a:gd name="connsiteX49" fmla="*/ 497130 w 591872"/>
                  <a:gd name="connsiteY49" fmla="*/ 264627 h 411737"/>
                  <a:gd name="connsiteX50" fmla="*/ 535602 w 591872"/>
                  <a:gd name="connsiteY50" fmla="*/ 256693 h 411737"/>
                  <a:gd name="connsiteX51" fmla="*/ 567254 w 591872"/>
                  <a:gd name="connsiteY51" fmla="*/ 250602 h 411737"/>
                  <a:gd name="connsiteX52" fmla="*/ 581751 w 591872"/>
                  <a:gd name="connsiteY52" fmla="*/ 230745 h 411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91872" h="411737">
                    <a:moveTo>
                      <a:pt x="581751" y="230745"/>
                    </a:moveTo>
                    <a:cubicBezTo>
                      <a:pt x="565925" y="215519"/>
                      <a:pt x="538261" y="197205"/>
                      <a:pt x="535602" y="206383"/>
                    </a:cubicBezTo>
                    <a:cubicBezTo>
                      <a:pt x="532943" y="215519"/>
                      <a:pt x="515830" y="217020"/>
                      <a:pt x="509225" y="207885"/>
                    </a:cubicBezTo>
                    <a:cubicBezTo>
                      <a:pt x="502663" y="198706"/>
                      <a:pt x="497387" y="188070"/>
                      <a:pt x="477572" y="197205"/>
                    </a:cubicBezTo>
                    <a:cubicBezTo>
                      <a:pt x="457800" y="206341"/>
                      <a:pt x="444591" y="218564"/>
                      <a:pt x="443304" y="227657"/>
                    </a:cubicBezTo>
                    <a:cubicBezTo>
                      <a:pt x="442017" y="236835"/>
                      <a:pt x="428807" y="245970"/>
                      <a:pt x="427478" y="233790"/>
                    </a:cubicBezTo>
                    <a:cubicBezTo>
                      <a:pt x="426148" y="221566"/>
                      <a:pt x="410365" y="217020"/>
                      <a:pt x="399814" y="213975"/>
                    </a:cubicBezTo>
                    <a:cubicBezTo>
                      <a:pt x="389263" y="210930"/>
                      <a:pt x="372108" y="216977"/>
                      <a:pt x="370778" y="204839"/>
                    </a:cubicBezTo>
                    <a:cubicBezTo>
                      <a:pt x="369491" y="192616"/>
                      <a:pt x="353665" y="178891"/>
                      <a:pt x="352336" y="165124"/>
                    </a:cubicBezTo>
                    <a:cubicBezTo>
                      <a:pt x="351006" y="151442"/>
                      <a:pt x="354995" y="131585"/>
                      <a:pt x="344401" y="128539"/>
                    </a:cubicBezTo>
                    <a:cubicBezTo>
                      <a:pt x="333850" y="125494"/>
                      <a:pt x="327289" y="105679"/>
                      <a:pt x="318067" y="105679"/>
                    </a:cubicBezTo>
                    <a:cubicBezTo>
                      <a:pt x="308803" y="105679"/>
                      <a:pt x="257379" y="105679"/>
                      <a:pt x="250774" y="102634"/>
                    </a:cubicBezTo>
                    <a:cubicBezTo>
                      <a:pt x="244169" y="99632"/>
                      <a:pt x="209901" y="114815"/>
                      <a:pt x="207241" y="105679"/>
                    </a:cubicBezTo>
                    <a:cubicBezTo>
                      <a:pt x="205097" y="98260"/>
                      <a:pt x="181336" y="68838"/>
                      <a:pt x="168169" y="56314"/>
                    </a:cubicBezTo>
                    <a:cubicBezTo>
                      <a:pt x="166754" y="62619"/>
                      <a:pt x="163752" y="68494"/>
                      <a:pt x="158305" y="73041"/>
                    </a:cubicBezTo>
                    <a:cubicBezTo>
                      <a:pt x="133600" y="93627"/>
                      <a:pt x="109925" y="90153"/>
                      <a:pt x="117817" y="65020"/>
                    </a:cubicBezTo>
                    <a:cubicBezTo>
                      <a:pt x="125709" y="39887"/>
                      <a:pt x="126695" y="10208"/>
                      <a:pt x="113871" y="10208"/>
                    </a:cubicBezTo>
                    <a:cubicBezTo>
                      <a:pt x="101047" y="10208"/>
                      <a:pt x="109925" y="62747"/>
                      <a:pt x="100061" y="66178"/>
                    </a:cubicBezTo>
                    <a:cubicBezTo>
                      <a:pt x="91312" y="69180"/>
                      <a:pt x="87923" y="28050"/>
                      <a:pt x="95257" y="6433"/>
                    </a:cubicBezTo>
                    <a:lnTo>
                      <a:pt x="10765" y="32467"/>
                    </a:lnTo>
                    <a:lnTo>
                      <a:pt x="6819" y="203252"/>
                    </a:lnTo>
                    <a:cubicBezTo>
                      <a:pt x="6819" y="203252"/>
                      <a:pt x="6605" y="203381"/>
                      <a:pt x="6433" y="203596"/>
                    </a:cubicBezTo>
                    <a:cubicBezTo>
                      <a:pt x="14325" y="208056"/>
                      <a:pt x="23503" y="209471"/>
                      <a:pt x="29937" y="210029"/>
                    </a:cubicBezTo>
                    <a:cubicBezTo>
                      <a:pt x="42761" y="211144"/>
                      <a:pt x="41774" y="199778"/>
                      <a:pt x="41774" y="191758"/>
                    </a:cubicBezTo>
                    <a:cubicBezTo>
                      <a:pt x="41774" y="183781"/>
                      <a:pt x="55584" y="170056"/>
                      <a:pt x="65492" y="171214"/>
                    </a:cubicBezTo>
                    <a:cubicBezTo>
                      <a:pt x="75399" y="172372"/>
                      <a:pt x="74370" y="156332"/>
                      <a:pt x="77372" y="156332"/>
                    </a:cubicBezTo>
                    <a:cubicBezTo>
                      <a:pt x="80332" y="156332"/>
                      <a:pt x="88224" y="154059"/>
                      <a:pt x="91183" y="148354"/>
                    </a:cubicBezTo>
                    <a:cubicBezTo>
                      <a:pt x="94142" y="142607"/>
                      <a:pt x="109968" y="149469"/>
                      <a:pt x="114901" y="155216"/>
                    </a:cubicBezTo>
                    <a:cubicBezTo>
                      <a:pt x="119833" y="160921"/>
                      <a:pt x="131670" y="163194"/>
                      <a:pt x="140548" y="165510"/>
                    </a:cubicBezTo>
                    <a:cubicBezTo>
                      <a:pt x="149426" y="167783"/>
                      <a:pt x="152386" y="199778"/>
                      <a:pt x="152386" y="206641"/>
                    </a:cubicBezTo>
                    <a:cubicBezTo>
                      <a:pt x="152386" y="213460"/>
                      <a:pt x="194846" y="212345"/>
                      <a:pt x="201794" y="213460"/>
                    </a:cubicBezTo>
                    <a:cubicBezTo>
                      <a:pt x="208700" y="214618"/>
                      <a:pt x="208700" y="228300"/>
                      <a:pt x="215605" y="238593"/>
                    </a:cubicBezTo>
                    <a:cubicBezTo>
                      <a:pt x="222553" y="248887"/>
                      <a:pt x="227485" y="262568"/>
                      <a:pt x="230401" y="270589"/>
                    </a:cubicBezTo>
                    <a:cubicBezTo>
                      <a:pt x="233361" y="278609"/>
                      <a:pt x="258065" y="288860"/>
                      <a:pt x="263984" y="299153"/>
                    </a:cubicBezTo>
                    <a:cubicBezTo>
                      <a:pt x="269903" y="309446"/>
                      <a:pt x="288645" y="319740"/>
                      <a:pt x="302498" y="325444"/>
                    </a:cubicBezTo>
                    <a:cubicBezTo>
                      <a:pt x="316352" y="331191"/>
                      <a:pt x="329175" y="352850"/>
                      <a:pt x="337067" y="351692"/>
                    </a:cubicBezTo>
                    <a:cubicBezTo>
                      <a:pt x="344959" y="350577"/>
                      <a:pt x="366704" y="363101"/>
                      <a:pt x="366704" y="363101"/>
                    </a:cubicBezTo>
                    <a:lnTo>
                      <a:pt x="369234" y="388534"/>
                    </a:lnTo>
                    <a:cubicBezTo>
                      <a:pt x="370178" y="388363"/>
                      <a:pt x="371121" y="388191"/>
                      <a:pt x="372108" y="387762"/>
                    </a:cubicBezTo>
                    <a:cubicBezTo>
                      <a:pt x="383945" y="383216"/>
                      <a:pt x="390550" y="398485"/>
                      <a:pt x="399814" y="398485"/>
                    </a:cubicBezTo>
                    <a:cubicBezTo>
                      <a:pt x="403674" y="398485"/>
                      <a:pt x="408521" y="402259"/>
                      <a:pt x="413153" y="405733"/>
                    </a:cubicBezTo>
                    <a:cubicBezTo>
                      <a:pt x="412510" y="383388"/>
                      <a:pt x="419329" y="372279"/>
                      <a:pt x="426963" y="365417"/>
                    </a:cubicBezTo>
                    <a:cubicBezTo>
                      <a:pt x="435841" y="357440"/>
                      <a:pt x="421045" y="343715"/>
                      <a:pt x="423017" y="331148"/>
                    </a:cubicBezTo>
                    <a:cubicBezTo>
                      <a:pt x="424947" y="318582"/>
                      <a:pt x="400329" y="311720"/>
                      <a:pt x="402259" y="301469"/>
                    </a:cubicBezTo>
                    <a:cubicBezTo>
                      <a:pt x="404232" y="291176"/>
                      <a:pt x="424947" y="292334"/>
                      <a:pt x="433868" y="287744"/>
                    </a:cubicBezTo>
                    <a:cubicBezTo>
                      <a:pt x="442746" y="283198"/>
                      <a:pt x="435841" y="266043"/>
                      <a:pt x="444719" y="266043"/>
                    </a:cubicBezTo>
                    <a:cubicBezTo>
                      <a:pt x="453597" y="266043"/>
                      <a:pt x="457543" y="255749"/>
                      <a:pt x="460502" y="245499"/>
                    </a:cubicBezTo>
                    <a:cubicBezTo>
                      <a:pt x="463462" y="235205"/>
                      <a:pt x="478259" y="245499"/>
                      <a:pt x="486193" y="238636"/>
                    </a:cubicBezTo>
                    <a:cubicBezTo>
                      <a:pt x="494085" y="231774"/>
                      <a:pt x="505965" y="227228"/>
                      <a:pt x="508925" y="232932"/>
                    </a:cubicBezTo>
                    <a:cubicBezTo>
                      <a:pt x="511283" y="237435"/>
                      <a:pt x="501462" y="256564"/>
                      <a:pt x="497130" y="264627"/>
                    </a:cubicBezTo>
                    <a:cubicBezTo>
                      <a:pt x="510897" y="264155"/>
                      <a:pt x="531613" y="261282"/>
                      <a:pt x="535602" y="256693"/>
                    </a:cubicBezTo>
                    <a:cubicBezTo>
                      <a:pt x="540877" y="250602"/>
                      <a:pt x="560649" y="265828"/>
                      <a:pt x="567254" y="250602"/>
                    </a:cubicBezTo>
                    <a:cubicBezTo>
                      <a:pt x="573816" y="235334"/>
                      <a:pt x="597577" y="246013"/>
                      <a:pt x="581751" y="23074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08" name="Freeform: Shape 265">
                <a:extLst>
                  <a:ext uri="{FF2B5EF4-FFF2-40B4-BE49-F238E27FC236}">
                    <a16:creationId xmlns:a16="http://schemas.microsoft.com/office/drawing/2014/main" id="{0AD9C249-18B3-02D6-017C-4ED38300E80D}"/>
                  </a:ext>
                </a:extLst>
              </p:cNvPr>
              <p:cNvSpPr/>
              <p:nvPr/>
            </p:nvSpPr>
            <p:spPr>
              <a:xfrm>
                <a:off x="11799807" y="2239446"/>
                <a:ext cx="88569" cy="36084"/>
              </a:xfrm>
              <a:custGeom>
                <a:avLst/>
                <a:gdLst>
                  <a:gd name="connsiteX0" fmla="*/ 100967 w 115801"/>
                  <a:gd name="connsiteY0" fmla="*/ 22466 h 47178"/>
                  <a:gd name="connsiteX1" fmla="*/ 82825 w 115801"/>
                  <a:gd name="connsiteY1" fmla="*/ 19077 h 47178"/>
                  <a:gd name="connsiteX2" fmla="*/ 56191 w 115801"/>
                  <a:gd name="connsiteY2" fmla="*/ 6596 h 47178"/>
                  <a:gd name="connsiteX3" fmla="*/ 49158 w 115801"/>
                  <a:gd name="connsiteY3" fmla="*/ 7368 h 47178"/>
                  <a:gd name="connsiteX4" fmla="*/ 7683 w 115801"/>
                  <a:gd name="connsiteY4" fmla="*/ 22251 h 47178"/>
                  <a:gd name="connsiteX5" fmla="*/ 69916 w 115801"/>
                  <a:gd name="connsiteY5" fmla="*/ 38206 h 47178"/>
                  <a:gd name="connsiteX6" fmla="*/ 110404 w 115801"/>
                  <a:gd name="connsiteY6" fmla="*/ 31344 h 47178"/>
                  <a:gd name="connsiteX7" fmla="*/ 100967 w 115801"/>
                  <a:gd name="connsiteY7" fmla="*/ 22466 h 4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801" h="47178">
                    <a:moveTo>
                      <a:pt x="100967" y="22466"/>
                    </a:moveTo>
                    <a:cubicBezTo>
                      <a:pt x="95006" y="20921"/>
                      <a:pt x="89002" y="19635"/>
                      <a:pt x="82825" y="19077"/>
                    </a:cubicBezTo>
                    <a:cubicBezTo>
                      <a:pt x="72447" y="18134"/>
                      <a:pt x="62925" y="13673"/>
                      <a:pt x="56191" y="6596"/>
                    </a:cubicBezTo>
                    <a:cubicBezTo>
                      <a:pt x="52889" y="6253"/>
                      <a:pt x="50316" y="6425"/>
                      <a:pt x="49158" y="7368"/>
                    </a:cubicBezTo>
                    <a:cubicBezTo>
                      <a:pt x="42252" y="13116"/>
                      <a:pt x="-1452" y="10328"/>
                      <a:pt x="7683" y="22251"/>
                    </a:cubicBezTo>
                    <a:cubicBezTo>
                      <a:pt x="15575" y="32502"/>
                      <a:pt x="53103" y="26840"/>
                      <a:pt x="69916" y="38206"/>
                    </a:cubicBezTo>
                    <a:cubicBezTo>
                      <a:pt x="86686" y="49614"/>
                      <a:pt x="110404" y="40479"/>
                      <a:pt x="110404" y="31344"/>
                    </a:cubicBezTo>
                    <a:cubicBezTo>
                      <a:pt x="110447" y="28985"/>
                      <a:pt x="106629" y="25768"/>
                      <a:pt x="100967" y="2246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09" name="Freeform: Shape 266">
                <a:extLst>
                  <a:ext uri="{FF2B5EF4-FFF2-40B4-BE49-F238E27FC236}">
                    <a16:creationId xmlns:a16="http://schemas.microsoft.com/office/drawing/2014/main" id="{44C8CB96-CB55-8DF7-FE94-4E130817D873}"/>
                  </a:ext>
                </a:extLst>
              </p:cNvPr>
              <p:cNvSpPr/>
              <p:nvPr/>
            </p:nvSpPr>
            <p:spPr>
              <a:xfrm>
                <a:off x="10354440" y="3377615"/>
                <a:ext cx="68887" cy="62327"/>
              </a:xfrm>
              <a:custGeom>
                <a:avLst/>
                <a:gdLst>
                  <a:gd name="connsiteX0" fmla="*/ 50811 w 90067"/>
                  <a:gd name="connsiteY0" fmla="*/ 15360 h 81489"/>
                  <a:gd name="connsiteX1" fmla="*/ 19201 w 90067"/>
                  <a:gd name="connsiteY1" fmla="*/ 25653 h 81489"/>
                  <a:gd name="connsiteX2" fmla="*/ 14269 w 90067"/>
                  <a:gd name="connsiteY2" fmla="*/ 77035 h 81489"/>
                  <a:gd name="connsiteX3" fmla="*/ 33011 w 90067"/>
                  <a:gd name="connsiteY3" fmla="*/ 66741 h 81489"/>
                  <a:gd name="connsiteX4" fmla="*/ 61662 w 90067"/>
                  <a:gd name="connsiteY4" fmla="*/ 54132 h 81489"/>
                  <a:gd name="connsiteX5" fmla="*/ 84392 w 90067"/>
                  <a:gd name="connsiteY5" fmla="*/ 19863 h 81489"/>
                  <a:gd name="connsiteX6" fmla="*/ 50811 w 90067"/>
                  <a:gd name="connsiteY6" fmla="*/ 15360 h 8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67" h="81489">
                    <a:moveTo>
                      <a:pt x="50811" y="15360"/>
                    </a:moveTo>
                    <a:cubicBezTo>
                      <a:pt x="46864" y="27926"/>
                      <a:pt x="35027" y="22222"/>
                      <a:pt x="19201" y="25653"/>
                    </a:cubicBezTo>
                    <a:cubicBezTo>
                      <a:pt x="3418" y="29084"/>
                      <a:pt x="2860" y="72617"/>
                      <a:pt x="14269" y="77035"/>
                    </a:cubicBezTo>
                    <a:cubicBezTo>
                      <a:pt x="23146" y="80466"/>
                      <a:pt x="30052" y="80466"/>
                      <a:pt x="33011" y="66741"/>
                    </a:cubicBezTo>
                    <a:cubicBezTo>
                      <a:pt x="35970" y="53060"/>
                      <a:pt x="51797" y="48470"/>
                      <a:pt x="61662" y="54132"/>
                    </a:cubicBezTo>
                    <a:cubicBezTo>
                      <a:pt x="71525" y="59879"/>
                      <a:pt x="84392" y="37019"/>
                      <a:pt x="84392" y="19863"/>
                    </a:cubicBezTo>
                    <a:cubicBezTo>
                      <a:pt x="84435" y="2793"/>
                      <a:pt x="54799" y="2793"/>
                      <a:pt x="50811" y="1536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10" name="Freeform: Shape 267">
                <a:extLst>
                  <a:ext uri="{FF2B5EF4-FFF2-40B4-BE49-F238E27FC236}">
                    <a16:creationId xmlns:a16="http://schemas.microsoft.com/office/drawing/2014/main" id="{A1665451-A4A4-816C-C1DC-8FC26E98A404}"/>
                  </a:ext>
                </a:extLst>
              </p:cNvPr>
              <p:cNvSpPr/>
              <p:nvPr/>
            </p:nvSpPr>
            <p:spPr>
              <a:xfrm>
                <a:off x="10283058" y="3399603"/>
                <a:ext cx="72167" cy="95130"/>
              </a:xfrm>
              <a:custGeom>
                <a:avLst/>
                <a:gdLst>
                  <a:gd name="connsiteX0" fmla="*/ 76032 w 94356"/>
                  <a:gd name="connsiteY0" fmla="*/ 31173 h 124378"/>
                  <a:gd name="connsiteX1" fmla="*/ 53343 w 94356"/>
                  <a:gd name="connsiteY1" fmla="*/ 11744 h 124378"/>
                  <a:gd name="connsiteX2" fmla="*/ 22720 w 94356"/>
                  <a:gd name="connsiteY2" fmla="*/ 19764 h 124378"/>
                  <a:gd name="connsiteX3" fmla="*/ 8867 w 94356"/>
                  <a:gd name="connsiteY3" fmla="*/ 47171 h 124378"/>
                  <a:gd name="connsiteX4" fmla="*/ 27609 w 94356"/>
                  <a:gd name="connsiteY4" fmla="*/ 35762 h 124378"/>
                  <a:gd name="connsiteX5" fmla="*/ 32585 w 94356"/>
                  <a:gd name="connsiteY5" fmla="*/ 74577 h 124378"/>
                  <a:gd name="connsiteX6" fmla="*/ 45409 w 94356"/>
                  <a:gd name="connsiteY6" fmla="*/ 121369 h 124378"/>
                  <a:gd name="connsiteX7" fmla="*/ 82937 w 94356"/>
                  <a:gd name="connsiteY7" fmla="*/ 56263 h 124378"/>
                  <a:gd name="connsiteX8" fmla="*/ 76032 w 94356"/>
                  <a:gd name="connsiteY8" fmla="*/ 31173 h 124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356" h="124378">
                    <a:moveTo>
                      <a:pt x="76032" y="31173"/>
                    </a:moveTo>
                    <a:cubicBezTo>
                      <a:pt x="76032" y="19764"/>
                      <a:pt x="54329" y="22037"/>
                      <a:pt x="53343" y="11744"/>
                    </a:cubicBezTo>
                    <a:cubicBezTo>
                      <a:pt x="52357" y="1451"/>
                      <a:pt x="37560" y="7198"/>
                      <a:pt x="22720" y="19764"/>
                    </a:cubicBezTo>
                    <a:cubicBezTo>
                      <a:pt x="7924" y="32331"/>
                      <a:pt x="2948" y="34604"/>
                      <a:pt x="8867" y="47171"/>
                    </a:cubicBezTo>
                    <a:cubicBezTo>
                      <a:pt x="14786" y="59737"/>
                      <a:pt x="23664" y="48329"/>
                      <a:pt x="27609" y="35762"/>
                    </a:cubicBezTo>
                    <a:cubicBezTo>
                      <a:pt x="31556" y="23196"/>
                      <a:pt x="41463" y="54033"/>
                      <a:pt x="32585" y="74577"/>
                    </a:cubicBezTo>
                    <a:cubicBezTo>
                      <a:pt x="23664" y="95121"/>
                      <a:pt x="33700" y="124071"/>
                      <a:pt x="45409" y="121369"/>
                    </a:cubicBezTo>
                    <a:cubicBezTo>
                      <a:pt x="55274" y="119096"/>
                      <a:pt x="68141" y="77965"/>
                      <a:pt x="82937" y="56263"/>
                    </a:cubicBezTo>
                    <a:cubicBezTo>
                      <a:pt x="97734" y="34561"/>
                      <a:pt x="76032" y="42539"/>
                      <a:pt x="76032" y="3117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11" name="Freeform: Shape 268">
                <a:extLst>
                  <a:ext uri="{FF2B5EF4-FFF2-40B4-BE49-F238E27FC236}">
                    <a16:creationId xmlns:a16="http://schemas.microsoft.com/office/drawing/2014/main" id="{39E7E13D-29A4-46F9-32FA-ED4A0BB58442}"/>
                  </a:ext>
                </a:extLst>
              </p:cNvPr>
              <p:cNvSpPr/>
              <p:nvPr/>
            </p:nvSpPr>
            <p:spPr>
              <a:xfrm>
                <a:off x="10547093" y="2990217"/>
                <a:ext cx="177138" cy="154176"/>
              </a:xfrm>
              <a:custGeom>
                <a:avLst/>
                <a:gdLst>
                  <a:gd name="connsiteX0" fmla="*/ 197923 w 231602"/>
                  <a:gd name="connsiteY0" fmla="*/ 68444 h 201579"/>
                  <a:gd name="connsiteX1" fmla="*/ 164384 w 231602"/>
                  <a:gd name="connsiteY1" fmla="*/ 77579 h 201579"/>
                  <a:gd name="connsiteX2" fmla="*/ 91300 w 231602"/>
                  <a:gd name="connsiteY2" fmla="*/ 15905 h 201579"/>
                  <a:gd name="connsiteX3" fmla="*/ 69598 w 231602"/>
                  <a:gd name="connsiteY3" fmla="*/ 27313 h 201579"/>
                  <a:gd name="connsiteX4" fmla="*/ 67582 w 231602"/>
                  <a:gd name="connsiteY4" fmla="*/ 67286 h 201579"/>
                  <a:gd name="connsiteX5" fmla="*/ 57760 w 231602"/>
                  <a:gd name="connsiteY5" fmla="*/ 101554 h 201579"/>
                  <a:gd name="connsiteX6" fmla="*/ 30097 w 231602"/>
                  <a:gd name="connsiteY6" fmla="*/ 115236 h 201579"/>
                  <a:gd name="connsiteX7" fmla="*/ 17273 w 231602"/>
                  <a:gd name="connsiteY7" fmla="*/ 138096 h 201579"/>
                  <a:gd name="connsiteX8" fmla="*/ 11355 w 231602"/>
                  <a:gd name="connsiteY8" fmla="*/ 160913 h 201579"/>
                  <a:gd name="connsiteX9" fmla="*/ 11355 w 231602"/>
                  <a:gd name="connsiteY9" fmla="*/ 190593 h 201579"/>
                  <a:gd name="connsiteX10" fmla="*/ 28167 w 231602"/>
                  <a:gd name="connsiteY10" fmla="*/ 182615 h 201579"/>
                  <a:gd name="connsiteX11" fmla="*/ 45923 w 231602"/>
                  <a:gd name="connsiteY11" fmla="*/ 178026 h 201579"/>
                  <a:gd name="connsiteX12" fmla="*/ 26151 w 231602"/>
                  <a:gd name="connsiteY12" fmla="*/ 149462 h 201579"/>
                  <a:gd name="connsiteX13" fmla="*/ 53815 w 231602"/>
                  <a:gd name="connsiteY13" fmla="*/ 146031 h 201579"/>
                  <a:gd name="connsiteX14" fmla="*/ 104167 w 231602"/>
                  <a:gd name="connsiteY14" fmla="*/ 159712 h 201579"/>
                  <a:gd name="connsiteX15" fmla="*/ 125912 w 231602"/>
                  <a:gd name="connsiteY15" fmla="*/ 150577 h 201579"/>
                  <a:gd name="connsiteX16" fmla="*/ 174291 w 231602"/>
                  <a:gd name="connsiteY16" fmla="*/ 124329 h 201579"/>
                  <a:gd name="connsiteX17" fmla="*/ 192047 w 231602"/>
                  <a:gd name="connsiteY17" fmla="*/ 106015 h 201579"/>
                  <a:gd name="connsiteX18" fmla="*/ 228589 w 231602"/>
                  <a:gd name="connsiteY18" fmla="*/ 58065 h 201579"/>
                  <a:gd name="connsiteX19" fmla="*/ 197923 w 231602"/>
                  <a:gd name="connsiteY19" fmla="*/ 68444 h 201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1602" h="201579">
                    <a:moveTo>
                      <a:pt x="197923" y="68444"/>
                    </a:moveTo>
                    <a:cubicBezTo>
                      <a:pt x="191018" y="58193"/>
                      <a:pt x="179180" y="74191"/>
                      <a:pt x="164384" y="77579"/>
                    </a:cubicBezTo>
                    <a:cubicBezTo>
                      <a:pt x="149544" y="81010"/>
                      <a:pt x="103137" y="36491"/>
                      <a:pt x="91300" y="15905"/>
                    </a:cubicBezTo>
                    <a:cubicBezTo>
                      <a:pt x="79420" y="-4640"/>
                      <a:pt x="59690" y="12473"/>
                      <a:pt x="69598" y="27313"/>
                    </a:cubicBezTo>
                    <a:cubicBezTo>
                      <a:pt x="79462" y="42153"/>
                      <a:pt x="67582" y="46699"/>
                      <a:pt x="67582" y="67286"/>
                    </a:cubicBezTo>
                    <a:cubicBezTo>
                      <a:pt x="67582" y="87830"/>
                      <a:pt x="55745" y="87830"/>
                      <a:pt x="57760" y="101554"/>
                    </a:cubicBezTo>
                    <a:cubicBezTo>
                      <a:pt x="59733" y="115236"/>
                      <a:pt x="41934" y="112963"/>
                      <a:pt x="30097" y="115236"/>
                    </a:cubicBezTo>
                    <a:cubicBezTo>
                      <a:pt x="18259" y="117552"/>
                      <a:pt x="31083" y="131277"/>
                      <a:pt x="17273" y="138096"/>
                    </a:cubicBezTo>
                    <a:cubicBezTo>
                      <a:pt x="3463" y="144958"/>
                      <a:pt x="4449" y="156324"/>
                      <a:pt x="11355" y="160913"/>
                    </a:cubicBezTo>
                    <a:cubicBezTo>
                      <a:pt x="18259" y="165460"/>
                      <a:pt x="13327" y="180342"/>
                      <a:pt x="11355" y="190593"/>
                    </a:cubicBezTo>
                    <a:cubicBezTo>
                      <a:pt x="9381" y="200886"/>
                      <a:pt x="20232" y="192909"/>
                      <a:pt x="28167" y="182615"/>
                    </a:cubicBezTo>
                    <a:cubicBezTo>
                      <a:pt x="36058" y="172365"/>
                      <a:pt x="44293" y="187548"/>
                      <a:pt x="45923" y="178026"/>
                    </a:cubicBezTo>
                    <a:cubicBezTo>
                      <a:pt x="47895" y="166618"/>
                      <a:pt x="25208" y="160913"/>
                      <a:pt x="26151" y="149462"/>
                    </a:cubicBezTo>
                    <a:cubicBezTo>
                      <a:pt x="27138" y="138096"/>
                      <a:pt x="41934" y="152893"/>
                      <a:pt x="53815" y="146031"/>
                    </a:cubicBezTo>
                    <a:cubicBezTo>
                      <a:pt x="65652" y="139168"/>
                      <a:pt x="89370" y="144916"/>
                      <a:pt x="104167" y="159712"/>
                    </a:cubicBezTo>
                    <a:cubicBezTo>
                      <a:pt x="118963" y="174552"/>
                      <a:pt x="122952" y="168891"/>
                      <a:pt x="125912" y="150577"/>
                    </a:cubicBezTo>
                    <a:cubicBezTo>
                      <a:pt x="128871" y="132306"/>
                      <a:pt x="151560" y="124329"/>
                      <a:pt x="174291" y="124329"/>
                    </a:cubicBezTo>
                    <a:cubicBezTo>
                      <a:pt x="197022" y="124329"/>
                      <a:pt x="198995" y="111719"/>
                      <a:pt x="192047" y="106015"/>
                    </a:cubicBezTo>
                    <a:cubicBezTo>
                      <a:pt x="185141" y="100311"/>
                      <a:pt x="229575" y="67200"/>
                      <a:pt x="228589" y="58065"/>
                    </a:cubicBezTo>
                    <a:cubicBezTo>
                      <a:pt x="227559" y="49058"/>
                      <a:pt x="204828" y="78780"/>
                      <a:pt x="197923" y="6844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12" name="Freeform: Shape 269">
                <a:extLst>
                  <a:ext uri="{FF2B5EF4-FFF2-40B4-BE49-F238E27FC236}">
                    <a16:creationId xmlns:a16="http://schemas.microsoft.com/office/drawing/2014/main" id="{7A5A2C03-504F-432D-5E5C-48605BD5F4D9}"/>
                  </a:ext>
                </a:extLst>
              </p:cNvPr>
              <p:cNvSpPr/>
              <p:nvPr/>
            </p:nvSpPr>
            <p:spPr>
              <a:xfrm>
                <a:off x="10315531" y="3141235"/>
                <a:ext cx="295231" cy="268988"/>
              </a:xfrm>
              <a:custGeom>
                <a:avLst/>
                <a:gdLst>
                  <a:gd name="connsiteX0" fmla="*/ 250079 w 386003"/>
                  <a:gd name="connsiteY0" fmla="*/ 304518 h 351692"/>
                  <a:gd name="connsiteX1" fmla="*/ 253768 w 386003"/>
                  <a:gd name="connsiteY1" fmla="*/ 299328 h 351692"/>
                  <a:gd name="connsiteX2" fmla="*/ 266892 w 386003"/>
                  <a:gd name="connsiteY2" fmla="*/ 295468 h 351692"/>
                  <a:gd name="connsiteX3" fmla="*/ 309438 w 386003"/>
                  <a:gd name="connsiteY3" fmla="*/ 254809 h 351692"/>
                  <a:gd name="connsiteX4" fmla="*/ 335772 w 386003"/>
                  <a:gd name="connsiteY4" fmla="*/ 228861 h 351692"/>
                  <a:gd name="connsiteX5" fmla="*/ 338689 w 386003"/>
                  <a:gd name="connsiteY5" fmla="*/ 218224 h 351692"/>
                  <a:gd name="connsiteX6" fmla="*/ 346580 w 386003"/>
                  <a:gd name="connsiteY6" fmla="*/ 158823 h 351692"/>
                  <a:gd name="connsiteX7" fmla="*/ 377204 w 386003"/>
                  <a:gd name="connsiteY7" fmla="*/ 116534 h 351692"/>
                  <a:gd name="connsiteX8" fmla="*/ 361420 w 386003"/>
                  <a:gd name="connsiteY8" fmla="*/ 13771 h 351692"/>
                  <a:gd name="connsiteX9" fmla="*/ 318960 w 386003"/>
                  <a:gd name="connsiteY9" fmla="*/ 27453 h 351692"/>
                  <a:gd name="connsiteX10" fmla="*/ 313041 w 386003"/>
                  <a:gd name="connsiteY10" fmla="*/ 78834 h 351692"/>
                  <a:gd name="connsiteX11" fmla="*/ 296228 w 386003"/>
                  <a:gd name="connsiteY11" fmla="*/ 130258 h 351692"/>
                  <a:gd name="connsiteX12" fmla="*/ 275470 w 386003"/>
                  <a:gd name="connsiteY12" fmla="*/ 167915 h 351692"/>
                  <a:gd name="connsiteX13" fmla="*/ 244890 w 386003"/>
                  <a:gd name="connsiteY13" fmla="*/ 195364 h 351692"/>
                  <a:gd name="connsiteX14" fmla="*/ 223145 w 386003"/>
                  <a:gd name="connsiteY14" fmla="*/ 182798 h 351692"/>
                  <a:gd name="connsiteX15" fmla="*/ 198440 w 386003"/>
                  <a:gd name="connsiteY15" fmla="*/ 213635 h 351692"/>
                  <a:gd name="connsiteX16" fmla="*/ 177683 w 386003"/>
                  <a:gd name="connsiteY16" fmla="*/ 252450 h 351692"/>
                  <a:gd name="connsiteX17" fmla="*/ 156924 w 386003"/>
                  <a:gd name="connsiteY17" fmla="*/ 260427 h 351692"/>
                  <a:gd name="connsiteX18" fmla="*/ 116479 w 386003"/>
                  <a:gd name="connsiteY18" fmla="*/ 266175 h 351692"/>
                  <a:gd name="connsiteX19" fmla="*/ 67071 w 386003"/>
                  <a:gd name="connsiteY19" fmla="*/ 269606 h 351692"/>
                  <a:gd name="connsiteX20" fmla="*/ 15732 w 386003"/>
                  <a:gd name="connsiteY20" fmla="*/ 314168 h 351692"/>
                  <a:gd name="connsiteX21" fmla="*/ 15732 w 386003"/>
                  <a:gd name="connsiteY21" fmla="*/ 336985 h 351692"/>
                  <a:gd name="connsiteX22" fmla="*/ 52274 w 386003"/>
                  <a:gd name="connsiteY22" fmla="*/ 326691 h 351692"/>
                  <a:gd name="connsiteX23" fmla="*/ 136208 w 386003"/>
                  <a:gd name="connsiteY23" fmla="*/ 302716 h 351692"/>
                  <a:gd name="connsiteX24" fmla="*/ 150019 w 386003"/>
                  <a:gd name="connsiteY24" fmla="*/ 336985 h 351692"/>
                  <a:gd name="connsiteX25" fmla="*/ 189520 w 386003"/>
                  <a:gd name="connsiteY25" fmla="*/ 334712 h 351692"/>
                  <a:gd name="connsiteX26" fmla="*/ 201357 w 386003"/>
                  <a:gd name="connsiteY26" fmla="*/ 308421 h 351692"/>
                  <a:gd name="connsiteX27" fmla="*/ 211264 w 386003"/>
                  <a:gd name="connsiteY27" fmla="*/ 302716 h 351692"/>
                  <a:gd name="connsiteX28" fmla="*/ 231722 w 386003"/>
                  <a:gd name="connsiteY28" fmla="*/ 313010 h 351692"/>
                  <a:gd name="connsiteX29" fmla="*/ 250079 w 386003"/>
                  <a:gd name="connsiteY29" fmla="*/ 304518 h 351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86003" h="351692">
                    <a:moveTo>
                      <a:pt x="250079" y="304518"/>
                    </a:moveTo>
                    <a:cubicBezTo>
                      <a:pt x="251452" y="302973"/>
                      <a:pt x="252696" y="301301"/>
                      <a:pt x="253768" y="299328"/>
                    </a:cubicBezTo>
                    <a:cubicBezTo>
                      <a:pt x="259430" y="288863"/>
                      <a:pt x="262817" y="291522"/>
                      <a:pt x="266892" y="295468"/>
                    </a:cubicBezTo>
                    <a:cubicBezTo>
                      <a:pt x="279029" y="278312"/>
                      <a:pt x="292754" y="264288"/>
                      <a:pt x="309438" y="254809"/>
                    </a:cubicBezTo>
                    <a:cubicBezTo>
                      <a:pt x="315915" y="244387"/>
                      <a:pt x="324321" y="235509"/>
                      <a:pt x="335772" y="228861"/>
                    </a:cubicBezTo>
                    <a:cubicBezTo>
                      <a:pt x="336115" y="224872"/>
                      <a:pt x="336930" y="221226"/>
                      <a:pt x="338689" y="218224"/>
                    </a:cubicBezTo>
                    <a:cubicBezTo>
                      <a:pt x="346580" y="204543"/>
                      <a:pt x="354472" y="175978"/>
                      <a:pt x="346580" y="158823"/>
                    </a:cubicBezTo>
                    <a:cubicBezTo>
                      <a:pt x="338689" y="141710"/>
                      <a:pt x="364380" y="130258"/>
                      <a:pt x="377204" y="116534"/>
                    </a:cubicBezTo>
                    <a:cubicBezTo>
                      <a:pt x="390070" y="102852"/>
                      <a:pt x="362406" y="34315"/>
                      <a:pt x="361420" y="13771"/>
                    </a:cubicBezTo>
                    <a:cubicBezTo>
                      <a:pt x="360433" y="-6773"/>
                      <a:pt x="328824" y="21748"/>
                      <a:pt x="318960" y="27453"/>
                    </a:cubicBezTo>
                    <a:cubicBezTo>
                      <a:pt x="309095" y="33157"/>
                      <a:pt x="302147" y="68584"/>
                      <a:pt x="313041" y="78834"/>
                    </a:cubicBezTo>
                    <a:cubicBezTo>
                      <a:pt x="323891" y="89127"/>
                      <a:pt x="295242" y="108556"/>
                      <a:pt x="296228" y="130258"/>
                    </a:cubicBezTo>
                    <a:cubicBezTo>
                      <a:pt x="297214" y="151960"/>
                      <a:pt x="278429" y="151960"/>
                      <a:pt x="275470" y="167915"/>
                    </a:cubicBezTo>
                    <a:cubicBezTo>
                      <a:pt x="272510" y="183956"/>
                      <a:pt x="261659" y="180482"/>
                      <a:pt x="244890" y="195364"/>
                    </a:cubicBezTo>
                    <a:cubicBezTo>
                      <a:pt x="228120" y="210204"/>
                      <a:pt x="219199" y="193091"/>
                      <a:pt x="223145" y="182798"/>
                    </a:cubicBezTo>
                    <a:cubicBezTo>
                      <a:pt x="227091" y="172504"/>
                      <a:pt x="197454" y="188502"/>
                      <a:pt x="198440" y="213635"/>
                    </a:cubicBezTo>
                    <a:cubicBezTo>
                      <a:pt x="199470" y="238768"/>
                      <a:pt x="170820" y="241041"/>
                      <a:pt x="177683" y="252450"/>
                    </a:cubicBezTo>
                    <a:cubicBezTo>
                      <a:pt x="184630" y="263901"/>
                      <a:pt x="155980" y="270721"/>
                      <a:pt x="156924" y="260427"/>
                    </a:cubicBezTo>
                    <a:cubicBezTo>
                      <a:pt x="157953" y="250177"/>
                      <a:pt x="139168" y="255924"/>
                      <a:pt x="116479" y="266175"/>
                    </a:cubicBezTo>
                    <a:cubicBezTo>
                      <a:pt x="93748" y="276468"/>
                      <a:pt x="79895" y="254766"/>
                      <a:pt x="67071" y="269606"/>
                    </a:cubicBezTo>
                    <a:cubicBezTo>
                      <a:pt x="54247" y="284488"/>
                      <a:pt x="32502" y="310736"/>
                      <a:pt x="15732" y="314168"/>
                    </a:cubicBezTo>
                    <a:cubicBezTo>
                      <a:pt x="-1038" y="317556"/>
                      <a:pt x="8612" y="341102"/>
                      <a:pt x="15732" y="336985"/>
                    </a:cubicBezTo>
                    <a:cubicBezTo>
                      <a:pt x="27570" y="330122"/>
                      <a:pt x="46355" y="336985"/>
                      <a:pt x="52274" y="326691"/>
                    </a:cubicBezTo>
                    <a:cubicBezTo>
                      <a:pt x="58192" y="316398"/>
                      <a:pt x="106572" y="303874"/>
                      <a:pt x="136208" y="302716"/>
                    </a:cubicBezTo>
                    <a:cubicBezTo>
                      <a:pt x="165845" y="301558"/>
                      <a:pt x="148045" y="318671"/>
                      <a:pt x="150019" y="336985"/>
                    </a:cubicBezTo>
                    <a:cubicBezTo>
                      <a:pt x="151992" y="355256"/>
                      <a:pt x="176696" y="351824"/>
                      <a:pt x="189520" y="334712"/>
                    </a:cubicBezTo>
                    <a:cubicBezTo>
                      <a:pt x="202344" y="317556"/>
                      <a:pt x="212209" y="318671"/>
                      <a:pt x="201357" y="308421"/>
                    </a:cubicBezTo>
                    <a:cubicBezTo>
                      <a:pt x="190506" y="298170"/>
                      <a:pt x="203373" y="289034"/>
                      <a:pt x="211264" y="302716"/>
                    </a:cubicBezTo>
                    <a:cubicBezTo>
                      <a:pt x="215211" y="309579"/>
                      <a:pt x="223316" y="313267"/>
                      <a:pt x="231722" y="313010"/>
                    </a:cubicBezTo>
                    <a:cubicBezTo>
                      <a:pt x="236913" y="308292"/>
                      <a:pt x="243217" y="305204"/>
                      <a:pt x="250079" y="30451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13" name="Freeform: Shape 271">
                <a:extLst>
                  <a:ext uri="{FF2B5EF4-FFF2-40B4-BE49-F238E27FC236}">
                    <a16:creationId xmlns:a16="http://schemas.microsoft.com/office/drawing/2014/main" id="{7F2E7CEF-5EAF-E13F-0118-D7CF214ECBA5}"/>
                  </a:ext>
                </a:extLst>
              </p:cNvPr>
              <p:cNvSpPr/>
              <p:nvPr/>
            </p:nvSpPr>
            <p:spPr>
              <a:xfrm>
                <a:off x="8883657" y="2677695"/>
                <a:ext cx="1538478" cy="1161239"/>
              </a:xfrm>
              <a:custGeom>
                <a:avLst/>
                <a:gdLst>
                  <a:gd name="connsiteX0" fmla="*/ 2001515 w 2011508"/>
                  <a:gd name="connsiteY0" fmla="*/ 289801 h 1518281"/>
                  <a:gd name="connsiteX1" fmla="*/ 1974838 w 2011508"/>
                  <a:gd name="connsiteY1" fmla="*/ 281824 h 1518281"/>
                  <a:gd name="connsiteX2" fmla="*/ 1942242 w 2011508"/>
                  <a:gd name="connsiteY2" fmla="*/ 295506 h 1518281"/>
                  <a:gd name="connsiteX3" fmla="*/ 1912606 w 2011508"/>
                  <a:gd name="connsiteY3" fmla="*/ 303526 h 1518281"/>
                  <a:gd name="connsiteX4" fmla="*/ 1880010 w 2011508"/>
                  <a:gd name="connsiteY4" fmla="*/ 288686 h 1518281"/>
                  <a:gd name="connsiteX5" fmla="*/ 1873105 w 2011508"/>
                  <a:gd name="connsiteY5" fmla="*/ 255576 h 1518281"/>
                  <a:gd name="connsiteX6" fmla="*/ 1849387 w 2011508"/>
                  <a:gd name="connsiteY6" fmla="*/ 237262 h 1518281"/>
                  <a:gd name="connsiteX7" fmla="*/ 1815847 w 2011508"/>
                  <a:gd name="connsiteY7" fmla="*/ 220149 h 1518281"/>
                  <a:gd name="connsiteX8" fmla="*/ 1783251 w 2011508"/>
                  <a:gd name="connsiteY8" fmla="*/ 206424 h 1518281"/>
                  <a:gd name="connsiteX9" fmla="*/ 1770427 w 2011508"/>
                  <a:gd name="connsiteY9" fmla="*/ 184722 h 1518281"/>
                  <a:gd name="connsiteX10" fmla="*/ 1753615 w 2011508"/>
                  <a:gd name="connsiteY10" fmla="*/ 137887 h 1518281"/>
                  <a:gd name="connsiteX11" fmla="*/ 1733886 w 2011508"/>
                  <a:gd name="connsiteY11" fmla="*/ 92210 h 1518281"/>
                  <a:gd name="connsiteX12" fmla="*/ 1718103 w 2011508"/>
                  <a:gd name="connsiteY12" fmla="*/ 56827 h 1518281"/>
                  <a:gd name="connsiteX13" fmla="*/ 1696357 w 2011508"/>
                  <a:gd name="connsiteY13" fmla="*/ 28262 h 1518281"/>
                  <a:gd name="connsiteX14" fmla="*/ 1655870 w 2011508"/>
                  <a:gd name="connsiteY14" fmla="*/ 14581 h 1518281"/>
                  <a:gd name="connsiteX15" fmla="*/ 1618385 w 2011508"/>
                  <a:gd name="connsiteY15" fmla="*/ 7718 h 1518281"/>
                  <a:gd name="connsiteX16" fmla="*/ 1569019 w 2011508"/>
                  <a:gd name="connsiteY16" fmla="*/ 12308 h 1518281"/>
                  <a:gd name="connsiteX17" fmla="*/ 1526559 w 2011508"/>
                  <a:gd name="connsiteY17" fmla="*/ 28262 h 1518281"/>
                  <a:gd name="connsiteX18" fmla="*/ 1529518 w 2011508"/>
                  <a:gd name="connsiteY18" fmla="*/ 48806 h 1518281"/>
                  <a:gd name="connsiteX19" fmla="*/ 1539383 w 2011508"/>
                  <a:gd name="connsiteY19" fmla="*/ 76213 h 1518281"/>
                  <a:gd name="connsiteX20" fmla="*/ 1524587 w 2011508"/>
                  <a:gd name="connsiteY20" fmla="*/ 95599 h 1518281"/>
                  <a:gd name="connsiteX21" fmla="*/ 1503871 w 2011508"/>
                  <a:gd name="connsiteY21" fmla="*/ 132140 h 1518281"/>
                  <a:gd name="connsiteX22" fmla="*/ 1488045 w 2011508"/>
                  <a:gd name="connsiteY22" fmla="*/ 172113 h 1518281"/>
                  <a:gd name="connsiteX23" fmla="*/ 1473247 w 2011508"/>
                  <a:gd name="connsiteY23" fmla="*/ 189226 h 1518281"/>
                  <a:gd name="connsiteX24" fmla="*/ 1441681 w 2011508"/>
                  <a:gd name="connsiteY24" fmla="*/ 208655 h 1518281"/>
                  <a:gd name="connsiteX25" fmla="*/ 1409085 w 2011508"/>
                  <a:gd name="connsiteY25" fmla="*/ 198361 h 1518281"/>
                  <a:gd name="connsiteX26" fmla="*/ 1401622 w 2011508"/>
                  <a:gd name="connsiteY26" fmla="*/ 191928 h 1518281"/>
                  <a:gd name="connsiteX27" fmla="*/ 1374902 w 2011508"/>
                  <a:gd name="connsiteY27" fmla="*/ 253689 h 1518281"/>
                  <a:gd name="connsiteX28" fmla="*/ 1372758 w 2011508"/>
                  <a:gd name="connsiteY28" fmla="*/ 273589 h 1518281"/>
                  <a:gd name="connsiteX29" fmla="*/ 1368469 w 2011508"/>
                  <a:gd name="connsiteY29" fmla="*/ 293490 h 1518281"/>
                  <a:gd name="connsiteX30" fmla="*/ 1402909 w 2011508"/>
                  <a:gd name="connsiteY30" fmla="*/ 295977 h 1518281"/>
                  <a:gd name="connsiteX31" fmla="*/ 1435162 w 2011508"/>
                  <a:gd name="connsiteY31" fmla="*/ 300953 h 1518281"/>
                  <a:gd name="connsiteX32" fmla="*/ 1467415 w 2011508"/>
                  <a:gd name="connsiteY32" fmla="*/ 295977 h 1518281"/>
                  <a:gd name="connsiteX33" fmla="*/ 1510476 w 2011508"/>
                  <a:gd name="connsiteY33" fmla="*/ 348216 h 1518281"/>
                  <a:gd name="connsiteX34" fmla="*/ 1476036 w 2011508"/>
                  <a:gd name="connsiteY34" fmla="*/ 353192 h 1518281"/>
                  <a:gd name="connsiteX35" fmla="*/ 1433018 w 2011508"/>
                  <a:gd name="connsiteY35" fmla="*/ 363142 h 1518281"/>
                  <a:gd name="connsiteX36" fmla="*/ 1392144 w 2011508"/>
                  <a:gd name="connsiteY36" fmla="*/ 383085 h 1518281"/>
                  <a:gd name="connsiteX37" fmla="*/ 1362036 w 2011508"/>
                  <a:gd name="connsiteY37" fmla="*/ 415424 h 1518281"/>
                  <a:gd name="connsiteX38" fmla="*/ 1312541 w 2011508"/>
                  <a:gd name="connsiteY38" fmla="*/ 432837 h 1518281"/>
                  <a:gd name="connsiteX39" fmla="*/ 1258759 w 2011508"/>
                  <a:gd name="connsiteY39" fmla="*/ 437812 h 1518281"/>
                  <a:gd name="connsiteX40" fmla="*/ 1226463 w 2011508"/>
                  <a:gd name="connsiteY40" fmla="*/ 447763 h 1518281"/>
                  <a:gd name="connsiteX41" fmla="*/ 1235084 w 2011508"/>
                  <a:gd name="connsiteY41" fmla="*/ 492539 h 1518281"/>
                  <a:gd name="connsiteX42" fmla="*/ 1194210 w 2011508"/>
                  <a:gd name="connsiteY42" fmla="*/ 529853 h 1518281"/>
                  <a:gd name="connsiteX43" fmla="*/ 1133993 w 2011508"/>
                  <a:gd name="connsiteY43" fmla="*/ 559747 h 1518281"/>
                  <a:gd name="connsiteX44" fmla="*/ 1058722 w 2011508"/>
                  <a:gd name="connsiteY44" fmla="*/ 562234 h 1518281"/>
                  <a:gd name="connsiteX45" fmla="*/ 1000607 w 2011508"/>
                  <a:gd name="connsiteY45" fmla="*/ 597060 h 1518281"/>
                  <a:gd name="connsiteX46" fmla="*/ 974788 w 2011508"/>
                  <a:gd name="connsiteY46" fmla="*/ 582092 h 1518281"/>
                  <a:gd name="connsiteX47" fmla="*/ 940390 w 2011508"/>
                  <a:gd name="connsiteY47" fmla="*/ 572142 h 1518281"/>
                  <a:gd name="connsiteX48" fmla="*/ 903807 w 2011508"/>
                  <a:gd name="connsiteY48" fmla="*/ 562191 h 1518281"/>
                  <a:gd name="connsiteX49" fmla="*/ 843590 w 2011508"/>
                  <a:gd name="connsiteY49" fmla="*/ 547266 h 1518281"/>
                  <a:gd name="connsiteX50" fmla="*/ 763987 w 2011508"/>
                  <a:gd name="connsiteY50" fmla="*/ 544778 h 1518281"/>
                  <a:gd name="connsiteX51" fmla="*/ 720969 w 2011508"/>
                  <a:gd name="connsiteY51" fmla="*/ 539803 h 1518281"/>
                  <a:gd name="connsiteX52" fmla="*/ 701626 w 2011508"/>
                  <a:gd name="connsiteY52" fmla="*/ 500002 h 1518281"/>
                  <a:gd name="connsiteX53" fmla="*/ 675807 w 2011508"/>
                  <a:gd name="connsiteY53" fmla="*/ 467663 h 1518281"/>
                  <a:gd name="connsiteX54" fmla="*/ 654277 w 2011508"/>
                  <a:gd name="connsiteY54" fmla="*/ 450250 h 1518281"/>
                  <a:gd name="connsiteX55" fmla="*/ 629229 w 2011508"/>
                  <a:gd name="connsiteY55" fmla="*/ 432751 h 1518281"/>
                  <a:gd name="connsiteX56" fmla="*/ 554044 w 2011508"/>
                  <a:gd name="connsiteY56" fmla="*/ 411436 h 1518281"/>
                  <a:gd name="connsiteX57" fmla="*/ 561592 w 2011508"/>
                  <a:gd name="connsiteY57" fmla="*/ 379826 h 1518281"/>
                  <a:gd name="connsiteX58" fmla="*/ 563651 w 2011508"/>
                  <a:gd name="connsiteY58" fmla="*/ 341097 h 1518281"/>
                  <a:gd name="connsiteX59" fmla="*/ 545852 w 2011508"/>
                  <a:gd name="connsiteY59" fmla="*/ 311846 h 1518281"/>
                  <a:gd name="connsiteX60" fmla="*/ 517159 w 2011508"/>
                  <a:gd name="connsiteY60" fmla="*/ 284955 h 1518281"/>
                  <a:gd name="connsiteX61" fmla="*/ 487094 w 2011508"/>
                  <a:gd name="connsiteY61" fmla="*/ 265998 h 1518281"/>
                  <a:gd name="connsiteX62" fmla="*/ 463162 w 2011508"/>
                  <a:gd name="connsiteY62" fmla="*/ 230400 h 1518281"/>
                  <a:gd name="connsiteX63" fmla="*/ 462089 w 2011508"/>
                  <a:gd name="connsiteY63" fmla="*/ 225768 h 1518281"/>
                  <a:gd name="connsiteX64" fmla="*/ 449351 w 2011508"/>
                  <a:gd name="connsiteY64" fmla="*/ 223409 h 1518281"/>
                  <a:gd name="connsiteX65" fmla="*/ 440602 w 2011508"/>
                  <a:gd name="connsiteY65" fmla="*/ 217361 h 1518281"/>
                  <a:gd name="connsiteX66" fmla="*/ 429022 w 2011508"/>
                  <a:gd name="connsiteY66" fmla="*/ 242237 h 1518281"/>
                  <a:gd name="connsiteX67" fmla="*/ 414654 w 2011508"/>
                  <a:gd name="connsiteY67" fmla="*/ 263553 h 1518281"/>
                  <a:gd name="connsiteX68" fmla="*/ 392780 w 2011508"/>
                  <a:gd name="connsiteY68" fmla="*/ 292804 h 1518281"/>
                  <a:gd name="connsiteX69" fmla="*/ 397584 w 2011508"/>
                  <a:gd name="connsiteY69" fmla="*/ 323641 h 1518281"/>
                  <a:gd name="connsiteX70" fmla="*/ 366146 w 2011508"/>
                  <a:gd name="connsiteY70" fmla="*/ 337065 h 1518281"/>
                  <a:gd name="connsiteX71" fmla="*/ 335394 w 2011508"/>
                  <a:gd name="connsiteY71" fmla="*/ 333892 h 1518281"/>
                  <a:gd name="connsiteX72" fmla="*/ 312834 w 2011508"/>
                  <a:gd name="connsiteY72" fmla="*/ 333892 h 1518281"/>
                  <a:gd name="connsiteX73" fmla="*/ 292334 w 2011508"/>
                  <a:gd name="connsiteY73" fmla="*/ 408176 h 1518281"/>
                  <a:gd name="connsiteX74" fmla="*/ 292334 w 2011508"/>
                  <a:gd name="connsiteY74" fmla="*/ 426361 h 1518281"/>
                  <a:gd name="connsiteX75" fmla="*/ 268401 w 2011508"/>
                  <a:gd name="connsiteY75" fmla="*/ 419241 h 1518281"/>
                  <a:gd name="connsiteX76" fmla="*/ 236963 w 2011508"/>
                  <a:gd name="connsiteY76" fmla="*/ 426361 h 1518281"/>
                  <a:gd name="connsiteX77" fmla="*/ 217792 w 2011508"/>
                  <a:gd name="connsiteY77" fmla="*/ 441501 h 1518281"/>
                  <a:gd name="connsiteX78" fmla="*/ 225212 w 2011508"/>
                  <a:gd name="connsiteY78" fmla="*/ 474912 h 1518281"/>
                  <a:gd name="connsiteX79" fmla="*/ 238550 w 2011508"/>
                  <a:gd name="connsiteY79" fmla="*/ 517758 h 1518281"/>
                  <a:gd name="connsiteX80" fmla="*/ 220794 w 2011508"/>
                  <a:gd name="connsiteY80" fmla="*/ 546880 h 1518281"/>
                  <a:gd name="connsiteX81" fmla="*/ 218564 w 2011508"/>
                  <a:gd name="connsiteY81" fmla="*/ 570898 h 1518281"/>
                  <a:gd name="connsiteX82" fmla="*/ 188928 w 2011508"/>
                  <a:gd name="connsiteY82" fmla="*/ 588011 h 1518281"/>
                  <a:gd name="connsiteX83" fmla="*/ 163022 w 2011508"/>
                  <a:gd name="connsiteY83" fmla="*/ 605124 h 1518281"/>
                  <a:gd name="connsiteX84" fmla="*/ 136388 w 2011508"/>
                  <a:gd name="connsiteY84" fmla="*/ 622236 h 1518281"/>
                  <a:gd name="connsiteX85" fmla="*/ 106022 w 2011508"/>
                  <a:gd name="connsiteY85" fmla="*/ 632487 h 1518281"/>
                  <a:gd name="connsiteX86" fmla="*/ 86036 w 2011508"/>
                  <a:gd name="connsiteY86" fmla="*/ 647927 h 1518281"/>
                  <a:gd name="connsiteX87" fmla="*/ 65277 w 2011508"/>
                  <a:gd name="connsiteY87" fmla="*/ 640250 h 1518281"/>
                  <a:gd name="connsiteX88" fmla="*/ 45291 w 2011508"/>
                  <a:gd name="connsiteY88" fmla="*/ 647927 h 1518281"/>
                  <a:gd name="connsiteX89" fmla="*/ 26763 w 2011508"/>
                  <a:gd name="connsiteY89" fmla="*/ 661652 h 1518281"/>
                  <a:gd name="connsiteX90" fmla="*/ 11923 w 2011508"/>
                  <a:gd name="connsiteY90" fmla="*/ 671945 h 1518281"/>
                  <a:gd name="connsiteX91" fmla="*/ 6433 w 2011508"/>
                  <a:gd name="connsiteY91" fmla="*/ 691074 h 1518281"/>
                  <a:gd name="connsiteX92" fmla="*/ 6476 w 2011508"/>
                  <a:gd name="connsiteY92" fmla="*/ 691074 h 1518281"/>
                  <a:gd name="connsiteX93" fmla="*/ 11752 w 2011508"/>
                  <a:gd name="connsiteY93" fmla="*/ 724613 h 1518281"/>
                  <a:gd name="connsiteX94" fmla="*/ 44734 w 2011508"/>
                  <a:gd name="connsiteY94" fmla="*/ 749060 h 1518281"/>
                  <a:gd name="connsiteX95" fmla="*/ 51338 w 2011508"/>
                  <a:gd name="connsiteY95" fmla="*/ 800913 h 1518281"/>
                  <a:gd name="connsiteX96" fmla="*/ 50352 w 2011508"/>
                  <a:gd name="connsiteY96" fmla="*/ 801042 h 1518281"/>
                  <a:gd name="connsiteX97" fmla="*/ 80803 w 2011508"/>
                  <a:gd name="connsiteY97" fmla="*/ 829606 h 1518281"/>
                  <a:gd name="connsiteX98" fmla="*/ 97830 w 2011508"/>
                  <a:gd name="connsiteY98" fmla="*/ 858728 h 1518281"/>
                  <a:gd name="connsiteX99" fmla="*/ 123907 w 2011508"/>
                  <a:gd name="connsiteY99" fmla="*/ 874726 h 1518281"/>
                  <a:gd name="connsiteX100" fmla="*/ 125151 w 2011508"/>
                  <a:gd name="connsiteY100" fmla="*/ 871080 h 1518281"/>
                  <a:gd name="connsiteX101" fmla="*/ 138318 w 2011508"/>
                  <a:gd name="connsiteY101" fmla="*/ 869536 h 1518281"/>
                  <a:gd name="connsiteX102" fmla="*/ 145867 w 2011508"/>
                  <a:gd name="connsiteY102" fmla="*/ 876999 h 1518281"/>
                  <a:gd name="connsiteX103" fmla="*/ 183738 w 2011508"/>
                  <a:gd name="connsiteY103" fmla="*/ 851866 h 1518281"/>
                  <a:gd name="connsiteX104" fmla="*/ 222252 w 2011508"/>
                  <a:gd name="connsiteY104" fmla="*/ 888708 h 1518281"/>
                  <a:gd name="connsiteX105" fmla="*/ 188928 w 2011508"/>
                  <a:gd name="connsiteY105" fmla="*/ 934942 h 1518281"/>
                  <a:gd name="connsiteX106" fmla="*/ 174688 w 2011508"/>
                  <a:gd name="connsiteY106" fmla="*/ 936658 h 1518281"/>
                  <a:gd name="connsiteX107" fmla="*/ 172629 w 2011508"/>
                  <a:gd name="connsiteY107" fmla="*/ 950425 h 1518281"/>
                  <a:gd name="connsiteX108" fmla="*/ 191072 w 2011508"/>
                  <a:gd name="connsiteY108" fmla="*/ 983965 h 1518281"/>
                  <a:gd name="connsiteX109" fmla="*/ 171300 w 2011508"/>
                  <a:gd name="connsiteY109" fmla="*/ 997689 h 1518281"/>
                  <a:gd name="connsiteX110" fmla="*/ 163365 w 2011508"/>
                  <a:gd name="connsiteY110" fmla="*/ 1014459 h 1518281"/>
                  <a:gd name="connsiteX111" fmla="*/ 175246 w 2011508"/>
                  <a:gd name="connsiteY111" fmla="*/ 1044996 h 1518281"/>
                  <a:gd name="connsiteX112" fmla="*/ 202952 w 2011508"/>
                  <a:gd name="connsiteY112" fmla="*/ 1067856 h 1518281"/>
                  <a:gd name="connsiteX113" fmla="*/ 222724 w 2011508"/>
                  <a:gd name="connsiteY113" fmla="*/ 1087714 h 1518281"/>
                  <a:gd name="connsiteX114" fmla="*/ 237220 w 2011508"/>
                  <a:gd name="connsiteY114" fmla="*/ 1104484 h 1518281"/>
                  <a:gd name="connsiteX115" fmla="*/ 236578 w 2011508"/>
                  <a:gd name="connsiteY115" fmla="*/ 1106800 h 1518281"/>
                  <a:gd name="connsiteX116" fmla="*/ 257036 w 2011508"/>
                  <a:gd name="connsiteY116" fmla="*/ 1099466 h 1518281"/>
                  <a:gd name="connsiteX117" fmla="*/ 283713 w 2011508"/>
                  <a:gd name="connsiteY117" fmla="*/ 1105470 h 1518281"/>
                  <a:gd name="connsiteX118" fmla="*/ 351821 w 2011508"/>
                  <a:gd name="connsiteY118" fmla="*/ 1162856 h 1518281"/>
                  <a:gd name="connsiteX119" fmla="*/ 416241 w 2011508"/>
                  <a:gd name="connsiteY119" fmla="*/ 1192836 h 1518281"/>
                  <a:gd name="connsiteX120" fmla="*/ 459945 w 2011508"/>
                  <a:gd name="connsiteY120" fmla="*/ 1202229 h 1518281"/>
                  <a:gd name="connsiteX121" fmla="*/ 467579 w 2011508"/>
                  <a:gd name="connsiteY121" fmla="*/ 1202443 h 1518281"/>
                  <a:gd name="connsiteX122" fmla="*/ 478473 w 2011508"/>
                  <a:gd name="connsiteY122" fmla="*/ 1192879 h 1518281"/>
                  <a:gd name="connsiteX123" fmla="*/ 489024 w 2011508"/>
                  <a:gd name="connsiteY123" fmla="*/ 1212694 h 1518281"/>
                  <a:gd name="connsiteX124" fmla="*/ 490911 w 2011508"/>
                  <a:gd name="connsiteY124" fmla="*/ 1229678 h 1518281"/>
                  <a:gd name="connsiteX125" fmla="*/ 498459 w 2011508"/>
                  <a:gd name="connsiteY125" fmla="*/ 1213337 h 1518281"/>
                  <a:gd name="connsiteX126" fmla="*/ 522177 w 2011508"/>
                  <a:gd name="connsiteY126" fmla="*/ 1189362 h 1518281"/>
                  <a:gd name="connsiteX127" fmla="*/ 549584 w 2011508"/>
                  <a:gd name="connsiteY127" fmla="*/ 1194508 h 1518281"/>
                  <a:gd name="connsiteX128" fmla="*/ 588141 w 2011508"/>
                  <a:gd name="connsiteY128" fmla="*/ 1206689 h 1518281"/>
                  <a:gd name="connsiteX129" fmla="*/ 599850 w 2011508"/>
                  <a:gd name="connsiteY129" fmla="*/ 1202014 h 1518281"/>
                  <a:gd name="connsiteX130" fmla="*/ 615676 w 2011508"/>
                  <a:gd name="connsiteY130" fmla="*/ 1185244 h 1518281"/>
                  <a:gd name="connsiteX131" fmla="*/ 628843 w 2011508"/>
                  <a:gd name="connsiteY131" fmla="*/ 1169976 h 1518281"/>
                  <a:gd name="connsiteX132" fmla="*/ 657836 w 2011508"/>
                  <a:gd name="connsiteY132" fmla="*/ 1148660 h 1518281"/>
                  <a:gd name="connsiteX133" fmla="*/ 697380 w 2011508"/>
                  <a:gd name="connsiteY133" fmla="*/ 1147159 h 1518281"/>
                  <a:gd name="connsiteX134" fmla="*/ 714493 w 2011508"/>
                  <a:gd name="connsiteY134" fmla="*/ 1144113 h 1518281"/>
                  <a:gd name="connsiteX135" fmla="*/ 727703 w 2011508"/>
                  <a:gd name="connsiteY135" fmla="*/ 1170019 h 1518281"/>
                  <a:gd name="connsiteX136" fmla="*/ 746874 w 2011508"/>
                  <a:gd name="connsiteY136" fmla="*/ 1182071 h 1518281"/>
                  <a:gd name="connsiteX137" fmla="*/ 752493 w 2011508"/>
                  <a:gd name="connsiteY137" fmla="*/ 1178253 h 1518281"/>
                  <a:gd name="connsiteX138" fmla="*/ 774710 w 2011508"/>
                  <a:gd name="connsiteY138" fmla="*/ 1189362 h 1518281"/>
                  <a:gd name="connsiteX139" fmla="*/ 782129 w 2011508"/>
                  <a:gd name="connsiteY139" fmla="*/ 1210764 h 1518281"/>
                  <a:gd name="connsiteX140" fmla="*/ 795425 w 2011508"/>
                  <a:gd name="connsiteY140" fmla="*/ 1229635 h 1518281"/>
                  <a:gd name="connsiteX141" fmla="*/ 787276 w 2011508"/>
                  <a:gd name="connsiteY141" fmla="*/ 1286163 h 1518281"/>
                  <a:gd name="connsiteX142" fmla="*/ 759870 w 2011508"/>
                  <a:gd name="connsiteY142" fmla="*/ 1340118 h 1518281"/>
                  <a:gd name="connsiteX143" fmla="*/ 765788 w 2011508"/>
                  <a:gd name="connsiteY143" fmla="*/ 1358989 h 1518281"/>
                  <a:gd name="connsiteX144" fmla="*/ 796154 w 2011508"/>
                  <a:gd name="connsiteY144" fmla="*/ 1365851 h 1518281"/>
                  <a:gd name="connsiteX145" fmla="*/ 806533 w 2011508"/>
                  <a:gd name="connsiteY145" fmla="*/ 1397546 h 1518281"/>
                  <a:gd name="connsiteX146" fmla="*/ 819143 w 2011508"/>
                  <a:gd name="connsiteY146" fmla="*/ 1414702 h 1518281"/>
                  <a:gd name="connsiteX147" fmla="*/ 819143 w 2011508"/>
                  <a:gd name="connsiteY147" fmla="*/ 1440393 h 1518281"/>
                  <a:gd name="connsiteX148" fmla="*/ 837671 w 2011508"/>
                  <a:gd name="connsiteY148" fmla="*/ 1450686 h 1518281"/>
                  <a:gd name="connsiteX149" fmla="*/ 858387 w 2011508"/>
                  <a:gd name="connsiteY149" fmla="*/ 1463510 h 1518281"/>
                  <a:gd name="connsiteX150" fmla="*/ 873441 w 2011508"/>
                  <a:gd name="connsiteY150" fmla="*/ 1459907 h 1518281"/>
                  <a:gd name="connsiteX151" fmla="*/ 889911 w 2011508"/>
                  <a:gd name="connsiteY151" fmla="*/ 1478135 h 1518281"/>
                  <a:gd name="connsiteX152" fmla="*/ 891239 w 2011508"/>
                  <a:gd name="connsiteY152" fmla="*/ 1447598 h 1518281"/>
                  <a:gd name="connsiteX153" fmla="*/ 896515 w 2011508"/>
                  <a:gd name="connsiteY153" fmla="*/ 1427783 h 1518281"/>
                  <a:gd name="connsiteX154" fmla="*/ 918903 w 2011508"/>
                  <a:gd name="connsiteY154" fmla="*/ 1418648 h 1518281"/>
                  <a:gd name="connsiteX155" fmla="*/ 943994 w 2011508"/>
                  <a:gd name="connsiteY155" fmla="*/ 1415603 h 1518281"/>
                  <a:gd name="connsiteX156" fmla="*/ 972987 w 2011508"/>
                  <a:gd name="connsiteY156" fmla="*/ 1415603 h 1518281"/>
                  <a:gd name="connsiteX157" fmla="*/ 995418 w 2011508"/>
                  <a:gd name="connsiteY157" fmla="*/ 1411057 h 1518281"/>
                  <a:gd name="connsiteX158" fmla="*/ 1021795 w 2011508"/>
                  <a:gd name="connsiteY158" fmla="*/ 1391199 h 1518281"/>
                  <a:gd name="connsiteX159" fmla="*/ 1049459 w 2011508"/>
                  <a:gd name="connsiteY159" fmla="*/ 1408011 h 1518281"/>
                  <a:gd name="connsiteX160" fmla="*/ 1058680 w 2011508"/>
                  <a:gd name="connsiteY160" fmla="*/ 1430871 h 1518281"/>
                  <a:gd name="connsiteX161" fmla="*/ 1091661 w 2011508"/>
                  <a:gd name="connsiteY161" fmla="*/ 1459822 h 1518281"/>
                  <a:gd name="connsiteX162" fmla="*/ 1098524 w 2011508"/>
                  <a:gd name="connsiteY162" fmla="*/ 1466169 h 1518281"/>
                  <a:gd name="connsiteX163" fmla="*/ 1118896 w 2011508"/>
                  <a:gd name="connsiteY163" fmla="*/ 1459864 h 1518281"/>
                  <a:gd name="connsiteX164" fmla="*/ 1137167 w 2011508"/>
                  <a:gd name="connsiteY164" fmla="*/ 1460980 h 1518281"/>
                  <a:gd name="connsiteX165" fmla="*/ 1156424 w 2011508"/>
                  <a:gd name="connsiteY165" fmla="*/ 1460980 h 1518281"/>
                  <a:gd name="connsiteX166" fmla="*/ 1165303 w 2011508"/>
                  <a:gd name="connsiteY166" fmla="*/ 1477020 h 1518281"/>
                  <a:gd name="connsiteX167" fmla="*/ 1172723 w 2011508"/>
                  <a:gd name="connsiteY167" fmla="*/ 1510688 h 1518281"/>
                  <a:gd name="connsiteX168" fmla="*/ 1181600 w 2011508"/>
                  <a:gd name="connsiteY168" fmla="*/ 1494133 h 1518281"/>
                  <a:gd name="connsiteX169" fmla="*/ 1228522 w 2011508"/>
                  <a:gd name="connsiteY169" fmla="*/ 1461580 h 1518281"/>
                  <a:gd name="connsiteX170" fmla="*/ 1293670 w 2011508"/>
                  <a:gd name="connsiteY170" fmla="*/ 1417619 h 1518281"/>
                  <a:gd name="connsiteX171" fmla="*/ 1326266 w 2011508"/>
                  <a:gd name="connsiteY171" fmla="*/ 1418777 h 1518281"/>
                  <a:gd name="connsiteX172" fmla="*/ 1336345 w 2011508"/>
                  <a:gd name="connsiteY172" fmla="*/ 1413887 h 1518281"/>
                  <a:gd name="connsiteX173" fmla="*/ 1342521 w 2011508"/>
                  <a:gd name="connsiteY173" fmla="*/ 1407883 h 1518281"/>
                  <a:gd name="connsiteX174" fmla="*/ 1360492 w 2011508"/>
                  <a:gd name="connsiteY174" fmla="*/ 1395488 h 1518281"/>
                  <a:gd name="connsiteX175" fmla="*/ 1375332 w 2011508"/>
                  <a:gd name="connsiteY175" fmla="*/ 1381634 h 1518281"/>
                  <a:gd name="connsiteX176" fmla="*/ 1441252 w 2011508"/>
                  <a:gd name="connsiteY176" fmla="*/ 1352599 h 1518281"/>
                  <a:gd name="connsiteX177" fmla="*/ 1442796 w 2011508"/>
                  <a:gd name="connsiteY177" fmla="*/ 1346208 h 1518281"/>
                  <a:gd name="connsiteX178" fmla="*/ 1456692 w 2011508"/>
                  <a:gd name="connsiteY178" fmla="*/ 1336987 h 1518281"/>
                  <a:gd name="connsiteX179" fmla="*/ 1468702 w 2011508"/>
                  <a:gd name="connsiteY179" fmla="*/ 1280115 h 1518281"/>
                  <a:gd name="connsiteX180" fmla="*/ 1533036 w 2011508"/>
                  <a:gd name="connsiteY180" fmla="*/ 1215910 h 1518281"/>
                  <a:gd name="connsiteX181" fmla="*/ 1533507 w 2011508"/>
                  <a:gd name="connsiteY181" fmla="*/ 1215481 h 1518281"/>
                  <a:gd name="connsiteX182" fmla="*/ 1535094 w 2011508"/>
                  <a:gd name="connsiteY182" fmla="*/ 1208576 h 1518281"/>
                  <a:gd name="connsiteX183" fmla="*/ 1556797 w 2011508"/>
                  <a:gd name="connsiteY183" fmla="*/ 1185158 h 1518281"/>
                  <a:gd name="connsiteX184" fmla="*/ 1563744 w 2011508"/>
                  <a:gd name="connsiteY184" fmla="*/ 1153763 h 1518281"/>
                  <a:gd name="connsiteX185" fmla="*/ 1569191 w 2011508"/>
                  <a:gd name="connsiteY185" fmla="*/ 1138881 h 1518281"/>
                  <a:gd name="connsiteX186" fmla="*/ 1583474 w 2011508"/>
                  <a:gd name="connsiteY186" fmla="*/ 1115506 h 1518281"/>
                  <a:gd name="connsiteX187" fmla="*/ 1569663 w 2011508"/>
                  <a:gd name="connsiteY187" fmla="*/ 1110917 h 1518281"/>
                  <a:gd name="connsiteX188" fmla="*/ 1550406 w 2011508"/>
                  <a:gd name="connsiteY188" fmla="*/ 1102897 h 1518281"/>
                  <a:gd name="connsiteX189" fmla="*/ 1538569 w 2011508"/>
                  <a:gd name="connsiteY189" fmla="*/ 1094919 h 1518281"/>
                  <a:gd name="connsiteX190" fmla="*/ 1573652 w 2011508"/>
                  <a:gd name="connsiteY190" fmla="*/ 1074933 h 1518281"/>
                  <a:gd name="connsiteX191" fmla="*/ 1553408 w 2011508"/>
                  <a:gd name="connsiteY191" fmla="*/ 1053789 h 1518281"/>
                  <a:gd name="connsiteX192" fmla="*/ 1523771 w 2011508"/>
                  <a:gd name="connsiteY192" fmla="*/ 1028655 h 1518281"/>
                  <a:gd name="connsiteX193" fmla="*/ 1542557 w 2011508"/>
                  <a:gd name="connsiteY193" fmla="*/ 1027540 h 1518281"/>
                  <a:gd name="connsiteX194" fmla="*/ 1572193 w 2011508"/>
                  <a:gd name="connsiteY194" fmla="*/ 1034360 h 1518281"/>
                  <a:gd name="connsiteX195" fmla="*/ 1544057 w 2011508"/>
                  <a:gd name="connsiteY195" fmla="*/ 997818 h 1518281"/>
                  <a:gd name="connsiteX196" fmla="*/ 1538139 w 2011508"/>
                  <a:gd name="connsiteY196" fmla="*/ 974400 h 1518281"/>
                  <a:gd name="connsiteX197" fmla="*/ 1516909 w 2011508"/>
                  <a:gd name="connsiteY197" fmla="*/ 927608 h 1518281"/>
                  <a:gd name="connsiteX198" fmla="*/ 1487272 w 2011508"/>
                  <a:gd name="connsiteY198" fmla="*/ 903633 h 1518281"/>
                  <a:gd name="connsiteX199" fmla="*/ 1503099 w 2011508"/>
                  <a:gd name="connsiteY199" fmla="*/ 867649 h 1518281"/>
                  <a:gd name="connsiteX200" fmla="*/ 1518882 w 2011508"/>
                  <a:gd name="connsiteY200" fmla="*/ 847062 h 1518281"/>
                  <a:gd name="connsiteX201" fmla="*/ 1537153 w 2011508"/>
                  <a:gd name="connsiteY201" fmla="*/ 832222 h 1518281"/>
                  <a:gd name="connsiteX202" fmla="*/ 1557396 w 2011508"/>
                  <a:gd name="connsiteY202" fmla="*/ 820213 h 1518281"/>
                  <a:gd name="connsiteX203" fmla="*/ 1595397 w 2011508"/>
                  <a:gd name="connsiteY203" fmla="*/ 807089 h 1518281"/>
                  <a:gd name="connsiteX204" fmla="*/ 1576140 w 2011508"/>
                  <a:gd name="connsiteY204" fmla="*/ 782514 h 1518281"/>
                  <a:gd name="connsiteX205" fmla="*/ 1543543 w 2011508"/>
                  <a:gd name="connsiteY205" fmla="*/ 767117 h 1518281"/>
                  <a:gd name="connsiteX206" fmla="*/ 1499110 w 2011508"/>
                  <a:gd name="connsiteY206" fmla="*/ 800827 h 1518281"/>
                  <a:gd name="connsiteX207" fmla="*/ 1478352 w 2011508"/>
                  <a:gd name="connsiteY207" fmla="*/ 769990 h 1518281"/>
                  <a:gd name="connsiteX208" fmla="*/ 1443783 w 2011508"/>
                  <a:gd name="connsiteY208" fmla="*/ 756265 h 1518281"/>
                  <a:gd name="connsiteX209" fmla="*/ 1443311 w 2011508"/>
                  <a:gd name="connsiteY209" fmla="*/ 708315 h 1518281"/>
                  <a:gd name="connsiteX210" fmla="*/ 1484785 w 2011508"/>
                  <a:gd name="connsiteY210" fmla="*/ 694033 h 1518281"/>
                  <a:gd name="connsiteX211" fmla="*/ 1523771 w 2011508"/>
                  <a:gd name="connsiteY211" fmla="*/ 662638 h 1518281"/>
                  <a:gd name="connsiteX212" fmla="*/ 1580556 w 2011508"/>
                  <a:gd name="connsiteY212" fmla="*/ 636947 h 1518281"/>
                  <a:gd name="connsiteX213" fmla="*/ 1557869 w 2011508"/>
                  <a:gd name="connsiteY213" fmla="*/ 689487 h 1518281"/>
                  <a:gd name="connsiteX214" fmla="*/ 1552936 w 2011508"/>
                  <a:gd name="connsiteY214" fmla="*/ 719166 h 1518281"/>
                  <a:gd name="connsiteX215" fmla="*/ 1576140 w 2011508"/>
                  <a:gd name="connsiteY215" fmla="*/ 718609 h 1518281"/>
                  <a:gd name="connsiteX216" fmla="*/ 1637857 w 2011508"/>
                  <a:gd name="connsiteY216" fmla="*/ 678679 h 1518281"/>
                  <a:gd name="connsiteX217" fmla="*/ 1653940 w 2011508"/>
                  <a:gd name="connsiteY217" fmla="*/ 676320 h 1518281"/>
                  <a:gd name="connsiteX218" fmla="*/ 1663376 w 2011508"/>
                  <a:gd name="connsiteY218" fmla="*/ 659336 h 1518281"/>
                  <a:gd name="connsiteX219" fmla="*/ 1725780 w 2011508"/>
                  <a:gd name="connsiteY219" fmla="*/ 619491 h 1518281"/>
                  <a:gd name="connsiteX220" fmla="*/ 1747310 w 2011508"/>
                  <a:gd name="connsiteY220" fmla="*/ 592171 h 1518281"/>
                  <a:gd name="connsiteX221" fmla="*/ 1768841 w 2011508"/>
                  <a:gd name="connsiteY221" fmla="*/ 602121 h 1518281"/>
                  <a:gd name="connsiteX222" fmla="*/ 1790371 w 2011508"/>
                  <a:gd name="connsiteY222" fmla="*/ 594659 h 1518281"/>
                  <a:gd name="connsiteX223" fmla="*/ 1803281 w 2011508"/>
                  <a:gd name="connsiteY223" fmla="*/ 579690 h 1518281"/>
                  <a:gd name="connsiteX224" fmla="*/ 1826956 w 2011508"/>
                  <a:gd name="connsiteY224" fmla="*/ 559832 h 1518281"/>
                  <a:gd name="connsiteX225" fmla="*/ 1846299 w 2011508"/>
                  <a:gd name="connsiteY225" fmla="*/ 529939 h 1518281"/>
                  <a:gd name="connsiteX226" fmla="*/ 1874305 w 2011508"/>
                  <a:gd name="connsiteY226" fmla="*/ 542376 h 1518281"/>
                  <a:gd name="connsiteX227" fmla="*/ 1883484 w 2011508"/>
                  <a:gd name="connsiteY227" fmla="*/ 543920 h 1518281"/>
                  <a:gd name="connsiteX228" fmla="*/ 1891633 w 2011508"/>
                  <a:gd name="connsiteY228" fmla="*/ 536844 h 1518281"/>
                  <a:gd name="connsiteX229" fmla="*/ 1889273 w 2011508"/>
                  <a:gd name="connsiteY229" fmla="*/ 499916 h 1518281"/>
                  <a:gd name="connsiteX230" fmla="*/ 1887258 w 2011508"/>
                  <a:gd name="connsiteY230" fmla="*/ 467921 h 1518281"/>
                  <a:gd name="connsiteX231" fmla="*/ 1892234 w 2011508"/>
                  <a:gd name="connsiteY231" fmla="*/ 440514 h 1518281"/>
                  <a:gd name="connsiteX232" fmla="*/ 1919854 w 2011508"/>
                  <a:gd name="connsiteY232" fmla="*/ 425632 h 1518281"/>
                  <a:gd name="connsiteX233" fmla="*/ 1949490 w 2011508"/>
                  <a:gd name="connsiteY233" fmla="*/ 425632 h 1518281"/>
                  <a:gd name="connsiteX234" fmla="*/ 1965317 w 2011508"/>
                  <a:gd name="connsiteY234" fmla="*/ 400499 h 1518281"/>
                  <a:gd name="connsiteX235" fmla="*/ 1985089 w 2011508"/>
                  <a:gd name="connsiteY235" fmla="*/ 370819 h 1518281"/>
                  <a:gd name="connsiteX236" fmla="*/ 2002845 w 2011508"/>
                  <a:gd name="connsiteY236" fmla="*/ 321711 h 1518281"/>
                  <a:gd name="connsiteX237" fmla="*/ 2001515 w 2011508"/>
                  <a:gd name="connsiteY237" fmla="*/ 289801 h 151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2011508" h="1518281">
                    <a:moveTo>
                      <a:pt x="2001515" y="289801"/>
                    </a:moveTo>
                    <a:cubicBezTo>
                      <a:pt x="2002502" y="269257"/>
                      <a:pt x="1981743" y="276120"/>
                      <a:pt x="1974838" y="281824"/>
                    </a:cubicBezTo>
                    <a:cubicBezTo>
                      <a:pt x="1967933" y="287528"/>
                      <a:pt x="1948204" y="281824"/>
                      <a:pt x="1942242" y="295506"/>
                    </a:cubicBezTo>
                    <a:cubicBezTo>
                      <a:pt x="1936324" y="309230"/>
                      <a:pt x="1926459" y="301210"/>
                      <a:pt x="1912606" y="303526"/>
                    </a:cubicBezTo>
                    <a:cubicBezTo>
                      <a:pt x="1898796" y="305799"/>
                      <a:pt x="1879023" y="298937"/>
                      <a:pt x="1880010" y="288686"/>
                    </a:cubicBezTo>
                    <a:cubicBezTo>
                      <a:pt x="1880996" y="278393"/>
                      <a:pt x="1872076" y="268142"/>
                      <a:pt x="1873105" y="255576"/>
                    </a:cubicBezTo>
                    <a:cubicBezTo>
                      <a:pt x="1874092" y="243009"/>
                      <a:pt x="1859294" y="248713"/>
                      <a:pt x="1849387" y="237262"/>
                    </a:cubicBezTo>
                    <a:cubicBezTo>
                      <a:pt x="1839522" y="225853"/>
                      <a:pt x="1819793" y="217833"/>
                      <a:pt x="1815847" y="220149"/>
                    </a:cubicBezTo>
                    <a:cubicBezTo>
                      <a:pt x="1811902" y="222422"/>
                      <a:pt x="1800065" y="207583"/>
                      <a:pt x="1783251" y="206424"/>
                    </a:cubicBezTo>
                    <a:cubicBezTo>
                      <a:pt x="1766482" y="205267"/>
                      <a:pt x="1768455" y="192700"/>
                      <a:pt x="1770427" y="184722"/>
                    </a:cubicBezTo>
                    <a:cubicBezTo>
                      <a:pt x="1772400" y="176745"/>
                      <a:pt x="1756574" y="151612"/>
                      <a:pt x="1753615" y="137887"/>
                    </a:cubicBezTo>
                    <a:cubicBezTo>
                      <a:pt x="1750656" y="124206"/>
                      <a:pt x="1738818" y="121933"/>
                      <a:pt x="1733886" y="92210"/>
                    </a:cubicBezTo>
                    <a:cubicBezTo>
                      <a:pt x="1728954" y="62531"/>
                      <a:pt x="1715101" y="70508"/>
                      <a:pt x="1718103" y="56827"/>
                    </a:cubicBezTo>
                    <a:cubicBezTo>
                      <a:pt x="1721062" y="43145"/>
                      <a:pt x="1701333" y="36283"/>
                      <a:pt x="1696357" y="28262"/>
                    </a:cubicBezTo>
                    <a:cubicBezTo>
                      <a:pt x="1691426" y="20285"/>
                      <a:pt x="1670667" y="23673"/>
                      <a:pt x="1655870" y="14581"/>
                    </a:cubicBezTo>
                    <a:cubicBezTo>
                      <a:pt x="1641074" y="5445"/>
                      <a:pt x="1632195" y="12308"/>
                      <a:pt x="1618385" y="7718"/>
                    </a:cubicBezTo>
                    <a:cubicBezTo>
                      <a:pt x="1604575" y="3129"/>
                      <a:pt x="1572965" y="12308"/>
                      <a:pt x="1569019" y="12308"/>
                    </a:cubicBezTo>
                    <a:cubicBezTo>
                      <a:pt x="1565074" y="12308"/>
                      <a:pt x="1540370" y="6560"/>
                      <a:pt x="1526559" y="28262"/>
                    </a:cubicBezTo>
                    <a:cubicBezTo>
                      <a:pt x="1512749" y="49964"/>
                      <a:pt x="1523600" y="48806"/>
                      <a:pt x="1529518" y="48806"/>
                    </a:cubicBezTo>
                    <a:cubicBezTo>
                      <a:pt x="1535437" y="48806"/>
                      <a:pt x="1538397" y="69350"/>
                      <a:pt x="1539383" y="76213"/>
                    </a:cubicBezTo>
                    <a:cubicBezTo>
                      <a:pt x="1540370" y="83032"/>
                      <a:pt x="1529518" y="93325"/>
                      <a:pt x="1524587" y="95599"/>
                    </a:cubicBezTo>
                    <a:cubicBezTo>
                      <a:pt x="1519654" y="97915"/>
                      <a:pt x="1505801" y="123005"/>
                      <a:pt x="1503871" y="132140"/>
                    </a:cubicBezTo>
                    <a:cubicBezTo>
                      <a:pt x="1501898" y="141276"/>
                      <a:pt x="1486072" y="164093"/>
                      <a:pt x="1488045" y="172113"/>
                    </a:cubicBezTo>
                    <a:cubicBezTo>
                      <a:pt x="1490018" y="180091"/>
                      <a:pt x="1480153" y="188068"/>
                      <a:pt x="1473247" y="189226"/>
                    </a:cubicBezTo>
                    <a:cubicBezTo>
                      <a:pt x="1466343" y="190384"/>
                      <a:pt x="1447599" y="206339"/>
                      <a:pt x="1441681" y="208655"/>
                    </a:cubicBezTo>
                    <a:cubicBezTo>
                      <a:pt x="1435719" y="210928"/>
                      <a:pt x="1412045" y="206382"/>
                      <a:pt x="1409085" y="198361"/>
                    </a:cubicBezTo>
                    <a:cubicBezTo>
                      <a:pt x="1408142" y="195788"/>
                      <a:pt x="1405225" y="193643"/>
                      <a:pt x="1401622" y="191928"/>
                    </a:cubicBezTo>
                    <a:lnTo>
                      <a:pt x="1374902" y="253689"/>
                    </a:lnTo>
                    <a:lnTo>
                      <a:pt x="1372758" y="273589"/>
                    </a:lnTo>
                    <a:cubicBezTo>
                      <a:pt x="1372758" y="273589"/>
                      <a:pt x="1355602" y="278564"/>
                      <a:pt x="1368469" y="293490"/>
                    </a:cubicBezTo>
                    <a:cubicBezTo>
                      <a:pt x="1381379" y="308415"/>
                      <a:pt x="1383523" y="295977"/>
                      <a:pt x="1402909" y="295977"/>
                    </a:cubicBezTo>
                    <a:cubicBezTo>
                      <a:pt x="1422252" y="295977"/>
                      <a:pt x="1430873" y="313390"/>
                      <a:pt x="1435162" y="300953"/>
                    </a:cubicBezTo>
                    <a:cubicBezTo>
                      <a:pt x="1439451" y="288515"/>
                      <a:pt x="1456650" y="281052"/>
                      <a:pt x="1467415" y="295977"/>
                    </a:cubicBezTo>
                    <a:cubicBezTo>
                      <a:pt x="1478180" y="310903"/>
                      <a:pt x="1512620" y="335822"/>
                      <a:pt x="1510476" y="348216"/>
                    </a:cubicBezTo>
                    <a:cubicBezTo>
                      <a:pt x="1508288" y="360654"/>
                      <a:pt x="1488988" y="358167"/>
                      <a:pt x="1476036" y="353192"/>
                    </a:cubicBezTo>
                    <a:cubicBezTo>
                      <a:pt x="1463126" y="348216"/>
                      <a:pt x="1445927" y="363142"/>
                      <a:pt x="1433018" y="363142"/>
                    </a:cubicBezTo>
                    <a:cubicBezTo>
                      <a:pt x="1420108" y="363142"/>
                      <a:pt x="1405054" y="368117"/>
                      <a:pt x="1392144" y="383085"/>
                    </a:cubicBezTo>
                    <a:cubicBezTo>
                      <a:pt x="1379234" y="398011"/>
                      <a:pt x="1381379" y="412937"/>
                      <a:pt x="1362036" y="415424"/>
                    </a:cubicBezTo>
                    <a:cubicBezTo>
                      <a:pt x="1342692" y="417912"/>
                      <a:pt x="1334072" y="415424"/>
                      <a:pt x="1312541" y="432837"/>
                    </a:cubicBezTo>
                    <a:cubicBezTo>
                      <a:pt x="1291053" y="450250"/>
                      <a:pt x="1267337" y="442788"/>
                      <a:pt x="1258759" y="437812"/>
                    </a:cubicBezTo>
                    <a:cubicBezTo>
                      <a:pt x="1250138" y="432837"/>
                      <a:pt x="1235084" y="430350"/>
                      <a:pt x="1226463" y="447763"/>
                    </a:cubicBezTo>
                    <a:cubicBezTo>
                      <a:pt x="1217885" y="465176"/>
                      <a:pt x="1237228" y="472638"/>
                      <a:pt x="1235084" y="492539"/>
                    </a:cubicBezTo>
                    <a:cubicBezTo>
                      <a:pt x="1232939" y="512440"/>
                      <a:pt x="1211409" y="507507"/>
                      <a:pt x="1194210" y="529853"/>
                    </a:cubicBezTo>
                    <a:cubicBezTo>
                      <a:pt x="1177011" y="552284"/>
                      <a:pt x="1149048" y="562191"/>
                      <a:pt x="1133993" y="559747"/>
                    </a:cubicBezTo>
                    <a:cubicBezTo>
                      <a:pt x="1118939" y="557259"/>
                      <a:pt x="1086643" y="547309"/>
                      <a:pt x="1058722" y="562234"/>
                    </a:cubicBezTo>
                    <a:cubicBezTo>
                      <a:pt x="1030759" y="577160"/>
                      <a:pt x="1011372" y="599591"/>
                      <a:pt x="1000607" y="597060"/>
                    </a:cubicBezTo>
                    <a:cubicBezTo>
                      <a:pt x="989842" y="594573"/>
                      <a:pt x="989885" y="579604"/>
                      <a:pt x="974788" y="582092"/>
                    </a:cubicBezTo>
                    <a:cubicBezTo>
                      <a:pt x="959734" y="584580"/>
                      <a:pt x="951156" y="579604"/>
                      <a:pt x="940390" y="572142"/>
                    </a:cubicBezTo>
                    <a:cubicBezTo>
                      <a:pt x="929625" y="564679"/>
                      <a:pt x="921005" y="577117"/>
                      <a:pt x="903807" y="562191"/>
                    </a:cubicBezTo>
                    <a:cubicBezTo>
                      <a:pt x="886608" y="547266"/>
                      <a:pt x="856457" y="549754"/>
                      <a:pt x="843590" y="547266"/>
                    </a:cubicBezTo>
                    <a:cubicBezTo>
                      <a:pt x="830680" y="544778"/>
                      <a:pt x="781186" y="547266"/>
                      <a:pt x="763987" y="544778"/>
                    </a:cubicBezTo>
                    <a:cubicBezTo>
                      <a:pt x="746789" y="542291"/>
                      <a:pt x="723114" y="549754"/>
                      <a:pt x="720969" y="539803"/>
                    </a:cubicBezTo>
                    <a:cubicBezTo>
                      <a:pt x="718825" y="529810"/>
                      <a:pt x="705915" y="522347"/>
                      <a:pt x="701626" y="500002"/>
                    </a:cubicBezTo>
                    <a:cubicBezTo>
                      <a:pt x="697337" y="477571"/>
                      <a:pt x="686572" y="470108"/>
                      <a:pt x="675807" y="467663"/>
                    </a:cubicBezTo>
                    <a:cubicBezTo>
                      <a:pt x="665041" y="465176"/>
                      <a:pt x="663755" y="452052"/>
                      <a:pt x="654277" y="450250"/>
                    </a:cubicBezTo>
                    <a:cubicBezTo>
                      <a:pt x="649730" y="449392"/>
                      <a:pt x="644240" y="432751"/>
                      <a:pt x="629229" y="432751"/>
                    </a:cubicBezTo>
                    <a:cubicBezTo>
                      <a:pt x="614175" y="432751"/>
                      <a:pt x="561550" y="425675"/>
                      <a:pt x="554044" y="411436"/>
                    </a:cubicBezTo>
                    <a:cubicBezTo>
                      <a:pt x="546539" y="397196"/>
                      <a:pt x="561592" y="394022"/>
                      <a:pt x="561592" y="379826"/>
                    </a:cubicBezTo>
                    <a:cubicBezTo>
                      <a:pt x="561592" y="365587"/>
                      <a:pt x="569784" y="346630"/>
                      <a:pt x="563651" y="341097"/>
                    </a:cubicBezTo>
                    <a:cubicBezTo>
                      <a:pt x="557475" y="335564"/>
                      <a:pt x="547225" y="322869"/>
                      <a:pt x="545852" y="311846"/>
                    </a:cubicBezTo>
                    <a:cubicBezTo>
                      <a:pt x="544480" y="300738"/>
                      <a:pt x="528096" y="285770"/>
                      <a:pt x="517159" y="284955"/>
                    </a:cubicBezTo>
                    <a:cubicBezTo>
                      <a:pt x="506223" y="284140"/>
                      <a:pt x="497344" y="276248"/>
                      <a:pt x="487094" y="265998"/>
                    </a:cubicBezTo>
                    <a:cubicBezTo>
                      <a:pt x="476844" y="255704"/>
                      <a:pt x="467279" y="256476"/>
                      <a:pt x="463162" y="230400"/>
                    </a:cubicBezTo>
                    <a:cubicBezTo>
                      <a:pt x="462905" y="228684"/>
                      <a:pt x="462432" y="227312"/>
                      <a:pt x="462089" y="225768"/>
                    </a:cubicBezTo>
                    <a:cubicBezTo>
                      <a:pt x="457972" y="225253"/>
                      <a:pt x="452697" y="223409"/>
                      <a:pt x="449351" y="223409"/>
                    </a:cubicBezTo>
                    <a:cubicBezTo>
                      <a:pt x="446649" y="223409"/>
                      <a:pt x="443476" y="220835"/>
                      <a:pt x="440602" y="217361"/>
                    </a:cubicBezTo>
                    <a:cubicBezTo>
                      <a:pt x="437900" y="228255"/>
                      <a:pt x="429022" y="233659"/>
                      <a:pt x="429022" y="242237"/>
                    </a:cubicBezTo>
                    <a:cubicBezTo>
                      <a:pt x="429022" y="251716"/>
                      <a:pt x="425633" y="263553"/>
                      <a:pt x="414654" y="263553"/>
                    </a:cubicBezTo>
                    <a:cubicBezTo>
                      <a:pt x="403717" y="263553"/>
                      <a:pt x="393466" y="273075"/>
                      <a:pt x="392780" y="292804"/>
                    </a:cubicBezTo>
                    <a:cubicBezTo>
                      <a:pt x="392094" y="312575"/>
                      <a:pt x="402344" y="314935"/>
                      <a:pt x="397584" y="323641"/>
                    </a:cubicBezTo>
                    <a:cubicBezTo>
                      <a:pt x="392780" y="332348"/>
                      <a:pt x="372965" y="341011"/>
                      <a:pt x="366146" y="337065"/>
                    </a:cubicBezTo>
                    <a:cubicBezTo>
                      <a:pt x="359327" y="333120"/>
                      <a:pt x="346331" y="335478"/>
                      <a:pt x="335394" y="333892"/>
                    </a:cubicBezTo>
                    <a:cubicBezTo>
                      <a:pt x="324458" y="332305"/>
                      <a:pt x="316266" y="316479"/>
                      <a:pt x="312834" y="333892"/>
                    </a:cubicBezTo>
                    <a:cubicBezTo>
                      <a:pt x="309404" y="351262"/>
                      <a:pt x="286844" y="402643"/>
                      <a:pt x="292334" y="408176"/>
                    </a:cubicBezTo>
                    <a:cubicBezTo>
                      <a:pt x="297781" y="413709"/>
                      <a:pt x="301898" y="426361"/>
                      <a:pt x="292334" y="426361"/>
                    </a:cubicBezTo>
                    <a:cubicBezTo>
                      <a:pt x="282769" y="426361"/>
                      <a:pt x="273205" y="424774"/>
                      <a:pt x="268401" y="419241"/>
                    </a:cubicBezTo>
                    <a:cubicBezTo>
                      <a:pt x="263598" y="413751"/>
                      <a:pt x="247943" y="427004"/>
                      <a:pt x="236963" y="426361"/>
                    </a:cubicBezTo>
                    <a:cubicBezTo>
                      <a:pt x="231859" y="426061"/>
                      <a:pt x="210372" y="437212"/>
                      <a:pt x="217792" y="441501"/>
                    </a:cubicBezTo>
                    <a:cubicBezTo>
                      <a:pt x="225212" y="445790"/>
                      <a:pt x="225212" y="466334"/>
                      <a:pt x="225212" y="474912"/>
                    </a:cubicBezTo>
                    <a:cubicBezTo>
                      <a:pt x="225212" y="483490"/>
                      <a:pt x="241509" y="509180"/>
                      <a:pt x="238550" y="517758"/>
                    </a:cubicBezTo>
                    <a:cubicBezTo>
                      <a:pt x="235591" y="526336"/>
                      <a:pt x="220794" y="535729"/>
                      <a:pt x="220794" y="546880"/>
                    </a:cubicBezTo>
                    <a:cubicBezTo>
                      <a:pt x="220794" y="558031"/>
                      <a:pt x="223754" y="568324"/>
                      <a:pt x="218564" y="570898"/>
                    </a:cubicBezTo>
                    <a:cubicBezTo>
                      <a:pt x="213374" y="573471"/>
                      <a:pt x="197076" y="581149"/>
                      <a:pt x="188928" y="588011"/>
                    </a:cubicBezTo>
                    <a:cubicBezTo>
                      <a:pt x="180779" y="594873"/>
                      <a:pt x="167440" y="594873"/>
                      <a:pt x="163022" y="605124"/>
                    </a:cubicBezTo>
                    <a:cubicBezTo>
                      <a:pt x="158562" y="615374"/>
                      <a:pt x="151871" y="624252"/>
                      <a:pt x="136388" y="622236"/>
                    </a:cubicBezTo>
                    <a:cubicBezTo>
                      <a:pt x="123049" y="620521"/>
                      <a:pt x="116402" y="617947"/>
                      <a:pt x="106022" y="632487"/>
                    </a:cubicBezTo>
                    <a:cubicBezTo>
                      <a:pt x="95643" y="647026"/>
                      <a:pt x="93413" y="641065"/>
                      <a:pt x="86036" y="647927"/>
                    </a:cubicBezTo>
                    <a:cubicBezTo>
                      <a:pt x="78616" y="654789"/>
                      <a:pt x="71239" y="642823"/>
                      <a:pt x="65277" y="640250"/>
                    </a:cubicBezTo>
                    <a:cubicBezTo>
                      <a:pt x="59359" y="637677"/>
                      <a:pt x="51210" y="647927"/>
                      <a:pt x="45291" y="647927"/>
                    </a:cubicBezTo>
                    <a:cubicBezTo>
                      <a:pt x="39373" y="647927"/>
                      <a:pt x="34183" y="659035"/>
                      <a:pt x="26763" y="661652"/>
                    </a:cubicBezTo>
                    <a:cubicBezTo>
                      <a:pt x="19343" y="664225"/>
                      <a:pt x="11923" y="661652"/>
                      <a:pt x="11923" y="671945"/>
                    </a:cubicBezTo>
                    <a:cubicBezTo>
                      <a:pt x="11923" y="678293"/>
                      <a:pt x="10508" y="685584"/>
                      <a:pt x="6433" y="691074"/>
                    </a:cubicBezTo>
                    <a:lnTo>
                      <a:pt x="6476" y="691074"/>
                    </a:lnTo>
                    <a:lnTo>
                      <a:pt x="11752" y="724613"/>
                    </a:lnTo>
                    <a:cubicBezTo>
                      <a:pt x="11752" y="724613"/>
                      <a:pt x="43404" y="736837"/>
                      <a:pt x="44734" y="749060"/>
                    </a:cubicBezTo>
                    <a:cubicBezTo>
                      <a:pt x="46063" y="761241"/>
                      <a:pt x="51338" y="800913"/>
                      <a:pt x="51338" y="800913"/>
                    </a:cubicBezTo>
                    <a:cubicBezTo>
                      <a:pt x="51338" y="800913"/>
                      <a:pt x="50910" y="800956"/>
                      <a:pt x="50352" y="801042"/>
                    </a:cubicBezTo>
                    <a:cubicBezTo>
                      <a:pt x="63176" y="812708"/>
                      <a:pt x="80803" y="825103"/>
                      <a:pt x="80803" y="829606"/>
                    </a:cubicBezTo>
                    <a:cubicBezTo>
                      <a:pt x="80803" y="834753"/>
                      <a:pt x="82304" y="850150"/>
                      <a:pt x="97830" y="858728"/>
                    </a:cubicBezTo>
                    <a:cubicBezTo>
                      <a:pt x="107695" y="864132"/>
                      <a:pt x="117817" y="869922"/>
                      <a:pt x="123907" y="874726"/>
                    </a:cubicBezTo>
                    <a:cubicBezTo>
                      <a:pt x="124679" y="872538"/>
                      <a:pt x="125151" y="871080"/>
                      <a:pt x="125151" y="871080"/>
                    </a:cubicBezTo>
                    <a:lnTo>
                      <a:pt x="138318" y="869536"/>
                    </a:lnTo>
                    <a:cubicBezTo>
                      <a:pt x="138318" y="869536"/>
                      <a:pt x="142221" y="872367"/>
                      <a:pt x="145867" y="876999"/>
                    </a:cubicBezTo>
                    <a:cubicBezTo>
                      <a:pt x="149126" y="864647"/>
                      <a:pt x="171857" y="851051"/>
                      <a:pt x="183738" y="851866"/>
                    </a:cubicBezTo>
                    <a:cubicBezTo>
                      <a:pt x="196347" y="852723"/>
                      <a:pt x="225212" y="879272"/>
                      <a:pt x="222252" y="888708"/>
                    </a:cubicBezTo>
                    <a:cubicBezTo>
                      <a:pt x="219293" y="898143"/>
                      <a:pt x="198578" y="932369"/>
                      <a:pt x="188928" y="934942"/>
                    </a:cubicBezTo>
                    <a:cubicBezTo>
                      <a:pt x="185282" y="935929"/>
                      <a:pt x="179920" y="936400"/>
                      <a:pt x="174688" y="936658"/>
                    </a:cubicBezTo>
                    <a:cubicBezTo>
                      <a:pt x="173788" y="942276"/>
                      <a:pt x="172629" y="947466"/>
                      <a:pt x="172629" y="950425"/>
                    </a:cubicBezTo>
                    <a:cubicBezTo>
                      <a:pt x="172629" y="958060"/>
                      <a:pt x="184467" y="970240"/>
                      <a:pt x="191072" y="983965"/>
                    </a:cubicBezTo>
                    <a:cubicBezTo>
                      <a:pt x="197677" y="997689"/>
                      <a:pt x="180521" y="1006825"/>
                      <a:pt x="171300" y="997689"/>
                    </a:cubicBezTo>
                    <a:cubicBezTo>
                      <a:pt x="162079" y="988554"/>
                      <a:pt x="158133" y="1006825"/>
                      <a:pt x="163365" y="1014459"/>
                    </a:cubicBezTo>
                    <a:cubicBezTo>
                      <a:pt x="168641" y="1022093"/>
                      <a:pt x="166024" y="1043452"/>
                      <a:pt x="175246" y="1044996"/>
                    </a:cubicBezTo>
                    <a:cubicBezTo>
                      <a:pt x="184467" y="1046498"/>
                      <a:pt x="192358" y="1067856"/>
                      <a:pt x="202952" y="1067856"/>
                    </a:cubicBezTo>
                    <a:cubicBezTo>
                      <a:pt x="213503" y="1067856"/>
                      <a:pt x="222724" y="1087714"/>
                      <a:pt x="222724" y="1087714"/>
                    </a:cubicBezTo>
                    <a:cubicBezTo>
                      <a:pt x="222724" y="1087714"/>
                      <a:pt x="237220" y="1098394"/>
                      <a:pt x="237220" y="1104484"/>
                    </a:cubicBezTo>
                    <a:cubicBezTo>
                      <a:pt x="237220" y="1105170"/>
                      <a:pt x="236963" y="1105985"/>
                      <a:pt x="236578" y="1106800"/>
                    </a:cubicBezTo>
                    <a:cubicBezTo>
                      <a:pt x="248072" y="1105427"/>
                      <a:pt x="255706" y="1104998"/>
                      <a:pt x="257036" y="1099466"/>
                    </a:cubicBezTo>
                    <a:cubicBezTo>
                      <a:pt x="258537" y="1093461"/>
                      <a:pt x="273333" y="1093461"/>
                      <a:pt x="283713" y="1105470"/>
                    </a:cubicBezTo>
                    <a:cubicBezTo>
                      <a:pt x="294092" y="1117436"/>
                      <a:pt x="336295" y="1148317"/>
                      <a:pt x="351821" y="1162856"/>
                    </a:cubicBezTo>
                    <a:cubicBezTo>
                      <a:pt x="367390" y="1177396"/>
                      <a:pt x="403674" y="1193693"/>
                      <a:pt x="416241" y="1192836"/>
                    </a:cubicBezTo>
                    <a:cubicBezTo>
                      <a:pt x="428850" y="1191978"/>
                      <a:pt x="440688" y="1203129"/>
                      <a:pt x="459945" y="1202229"/>
                    </a:cubicBezTo>
                    <a:cubicBezTo>
                      <a:pt x="462862" y="1202143"/>
                      <a:pt x="465306" y="1202229"/>
                      <a:pt x="467579" y="1202443"/>
                    </a:cubicBezTo>
                    <a:cubicBezTo>
                      <a:pt x="470324" y="1199098"/>
                      <a:pt x="474956" y="1199012"/>
                      <a:pt x="478473" y="1192879"/>
                    </a:cubicBezTo>
                    <a:cubicBezTo>
                      <a:pt x="483749" y="1183700"/>
                      <a:pt x="491683" y="1200513"/>
                      <a:pt x="489024" y="1212694"/>
                    </a:cubicBezTo>
                    <a:cubicBezTo>
                      <a:pt x="487780" y="1218355"/>
                      <a:pt x="488895" y="1224660"/>
                      <a:pt x="490911" y="1229678"/>
                    </a:cubicBezTo>
                    <a:cubicBezTo>
                      <a:pt x="493527" y="1225346"/>
                      <a:pt x="496272" y="1219556"/>
                      <a:pt x="498459" y="1213337"/>
                    </a:cubicBezTo>
                    <a:cubicBezTo>
                      <a:pt x="505107" y="1194508"/>
                      <a:pt x="515486" y="1195366"/>
                      <a:pt x="522177" y="1189362"/>
                    </a:cubicBezTo>
                    <a:cubicBezTo>
                      <a:pt x="528868" y="1183400"/>
                      <a:pt x="535516" y="1185930"/>
                      <a:pt x="549584" y="1194508"/>
                    </a:cubicBezTo>
                    <a:cubicBezTo>
                      <a:pt x="562836" y="1202572"/>
                      <a:pt x="568240" y="1185545"/>
                      <a:pt x="588141" y="1206689"/>
                    </a:cubicBezTo>
                    <a:cubicBezTo>
                      <a:pt x="592301" y="1204545"/>
                      <a:pt x="597534" y="1202014"/>
                      <a:pt x="599850" y="1202014"/>
                    </a:cubicBezTo>
                    <a:cubicBezTo>
                      <a:pt x="603796" y="1202014"/>
                      <a:pt x="609071" y="1192879"/>
                      <a:pt x="615676" y="1185244"/>
                    </a:cubicBezTo>
                    <a:cubicBezTo>
                      <a:pt x="622281" y="1177610"/>
                      <a:pt x="620952" y="1168432"/>
                      <a:pt x="628843" y="1169976"/>
                    </a:cubicBezTo>
                    <a:cubicBezTo>
                      <a:pt x="636734" y="1171477"/>
                      <a:pt x="640723" y="1159339"/>
                      <a:pt x="657836" y="1148660"/>
                    </a:cubicBezTo>
                    <a:cubicBezTo>
                      <a:pt x="674992" y="1137980"/>
                      <a:pt x="689488" y="1154793"/>
                      <a:pt x="697380" y="1147159"/>
                    </a:cubicBezTo>
                    <a:cubicBezTo>
                      <a:pt x="705272" y="1139524"/>
                      <a:pt x="714493" y="1136479"/>
                      <a:pt x="714493" y="1144113"/>
                    </a:cubicBezTo>
                    <a:cubicBezTo>
                      <a:pt x="714493" y="1151748"/>
                      <a:pt x="725043" y="1160926"/>
                      <a:pt x="727703" y="1170019"/>
                    </a:cubicBezTo>
                    <a:cubicBezTo>
                      <a:pt x="730062" y="1178210"/>
                      <a:pt x="743915" y="1181513"/>
                      <a:pt x="746874" y="1182071"/>
                    </a:cubicBezTo>
                    <a:cubicBezTo>
                      <a:pt x="749362" y="1180569"/>
                      <a:pt x="751378" y="1179240"/>
                      <a:pt x="752493" y="1178253"/>
                    </a:cubicBezTo>
                    <a:cubicBezTo>
                      <a:pt x="760642" y="1171391"/>
                      <a:pt x="774710" y="1179111"/>
                      <a:pt x="774710" y="1189362"/>
                    </a:cubicBezTo>
                    <a:cubicBezTo>
                      <a:pt x="774710" y="1199655"/>
                      <a:pt x="775438" y="1210764"/>
                      <a:pt x="782129" y="1210764"/>
                    </a:cubicBezTo>
                    <a:cubicBezTo>
                      <a:pt x="788777" y="1210764"/>
                      <a:pt x="795425" y="1210764"/>
                      <a:pt x="795425" y="1229635"/>
                    </a:cubicBezTo>
                    <a:cubicBezTo>
                      <a:pt x="795425" y="1248463"/>
                      <a:pt x="801344" y="1269908"/>
                      <a:pt x="787276" y="1286163"/>
                    </a:cubicBezTo>
                    <a:cubicBezTo>
                      <a:pt x="773208" y="1302418"/>
                      <a:pt x="756911" y="1331540"/>
                      <a:pt x="759870" y="1340118"/>
                    </a:cubicBezTo>
                    <a:cubicBezTo>
                      <a:pt x="762829" y="1348695"/>
                      <a:pt x="755409" y="1364993"/>
                      <a:pt x="765788" y="1358989"/>
                    </a:cubicBezTo>
                    <a:cubicBezTo>
                      <a:pt x="776168" y="1353027"/>
                      <a:pt x="799843" y="1358989"/>
                      <a:pt x="796154" y="1365851"/>
                    </a:cubicBezTo>
                    <a:cubicBezTo>
                      <a:pt x="792465" y="1372714"/>
                      <a:pt x="796926" y="1396689"/>
                      <a:pt x="806533" y="1397546"/>
                    </a:cubicBezTo>
                    <a:cubicBezTo>
                      <a:pt x="816183" y="1398447"/>
                      <a:pt x="822102" y="1404409"/>
                      <a:pt x="819143" y="1414702"/>
                    </a:cubicBezTo>
                    <a:cubicBezTo>
                      <a:pt x="816183" y="1424996"/>
                      <a:pt x="810994" y="1440393"/>
                      <a:pt x="819143" y="1440393"/>
                    </a:cubicBezTo>
                    <a:cubicBezTo>
                      <a:pt x="827292" y="1440393"/>
                      <a:pt x="839129" y="1440393"/>
                      <a:pt x="837671" y="1450686"/>
                    </a:cubicBezTo>
                    <a:cubicBezTo>
                      <a:pt x="836170" y="1460937"/>
                      <a:pt x="843590" y="1470372"/>
                      <a:pt x="858387" y="1463510"/>
                    </a:cubicBezTo>
                    <a:cubicBezTo>
                      <a:pt x="867093" y="1459479"/>
                      <a:pt x="871425" y="1455833"/>
                      <a:pt x="873441" y="1459907"/>
                    </a:cubicBezTo>
                    <a:cubicBezTo>
                      <a:pt x="879316" y="1459693"/>
                      <a:pt x="879745" y="1475176"/>
                      <a:pt x="889911" y="1478135"/>
                    </a:cubicBezTo>
                    <a:cubicBezTo>
                      <a:pt x="900461" y="1481181"/>
                      <a:pt x="895186" y="1452230"/>
                      <a:pt x="891239" y="1447598"/>
                    </a:cubicBezTo>
                    <a:cubicBezTo>
                      <a:pt x="887294" y="1443009"/>
                      <a:pt x="892569" y="1423194"/>
                      <a:pt x="896515" y="1427783"/>
                    </a:cubicBezTo>
                    <a:cubicBezTo>
                      <a:pt x="900461" y="1432373"/>
                      <a:pt x="912299" y="1427783"/>
                      <a:pt x="918903" y="1418648"/>
                    </a:cubicBezTo>
                    <a:cubicBezTo>
                      <a:pt x="925508" y="1409512"/>
                      <a:pt x="938675" y="1426282"/>
                      <a:pt x="943994" y="1415603"/>
                    </a:cubicBezTo>
                    <a:cubicBezTo>
                      <a:pt x="949269" y="1404923"/>
                      <a:pt x="961106" y="1423237"/>
                      <a:pt x="972987" y="1415603"/>
                    </a:cubicBezTo>
                    <a:cubicBezTo>
                      <a:pt x="984867" y="1408011"/>
                      <a:pt x="990142" y="1421693"/>
                      <a:pt x="995418" y="1411057"/>
                    </a:cubicBezTo>
                    <a:cubicBezTo>
                      <a:pt x="1000693" y="1400377"/>
                      <a:pt x="1017849" y="1386653"/>
                      <a:pt x="1021795" y="1391199"/>
                    </a:cubicBezTo>
                    <a:cubicBezTo>
                      <a:pt x="1025741" y="1395788"/>
                      <a:pt x="1028399" y="1404923"/>
                      <a:pt x="1049459" y="1408011"/>
                    </a:cubicBezTo>
                    <a:cubicBezTo>
                      <a:pt x="1070560" y="1411057"/>
                      <a:pt x="1058680" y="1423237"/>
                      <a:pt x="1058680" y="1430871"/>
                    </a:cubicBezTo>
                    <a:cubicBezTo>
                      <a:pt x="1058680" y="1438506"/>
                      <a:pt x="1082440" y="1458320"/>
                      <a:pt x="1091661" y="1459822"/>
                    </a:cubicBezTo>
                    <a:cubicBezTo>
                      <a:pt x="1093377" y="1460122"/>
                      <a:pt x="1095779" y="1462481"/>
                      <a:pt x="1098524" y="1466169"/>
                    </a:cubicBezTo>
                    <a:cubicBezTo>
                      <a:pt x="1104914" y="1462524"/>
                      <a:pt x="1116408" y="1468614"/>
                      <a:pt x="1118896" y="1459864"/>
                    </a:cubicBezTo>
                    <a:cubicBezTo>
                      <a:pt x="1121855" y="1449571"/>
                      <a:pt x="1132707" y="1452402"/>
                      <a:pt x="1137167" y="1460980"/>
                    </a:cubicBezTo>
                    <a:cubicBezTo>
                      <a:pt x="1141628" y="1469557"/>
                      <a:pt x="1146560" y="1471273"/>
                      <a:pt x="1156424" y="1460980"/>
                    </a:cubicBezTo>
                    <a:cubicBezTo>
                      <a:pt x="1166332" y="1450729"/>
                      <a:pt x="1171221" y="1471273"/>
                      <a:pt x="1165303" y="1477020"/>
                    </a:cubicBezTo>
                    <a:cubicBezTo>
                      <a:pt x="1159384" y="1482725"/>
                      <a:pt x="1163330" y="1500395"/>
                      <a:pt x="1172723" y="1510688"/>
                    </a:cubicBezTo>
                    <a:cubicBezTo>
                      <a:pt x="1182115" y="1520939"/>
                      <a:pt x="1183574" y="1504384"/>
                      <a:pt x="1181600" y="1494133"/>
                    </a:cubicBezTo>
                    <a:cubicBezTo>
                      <a:pt x="1179627" y="1483840"/>
                      <a:pt x="1197384" y="1473546"/>
                      <a:pt x="1228522" y="1461580"/>
                    </a:cubicBezTo>
                    <a:cubicBezTo>
                      <a:pt x="1259616" y="1449571"/>
                      <a:pt x="1293198" y="1423280"/>
                      <a:pt x="1293670" y="1417619"/>
                    </a:cubicBezTo>
                    <a:cubicBezTo>
                      <a:pt x="1294142" y="1411914"/>
                      <a:pt x="1315887" y="1427869"/>
                      <a:pt x="1326266" y="1418777"/>
                    </a:cubicBezTo>
                    <a:cubicBezTo>
                      <a:pt x="1328496" y="1416804"/>
                      <a:pt x="1332099" y="1415217"/>
                      <a:pt x="1336345" y="1413887"/>
                    </a:cubicBezTo>
                    <a:cubicBezTo>
                      <a:pt x="1338189" y="1411700"/>
                      <a:pt x="1340248" y="1409641"/>
                      <a:pt x="1342521" y="1407883"/>
                    </a:cubicBezTo>
                    <a:cubicBezTo>
                      <a:pt x="1348483" y="1403336"/>
                      <a:pt x="1354444" y="1399305"/>
                      <a:pt x="1360492" y="1395488"/>
                    </a:cubicBezTo>
                    <a:cubicBezTo>
                      <a:pt x="1363365" y="1389741"/>
                      <a:pt x="1368126" y="1384808"/>
                      <a:pt x="1375332" y="1381634"/>
                    </a:cubicBezTo>
                    <a:cubicBezTo>
                      <a:pt x="1395489" y="1372714"/>
                      <a:pt x="1422081" y="1366409"/>
                      <a:pt x="1441252" y="1352599"/>
                    </a:cubicBezTo>
                    <a:cubicBezTo>
                      <a:pt x="1442238" y="1350239"/>
                      <a:pt x="1442796" y="1348009"/>
                      <a:pt x="1442796" y="1346208"/>
                    </a:cubicBezTo>
                    <a:cubicBezTo>
                      <a:pt x="1442796" y="1342219"/>
                      <a:pt x="1450302" y="1339817"/>
                      <a:pt x="1456692" y="1336987"/>
                    </a:cubicBezTo>
                    <a:cubicBezTo>
                      <a:pt x="1467929" y="1320131"/>
                      <a:pt x="1466343" y="1299802"/>
                      <a:pt x="1468702" y="1280115"/>
                    </a:cubicBezTo>
                    <a:cubicBezTo>
                      <a:pt x="1473934" y="1237140"/>
                      <a:pt x="1499110" y="1217111"/>
                      <a:pt x="1533036" y="1215910"/>
                    </a:cubicBezTo>
                    <a:cubicBezTo>
                      <a:pt x="1533164" y="1215739"/>
                      <a:pt x="1533378" y="1215653"/>
                      <a:pt x="1533507" y="1215481"/>
                    </a:cubicBezTo>
                    <a:cubicBezTo>
                      <a:pt x="1534194" y="1213251"/>
                      <a:pt x="1534794" y="1210935"/>
                      <a:pt x="1535094" y="1208576"/>
                    </a:cubicBezTo>
                    <a:cubicBezTo>
                      <a:pt x="1536595" y="1197725"/>
                      <a:pt x="1550406" y="1188032"/>
                      <a:pt x="1556797" y="1185158"/>
                    </a:cubicBezTo>
                    <a:cubicBezTo>
                      <a:pt x="1563230" y="1182328"/>
                      <a:pt x="1565717" y="1166888"/>
                      <a:pt x="1563744" y="1153763"/>
                    </a:cubicBezTo>
                    <a:cubicBezTo>
                      <a:pt x="1561771" y="1140596"/>
                      <a:pt x="1575109" y="1144028"/>
                      <a:pt x="1569191" y="1138881"/>
                    </a:cubicBezTo>
                    <a:cubicBezTo>
                      <a:pt x="1563273" y="1133777"/>
                      <a:pt x="1571636" y="1119495"/>
                      <a:pt x="1583474" y="1115506"/>
                    </a:cubicBezTo>
                    <a:cubicBezTo>
                      <a:pt x="1595354" y="1111518"/>
                      <a:pt x="1576097" y="1105213"/>
                      <a:pt x="1569663" y="1110917"/>
                    </a:cubicBezTo>
                    <a:cubicBezTo>
                      <a:pt x="1563230" y="1116621"/>
                      <a:pt x="1556324" y="1094362"/>
                      <a:pt x="1550406" y="1102897"/>
                    </a:cubicBezTo>
                    <a:cubicBezTo>
                      <a:pt x="1544487" y="1111475"/>
                      <a:pt x="1527717" y="1097750"/>
                      <a:pt x="1538569" y="1094919"/>
                    </a:cubicBezTo>
                    <a:cubicBezTo>
                      <a:pt x="1549419" y="1092046"/>
                      <a:pt x="1566232" y="1077807"/>
                      <a:pt x="1573652" y="1074933"/>
                    </a:cubicBezTo>
                    <a:cubicBezTo>
                      <a:pt x="1581029" y="1072059"/>
                      <a:pt x="1562758" y="1053231"/>
                      <a:pt x="1553408" y="1053789"/>
                    </a:cubicBezTo>
                    <a:cubicBezTo>
                      <a:pt x="1544015" y="1054346"/>
                      <a:pt x="1533679" y="1028655"/>
                      <a:pt x="1523771" y="1028655"/>
                    </a:cubicBezTo>
                    <a:cubicBezTo>
                      <a:pt x="1513907" y="1028655"/>
                      <a:pt x="1531191" y="1020678"/>
                      <a:pt x="1542557" y="1027540"/>
                    </a:cubicBezTo>
                    <a:cubicBezTo>
                      <a:pt x="1553922" y="1034360"/>
                      <a:pt x="1567218" y="1040107"/>
                      <a:pt x="1572193" y="1034360"/>
                    </a:cubicBezTo>
                    <a:cubicBezTo>
                      <a:pt x="1577126" y="1028655"/>
                      <a:pt x="1552936" y="1005838"/>
                      <a:pt x="1544057" y="997818"/>
                    </a:cubicBezTo>
                    <a:cubicBezTo>
                      <a:pt x="1535180" y="989798"/>
                      <a:pt x="1543543" y="978947"/>
                      <a:pt x="1538139" y="974400"/>
                    </a:cubicBezTo>
                    <a:cubicBezTo>
                      <a:pt x="1532735" y="969854"/>
                      <a:pt x="1520855" y="940732"/>
                      <a:pt x="1516909" y="927608"/>
                    </a:cubicBezTo>
                    <a:cubicBezTo>
                      <a:pt x="1512963" y="914441"/>
                      <a:pt x="1492248" y="912168"/>
                      <a:pt x="1487272" y="903633"/>
                    </a:cubicBezTo>
                    <a:cubicBezTo>
                      <a:pt x="1482340" y="895055"/>
                      <a:pt x="1487787" y="875069"/>
                      <a:pt x="1503099" y="867649"/>
                    </a:cubicBezTo>
                    <a:cubicBezTo>
                      <a:pt x="1518410" y="860229"/>
                      <a:pt x="1511976" y="845347"/>
                      <a:pt x="1518882" y="847062"/>
                    </a:cubicBezTo>
                    <a:cubicBezTo>
                      <a:pt x="1525830" y="848778"/>
                      <a:pt x="1531706" y="845347"/>
                      <a:pt x="1537153" y="832222"/>
                    </a:cubicBezTo>
                    <a:cubicBezTo>
                      <a:pt x="1542600" y="819098"/>
                      <a:pt x="1551949" y="827076"/>
                      <a:pt x="1557396" y="820213"/>
                    </a:cubicBezTo>
                    <a:cubicBezTo>
                      <a:pt x="1562844" y="813351"/>
                      <a:pt x="1587033" y="813952"/>
                      <a:pt x="1595397" y="807089"/>
                    </a:cubicBezTo>
                    <a:cubicBezTo>
                      <a:pt x="1603803" y="800227"/>
                      <a:pt x="1587505" y="779125"/>
                      <a:pt x="1576140" y="782514"/>
                    </a:cubicBezTo>
                    <a:cubicBezTo>
                      <a:pt x="1564816" y="785945"/>
                      <a:pt x="1551478" y="780798"/>
                      <a:pt x="1543543" y="767117"/>
                    </a:cubicBezTo>
                    <a:cubicBezTo>
                      <a:pt x="1535651" y="753392"/>
                      <a:pt x="1514894" y="792250"/>
                      <a:pt x="1499110" y="800827"/>
                    </a:cubicBezTo>
                    <a:cubicBezTo>
                      <a:pt x="1483327" y="809362"/>
                      <a:pt x="1472948" y="785387"/>
                      <a:pt x="1478352" y="769990"/>
                    </a:cubicBezTo>
                    <a:cubicBezTo>
                      <a:pt x="1483799" y="754550"/>
                      <a:pt x="1466042" y="755150"/>
                      <a:pt x="1443783" y="756265"/>
                    </a:cubicBezTo>
                    <a:cubicBezTo>
                      <a:pt x="1421566" y="757423"/>
                      <a:pt x="1429973" y="710588"/>
                      <a:pt x="1443311" y="708315"/>
                    </a:cubicBezTo>
                    <a:cubicBezTo>
                      <a:pt x="1456650" y="706042"/>
                      <a:pt x="1476379" y="722554"/>
                      <a:pt x="1484785" y="694033"/>
                    </a:cubicBezTo>
                    <a:cubicBezTo>
                      <a:pt x="1493148" y="665469"/>
                      <a:pt x="1504986" y="687771"/>
                      <a:pt x="1523771" y="662638"/>
                    </a:cubicBezTo>
                    <a:cubicBezTo>
                      <a:pt x="1542557" y="637505"/>
                      <a:pt x="1564259" y="622108"/>
                      <a:pt x="1580556" y="636947"/>
                    </a:cubicBezTo>
                    <a:cubicBezTo>
                      <a:pt x="1596854" y="651787"/>
                      <a:pt x="1563273" y="675205"/>
                      <a:pt x="1557869" y="689487"/>
                    </a:cubicBezTo>
                    <a:cubicBezTo>
                      <a:pt x="1552465" y="703769"/>
                      <a:pt x="1562801" y="708358"/>
                      <a:pt x="1552936" y="719166"/>
                    </a:cubicBezTo>
                    <a:cubicBezTo>
                      <a:pt x="1543071" y="730060"/>
                      <a:pt x="1556881" y="732891"/>
                      <a:pt x="1576140" y="718609"/>
                    </a:cubicBezTo>
                    <a:cubicBezTo>
                      <a:pt x="1595397" y="704369"/>
                      <a:pt x="1619071" y="687214"/>
                      <a:pt x="1637857" y="678679"/>
                    </a:cubicBezTo>
                    <a:cubicBezTo>
                      <a:pt x="1642832" y="676406"/>
                      <a:pt x="1648365" y="675805"/>
                      <a:pt x="1653940" y="676320"/>
                    </a:cubicBezTo>
                    <a:cubicBezTo>
                      <a:pt x="1656599" y="668042"/>
                      <a:pt x="1659688" y="661437"/>
                      <a:pt x="1663376" y="659336"/>
                    </a:cubicBezTo>
                    <a:cubicBezTo>
                      <a:pt x="1676286" y="651873"/>
                      <a:pt x="1719304" y="629485"/>
                      <a:pt x="1725780" y="619491"/>
                    </a:cubicBezTo>
                    <a:cubicBezTo>
                      <a:pt x="1732256" y="609584"/>
                      <a:pt x="1738690" y="592171"/>
                      <a:pt x="1747310" y="592171"/>
                    </a:cubicBezTo>
                    <a:cubicBezTo>
                      <a:pt x="1755931" y="592171"/>
                      <a:pt x="1755931" y="602121"/>
                      <a:pt x="1768841" y="602121"/>
                    </a:cubicBezTo>
                    <a:cubicBezTo>
                      <a:pt x="1781751" y="602121"/>
                      <a:pt x="1796805" y="607097"/>
                      <a:pt x="1790371" y="594659"/>
                    </a:cubicBezTo>
                    <a:cubicBezTo>
                      <a:pt x="1783895" y="582221"/>
                      <a:pt x="1788227" y="582221"/>
                      <a:pt x="1803281" y="579690"/>
                    </a:cubicBezTo>
                    <a:cubicBezTo>
                      <a:pt x="1818335" y="577203"/>
                      <a:pt x="1816191" y="559832"/>
                      <a:pt x="1826956" y="559832"/>
                    </a:cubicBezTo>
                    <a:cubicBezTo>
                      <a:pt x="1837679" y="559832"/>
                      <a:pt x="1835534" y="529939"/>
                      <a:pt x="1846299" y="529939"/>
                    </a:cubicBezTo>
                    <a:cubicBezTo>
                      <a:pt x="1857065" y="529939"/>
                      <a:pt x="1861395" y="547394"/>
                      <a:pt x="1874305" y="542376"/>
                    </a:cubicBezTo>
                    <a:cubicBezTo>
                      <a:pt x="1876750" y="541390"/>
                      <a:pt x="1879924" y="542162"/>
                      <a:pt x="1883484" y="543920"/>
                    </a:cubicBezTo>
                    <a:cubicBezTo>
                      <a:pt x="1886228" y="541433"/>
                      <a:pt x="1888931" y="539074"/>
                      <a:pt x="1891633" y="536844"/>
                    </a:cubicBezTo>
                    <a:cubicBezTo>
                      <a:pt x="1890346" y="521275"/>
                      <a:pt x="1891890" y="507293"/>
                      <a:pt x="1889273" y="499916"/>
                    </a:cubicBezTo>
                    <a:cubicBezTo>
                      <a:pt x="1884342" y="486192"/>
                      <a:pt x="1889273" y="475941"/>
                      <a:pt x="1887258" y="467921"/>
                    </a:cubicBezTo>
                    <a:cubicBezTo>
                      <a:pt x="1885285" y="459900"/>
                      <a:pt x="1884299" y="440514"/>
                      <a:pt x="1892234" y="440514"/>
                    </a:cubicBezTo>
                    <a:cubicBezTo>
                      <a:pt x="1900125" y="440514"/>
                      <a:pt x="1909989" y="417654"/>
                      <a:pt x="1919854" y="425632"/>
                    </a:cubicBezTo>
                    <a:cubicBezTo>
                      <a:pt x="1929762" y="433652"/>
                      <a:pt x="1949490" y="435925"/>
                      <a:pt x="1949490" y="425632"/>
                    </a:cubicBezTo>
                    <a:cubicBezTo>
                      <a:pt x="1949490" y="415338"/>
                      <a:pt x="1963343" y="414223"/>
                      <a:pt x="1965317" y="400499"/>
                    </a:cubicBezTo>
                    <a:cubicBezTo>
                      <a:pt x="1967290" y="386817"/>
                      <a:pt x="1982086" y="383386"/>
                      <a:pt x="1985089" y="370819"/>
                    </a:cubicBezTo>
                    <a:cubicBezTo>
                      <a:pt x="1988048" y="358253"/>
                      <a:pt x="1992981" y="328573"/>
                      <a:pt x="2002845" y="321711"/>
                    </a:cubicBezTo>
                    <a:cubicBezTo>
                      <a:pt x="2012367" y="314892"/>
                      <a:pt x="2000486" y="310345"/>
                      <a:pt x="2001515" y="28980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14" name="Freeform: Shape 272">
                <a:extLst>
                  <a:ext uri="{FF2B5EF4-FFF2-40B4-BE49-F238E27FC236}">
                    <a16:creationId xmlns:a16="http://schemas.microsoft.com/office/drawing/2014/main" id="{AAE938DD-E6E6-C419-1E6F-94849D6B8ADD}"/>
                  </a:ext>
                </a:extLst>
              </p:cNvPr>
              <p:cNvSpPr/>
              <p:nvPr/>
            </p:nvSpPr>
            <p:spPr>
              <a:xfrm>
                <a:off x="10041157" y="3677467"/>
                <a:ext cx="52485" cy="101691"/>
              </a:xfrm>
              <a:custGeom>
                <a:avLst/>
                <a:gdLst>
                  <a:gd name="connsiteX0" fmla="*/ 63476 w 68622"/>
                  <a:gd name="connsiteY0" fmla="*/ 10475 h 132956"/>
                  <a:gd name="connsiteX1" fmla="*/ 21917 w 68622"/>
                  <a:gd name="connsiteY1" fmla="*/ 27631 h 132956"/>
                  <a:gd name="connsiteX2" fmla="*/ 15140 w 68622"/>
                  <a:gd name="connsiteY2" fmla="*/ 50620 h 132956"/>
                  <a:gd name="connsiteX3" fmla="*/ 20802 w 68622"/>
                  <a:gd name="connsiteY3" fmla="*/ 57868 h 132956"/>
                  <a:gd name="connsiteX4" fmla="*/ 7720 w 68622"/>
                  <a:gd name="connsiteY4" fmla="*/ 109207 h 132956"/>
                  <a:gd name="connsiteX5" fmla="*/ 6949 w 68622"/>
                  <a:gd name="connsiteY5" fmla="*/ 111179 h 132956"/>
                  <a:gd name="connsiteX6" fmla="*/ 6433 w 68622"/>
                  <a:gd name="connsiteY6" fmla="*/ 112209 h 132956"/>
                  <a:gd name="connsiteX7" fmla="*/ 21960 w 68622"/>
                  <a:gd name="connsiteY7" fmla="*/ 130394 h 132956"/>
                  <a:gd name="connsiteX8" fmla="*/ 63476 w 68622"/>
                  <a:gd name="connsiteY8" fmla="*/ 10475 h 13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622" h="132956">
                    <a:moveTo>
                      <a:pt x="63476" y="10475"/>
                    </a:moveTo>
                    <a:cubicBezTo>
                      <a:pt x="57471" y="1254"/>
                      <a:pt x="37571" y="8159"/>
                      <a:pt x="21917" y="27631"/>
                    </a:cubicBezTo>
                    <a:cubicBezTo>
                      <a:pt x="20372" y="35437"/>
                      <a:pt x="18228" y="43114"/>
                      <a:pt x="15140" y="50620"/>
                    </a:cubicBezTo>
                    <a:cubicBezTo>
                      <a:pt x="17370" y="52807"/>
                      <a:pt x="19300" y="55252"/>
                      <a:pt x="20802" y="57868"/>
                    </a:cubicBezTo>
                    <a:cubicBezTo>
                      <a:pt x="31524" y="76739"/>
                      <a:pt x="23503" y="97112"/>
                      <a:pt x="7720" y="109207"/>
                    </a:cubicBezTo>
                    <a:cubicBezTo>
                      <a:pt x="11494" y="106333"/>
                      <a:pt x="7334" y="111179"/>
                      <a:pt x="6949" y="111179"/>
                    </a:cubicBezTo>
                    <a:cubicBezTo>
                      <a:pt x="6820" y="111437"/>
                      <a:pt x="6648" y="111823"/>
                      <a:pt x="6433" y="112209"/>
                    </a:cubicBezTo>
                    <a:cubicBezTo>
                      <a:pt x="11880" y="125590"/>
                      <a:pt x="20158" y="131895"/>
                      <a:pt x="21960" y="130394"/>
                    </a:cubicBezTo>
                    <a:cubicBezTo>
                      <a:pt x="31866" y="122374"/>
                      <a:pt x="72355" y="24200"/>
                      <a:pt x="63476" y="1047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15" name="Freeform: Shape 287">
                <a:extLst>
                  <a:ext uri="{FF2B5EF4-FFF2-40B4-BE49-F238E27FC236}">
                    <a16:creationId xmlns:a16="http://schemas.microsoft.com/office/drawing/2014/main" id="{6C3C9CBF-1214-462E-F832-2DC0682C0B22}"/>
                  </a:ext>
                </a:extLst>
              </p:cNvPr>
              <p:cNvSpPr/>
              <p:nvPr/>
            </p:nvSpPr>
            <p:spPr>
              <a:xfrm>
                <a:off x="10290705" y="4787502"/>
                <a:ext cx="42644" cy="22963"/>
              </a:xfrm>
              <a:custGeom>
                <a:avLst/>
                <a:gdLst>
                  <a:gd name="connsiteX0" fmla="*/ 50979 w 55756"/>
                  <a:gd name="connsiteY0" fmla="*/ 10388 h 30022"/>
                  <a:gd name="connsiteX1" fmla="*/ 8003 w 55756"/>
                  <a:gd name="connsiteY1" fmla="*/ 22354 h 30022"/>
                  <a:gd name="connsiteX2" fmla="*/ 50979 w 55756"/>
                  <a:gd name="connsiteY2" fmla="*/ 10388 h 30022"/>
                </a:gdLst>
                <a:ahLst/>
                <a:cxnLst>
                  <a:cxn ang="0">
                    <a:pos x="connsiteX0" y="connsiteY0"/>
                  </a:cxn>
                  <a:cxn ang="0">
                    <a:pos x="connsiteX1" y="connsiteY1"/>
                  </a:cxn>
                  <a:cxn ang="0">
                    <a:pos x="connsiteX2" y="connsiteY2"/>
                  </a:cxn>
                </a:cxnLst>
                <a:rect l="l" t="t" r="r" b="b"/>
                <a:pathLst>
                  <a:path w="55756" h="30022">
                    <a:moveTo>
                      <a:pt x="50979" y="10388"/>
                    </a:moveTo>
                    <a:cubicBezTo>
                      <a:pt x="49478" y="94"/>
                      <a:pt x="-3233" y="11975"/>
                      <a:pt x="8003" y="22354"/>
                    </a:cubicBezTo>
                    <a:cubicBezTo>
                      <a:pt x="15423" y="29216"/>
                      <a:pt x="52437" y="20681"/>
                      <a:pt x="50979" y="1038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16" name="Freeform: Shape 294">
                <a:extLst>
                  <a:ext uri="{FF2B5EF4-FFF2-40B4-BE49-F238E27FC236}">
                    <a16:creationId xmlns:a16="http://schemas.microsoft.com/office/drawing/2014/main" id="{D29542EE-D45C-EB00-74CE-9DE225ABB4BD}"/>
                  </a:ext>
                </a:extLst>
              </p:cNvPr>
              <p:cNvSpPr/>
              <p:nvPr/>
            </p:nvSpPr>
            <p:spPr>
              <a:xfrm>
                <a:off x="8336110" y="3086635"/>
                <a:ext cx="370678" cy="268988"/>
              </a:xfrm>
              <a:custGeom>
                <a:avLst/>
                <a:gdLst>
                  <a:gd name="connsiteX0" fmla="*/ 476663 w 484649"/>
                  <a:gd name="connsiteY0" fmla="*/ 223348 h 351692"/>
                  <a:gd name="connsiteX1" fmla="*/ 447026 w 484649"/>
                  <a:gd name="connsiteY1" fmla="*/ 211940 h 351692"/>
                  <a:gd name="connsiteX2" fmla="*/ 412458 w 484649"/>
                  <a:gd name="connsiteY2" fmla="*/ 185691 h 351692"/>
                  <a:gd name="connsiteX3" fmla="*/ 373943 w 484649"/>
                  <a:gd name="connsiteY3" fmla="*/ 159400 h 351692"/>
                  <a:gd name="connsiteX4" fmla="*/ 340360 w 484649"/>
                  <a:gd name="connsiteY4" fmla="*/ 130836 h 351692"/>
                  <a:gd name="connsiteX5" fmla="*/ 325564 w 484649"/>
                  <a:gd name="connsiteY5" fmla="*/ 98840 h 351692"/>
                  <a:gd name="connsiteX6" fmla="*/ 311754 w 484649"/>
                  <a:gd name="connsiteY6" fmla="*/ 73707 h 351692"/>
                  <a:gd name="connsiteX7" fmla="*/ 262345 w 484649"/>
                  <a:gd name="connsiteY7" fmla="*/ 66888 h 351692"/>
                  <a:gd name="connsiteX8" fmla="*/ 250508 w 484649"/>
                  <a:gd name="connsiteY8" fmla="*/ 25757 h 351692"/>
                  <a:gd name="connsiteX9" fmla="*/ 224860 w 484649"/>
                  <a:gd name="connsiteY9" fmla="*/ 15464 h 351692"/>
                  <a:gd name="connsiteX10" fmla="*/ 201142 w 484649"/>
                  <a:gd name="connsiteY10" fmla="*/ 8601 h 351692"/>
                  <a:gd name="connsiteX11" fmla="*/ 187332 w 484649"/>
                  <a:gd name="connsiteY11" fmla="*/ 16579 h 351692"/>
                  <a:gd name="connsiteX12" fmla="*/ 175451 w 484649"/>
                  <a:gd name="connsiteY12" fmla="*/ 31461 h 351692"/>
                  <a:gd name="connsiteX13" fmla="*/ 151733 w 484649"/>
                  <a:gd name="connsiteY13" fmla="*/ 52005 h 351692"/>
                  <a:gd name="connsiteX14" fmla="*/ 139896 w 484649"/>
                  <a:gd name="connsiteY14" fmla="*/ 70276 h 351692"/>
                  <a:gd name="connsiteX15" fmla="*/ 116393 w 484649"/>
                  <a:gd name="connsiteY15" fmla="*/ 63843 h 351692"/>
                  <a:gd name="connsiteX16" fmla="*/ 93018 w 484649"/>
                  <a:gd name="connsiteY16" fmla="*/ 57409 h 351692"/>
                  <a:gd name="connsiteX17" fmla="*/ 52145 w 484649"/>
                  <a:gd name="connsiteY17" fmla="*/ 20782 h 351692"/>
                  <a:gd name="connsiteX18" fmla="*/ 17618 w 484649"/>
                  <a:gd name="connsiteY18" fmla="*/ 41841 h 351692"/>
                  <a:gd name="connsiteX19" fmla="*/ 33187 w 484649"/>
                  <a:gd name="connsiteY19" fmla="*/ 34893 h 351692"/>
                  <a:gd name="connsiteX20" fmla="*/ 58835 w 484649"/>
                  <a:gd name="connsiteY20" fmla="*/ 70276 h 351692"/>
                  <a:gd name="connsiteX21" fmla="*/ 74618 w 484649"/>
                  <a:gd name="connsiteY21" fmla="*/ 93136 h 351692"/>
                  <a:gd name="connsiteX22" fmla="*/ 41036 w 484649"/>
                  <a:gd name="connsiteY22" fmla="*/ 101157 h 351692"/>
                  <a:gd name="connsiteX23" fmla="*/ 10413 w 484649"/>
                  <a:gd name="connsiteY23" fmla="*/ 101157 h 351692"/>
                  <a:gd name="connsiteX24" fmla="*/ 17318 w 484649"/>
                  <a:gd name="connsiteY24" fmla="*/ 133109 h 351692"/>
                  <a:gd name="connsiteX25" fmla="*/ 19291 w 484649"/>
                  <a:gd name="connsiteY25" fmla="*/ 157084 h 351692"/>
                  <a:gd name="connsiteX26" fmla="*/ 38034 w 484649"/>
                  <a:gd name="connsiteY26" fmla="*/ 166263 h 351692"/>
                  <a:gd name="connsiteX27" fmla="*/ 44982 w 484649"/>
                  <a:gd name="connsiteY27" fmla="*/ 197100 h 351692"/>
                  <a:gd name="connsiteX28" fmla="*/ 45025 w 484649"/>
                  <a:gd name="connsiteY28" fmla="*/ 248824 h 351692"/>
                  <a:gd name="connsiteX29" fmla="*/ 72603 w 484649"/>
                  <a:gd name="connsiteY29" fmla="*/ 242777 h 351692"/>
                  <a:gd name="connsiteX30" fmla="*/ 102239 w 484649"/>
                  <a:gd name="connsiteY30" fmla="*/ 218802 h 351692"/>
                  <a:gd name="connsiteX31" fmla="*/ 125957 w 484649"/>
                  <a:gd name="connsiteY31" fmla="*/ 215371 h 351692"/>
                  <a:gd name="connsiteX32" fmla="*/ 164472 w 484649"/>
                  <a:gd name="connsiteY32" fmla="*/ 216529 h 351692"/>
                  <a:gd name="connsiteX33" fmla="*/ 189176 w 484649"/>
                  <a:gd name="connsiteY33" fmla="*/ 229095 h 351692"/>
                  <a:gd name="connsiteX34" fmla="*/ 205002 w 484649"/>
                  <a:gd name="connsiteY34" fmla="*/ 238231 h 351692"/>
                  <a:gd name="connsiteX35" fmla="*/ 233652 w 484649"/>
                  <a:gd name="connsiteY35" fmla="*/ 248524 h 351692"/>
                  <a:gd name="connsiteX36" fmla="*/ 248449 w 484649"/>
                  <a:gd name="connsiteY36" fmla="*/ 262206 h 351692"/>
                  <a:gd name="connsiteX37" fmla="*/ 271180 w 484649"/>
                  <a:gd name="connsiteY37" fmla="*/ 283908 h 351692"/>
                  <a:gd name="connsiteX38" fmla="*/ 294855 w 484649"/>
                  <a:gd name="connsiteY38" fmla="*/ 288497 h 351692"/>
                  <a:gd name="connsiteX39" fmla="*/ 300817 w 484649"/>
                  <a:gd name="connsiteY39" fmla="*/ 335761 h 351692"/>
                  <a:gd name="connsiteX40" fmla="*/ 307893 w 484649"/>
                  <a:gd name="connsiteY40" fmla="*/ 334989 h 351692"/>
                  <a:gd name="connsiteX41" fmla="*/ 331654 w 484649"/>
                  <a:gd name="connsiteY41" fmla="*/ 342623 h 351692"/>
                  <a:gd name="connsiteX42" fmla="*/ 360648 w 484649"/>
                  <a:gd name="connsiteY42" fmla="*/ 330400 h 351692"/>
                  <a:gd name="connsiteX43" fmla="*/ 408126 w 484649"/>
                  <a:gd name="connsiteY43" fmla="*/ 298405 h 351692"/>
                  <a:gd name="connsiteX44" fmla="*/ 427941 w 484649"/>
                  <a:gd name="connsiteY44" fmla="*/ 260276 h 351692"/>
                  <a:gd name="connsiteX45" fmla="*/ 454275 w 484649"/>
                  <a:gd name="connsiteY45" fmla="*/ 241962 h 351692"/>
                  <a:gd name="connsiteX46" fmla="*/ 479108 w 484649"/>
                  <a:gd name="connsiteY46" fmla="*/ 248824 h 351692"/>
                  <a:gd name="connsiteX47" fmla="*/ 476663 w 484649"/>
                  <a:gd name="connsiteY47" fmla="*/ 223348 h 351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84649" h="351692">
                    <a:moveTo>
                      <a:pt x="476663" y="223348"/>
                    </a:moveTo>
                    <a:cubicBezTo>
                      <a:pt x="476663" y="223348"/>
                      <a:pt x="454961" y="210824"/>
                      <a:pt x="447026" y="211940"/>
                    </a:cubicBezTo>
                    <a:cubicBezTo>
                      <a:pt x="439135" y="213098"/>
                      <a:pt x="426311" y="191396"/>
                      <a:pt x="412458" y="185691"/>
                    </a:cubicBezTo>
                    <a:cubicBezTo>
                      <a:pt x="398647" y="179987"/>
                      <a:pt x="379905" y="169737"/>
                      <a:pt x="373943" y="159400"/>
                    </a:cubicBezTo>
                    <a:cubicBezTo>
                      <a:pt x="368024" y="149150"/>
                      <a:pt x="343320" y="138856"/>
                      <a:pt x="340360" y="130836"/>
                    </a:cubicBezTo>
                    <a:cubicBezTo>
                      <a:pt x="337401" y="122859"/>
                      <a:pt x="332469" y="109134"/>
                      <a:pt x="325564" y="98840"/>
                    </a:cubicBezTo>
                    <a:cubicBezTo>
                      <a:pt x="318659" y="88547"/>
                      <a:pt x="318659" y="74865"/>
                      <a:pt x="311754" y="73707"/>
                    </a:cubicBezTo>
                    <a:cubicBezTo>
                      <a:pt x="304849" y="72592"/>
                      <a:pt x="262345" y="73707"/>
                      <a:pt x="262345" y="66888"/>
                    </a:cubicBezTo>
                    <a:cubicBezTo>
                      <a:pt x="262345" y="60026"/>
                      <a:pt x="259385" y="28030"/>
                      <a:pt x="250508" y="25757"/>
                    </a:cubicBezTo>
                    <a:cubicBezTo>
                      <a:pt x="241630" y="23441"/>
                      <a:pt x="229749" y="21168"/>
                      <a:pt x="224860" y="15464"/>
                    </a:cubicBezTo>
                    <a:cubicBezTo>
                      <a:pt x="219885" y="9717"/>
                      <a:pt x="204102" y="2854"/>
                      <a:pt x="201142" y="8601"/>
                    </a:cubicBezTo>
                    <a:cubicBezTo>
                      <a:pt x="198183" y="14263"/>
                      <a:pt x="190291" y="16579"/>
                      <a:pt x="187332" y="16579"/>
                    </a:cubicBezTo>
                    <a:cubicBezTo>
                      <a:pt x="184372" y="16579"/>
                      <a:pt x="185359" y="32576"/>
                      <a:pt x="175451" y="31461"/>
                    </a:cubicBezTo>
                    <a:cubicBezTo>
                      <a:pt x="165587" y="30303"/>
                      <a:pt x="151733" y="44028"/>
                      <a:pt x="151733" y="52005"/>
                    </a:cubicBezTo>
                    <a:cubicBezTo>
                      <a:pt x="151733" y="60026"/>
                      <a:pt x="152720" y="71434"/>
                      <a:pt x="139896" y="70276"/>
                    </a:cubicBezTo>
                    <a:cubicBezTo>
                      <a:pt x="133462" y="69676"/>
                      <a:pt x="124284" y="68260"/>
                      <a:pt x="116393" y="63843"/>
                    </a:cubicBezTo>
                    <a:cubicBezTo>
                      <a:pt x="114549" y="65515"/>
                      <a:pt x="103826" y="74093"/>
                      <a:pt x="93018" y="57409"/>
                    </a:cubicBezTo>
                    <a:cubicBezTo>
                      <a:pt x="81181" y="39096"/>
                      <a:pt x="62695" y="20782"/>
                      <a:pt x="52145" y="20782"/>
                    </a:cubicBezTo>
                    <a:cubicBezTo>
                      <a:pt x="42666" y="20782"/>
                      <a:pt x="9942" y="20868"/>
                      <a:pt x="17618" y="41841"/>
                    </a:cubicBezTo>
                    <a:cubicBezTo>
                      <a:pt x="19935" y="37166"/>
                      <a:pt x="24352" y="34035"/>
                      <a:pt x="33187" y="34893"/>
                    </a:cubicBezTo>
                    <a:cubicBezTo>
                      <a:pt x="56862" y="37166"/>
                      <a:pt x="46011" y="69118"/>
                      <a:pt x="58835" y="70276"/>
                    </a:cubicBezTo>
                    <a:cubicBezTo>
                      <a:pt x="71702" y="71391"/>
                      <a:pt x="86499" y="94294"/>
                      <a:pt x="74618" y="93136"/>
                    </a:cubicBezTo>
                    <a:cubicBezTo>
                      <a:pt x="62781" y="91978"/>
                      <a:pt x="52874" y="105703"/>
                      <a:pt x="41036" y="101157"/>
                    </a:cubicBezTo>
                    <a:cubicBezTo>
                      <a:pt x="29199" y="96567"/>
                      <a:pt x="14359" y="85159"/>
                      <a:pt x="10413" y="101157"/>
                    </a:cubicBezTo>
                    <a:cubicBezTo>
                      <a:pt x="6467" y="117111"/>
                      <a:pt x="1493" y="134267"/>
                      <a:pt x="17318" y="133109"/>
                    </a:cubicBezTo>
                    <a:cubicBezTo>
                      <a:pt x="33144" y="131994"/>
                      <a:pt x="30142" y="144561"/>
                      <a:pt x="19291" y="157084"/>
                    </a:cubicBezTo>
                    <a:cubicBezTo>
                      <a:pt x="8441" y="169651"/>
                      <a:pt x="36061" y="154811"/>
                      <a:pt x="38034" y="166263"/>
                    </a:cubicBezTo>
                    <a:cubicBezTo>
                      <a:pt x="40007" y="177671"/>
                      <a:pt x="48885" y="178829"/>
                      <a:pt x="44982" y="197100"/>
                    </a:cubicBezTo>
                    <a:cubicBezTo>
                      <a:pt x="42451" y="208637"/>
                      <a:pt x="44339" y="231754"/>
                      <a:pt x="45025" y="248824"/>
                    </a:cubicBezTo>
                    <a:cubicBezTo>
                      <a:pt x="55490" y="248739"/>
                      <a:pt x="69600" y="247709"/>
                      <a:pt x="72603" y="242777"/>
                    </a:cubicBezTo>
                    <a:cubicBezTo>
                      <a:pt x="77535" y="234800"/>
                      <a:pt x="93318" y="218802"/>
                      <a:pt x="102239" y="218802"/>
                    </a:cubicBezTo>
                    <a:cubicBezTo>
                      <a:pt x="111117" y="218802"/>
                      <a:pt x="121025" y="223391"/>
                      <a:pt x="125957" y="215371"/>
                    </a:cubicBezTo>
                    <a:cubicBezTo>
                      <a:pt x="130889" y="207393"/>
                      <a:pt x="159540" y="209667"/>
                      <a:pt x="164472" y="216529"/>
                    </a:cubicBezTo>
                    <a:cubicBezTo>
                      <a:pt x="169447" y="223391"/>
                      <a:pt x="185187" y="229095"/>
                      <a:pt x="189176" y="229095"/>
                    </a:cubicBezTo>
                    <a:cubicBezTo>
                      <a:pt x="193122" y="229095"/>
                      <a:pt x="195094" y="239346"/>
                      <a:pt x="205002" y="238231"/>
                    </a:cubicBezTo>
                    <a:cubicBezTo>
                      <a:pt x="214867" y="237073"/>
                      <a:pt x="233652" y="241662"/>
                      <a:pt x="233652" y="248524"/>
                    </a:cubicBezTo>
                    <a:cubicBezTo>
                      <a:pt x="233652" y="255386"/>
                      <a:pt x="240557" y="262206"/>
                      <a:pt x="248449" y="262206"/>
                    </a:cubicBezTo>
                    <a:cubicBezTo>
                      <a:pt x="256340" y="262206"/>
                      <a:pt x="263246" y="285066"/>
                      <a:pt x="271180" y="283908"/>
                    </a:cubicBezTo>
                    <a:cubicBezTo>
                      <a:pt x="279072" y="282793"/>
                      <a:pt x="294855" y="282793"/>
                      <a:pt x="294855" y="288497"/>
                    </a:cubicBezTo>
                    <a:cubicBezTo>
                      <a:pt x="294855" y="293301"/>
                      <a:pt x="296314" y="320321"/>
                      <a:pt x="300817" y="335761"/>
                    </a:cubicBezTo>
                    <a:cubicBezTo>
                      <a:pt x="303519" y="334088"/>
                      <a:pt x="306307" y="333788"/>
                      <a:pt x="307893" y="334989"/>
                    </a:cubicBezTo>
                    <a:cubicBezTo>
                      <a:pt x="311839" y="338034"/>
                      <a:pt x="329038" y="331944"/>
                      <a:pt x="331654" y="342623"/>
                    </a:cubicBezTo>
                    <a:cubicBezTo>
                      <a:pt x="334313" y="353303"/>
                      <a:pt x="361977" y="347170"/>
                      <a:pt x="360648" y="330400"/>
                    </a:cubicBezTo>
                    <a:cubicBezTo>
                      <a:pt x="359318" y="313630"/>
                      <a:pt x="404180" y="313630"/>
                      <a:pt x="408126" y="298405"/>
                    </a:cubicBezTo>
                    <a:cubicBezTo>
                      <a:pt x="412072" y="283136"/>
                      <a:pt x="417390" y="255687"/>
                      <a:pt x="427941" y="260276"/>
                    </a:cubicBezTo>
                    <a:cubicBezTo>
                      <a:pt x="438448" y="264865"/>
                      <a:pt x="445053" y="240461"/>
                      <a:pt x="454275" y="241962"/>
                    </a:cubicBezTo>
                    <a:cubicBezTo>
                      <a:pt x="462724" y="243377"/>
                      <a:pt x="468986" y="250969"/>
                      <a:pt x="479108" y="248824"/>
                    </a:cubicBezTo>
                    <a:lnTo>
                      <a:pt x="476663" y="223348"/>
                    </a:ln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17" name="Freeform: Shape 295">
                <a:extLst>
                  <a:ext uri="{FF2B5EF4-FFF2-40B4-BE49-F238E27FC236}">
                    <a16:creationId xmlns:a16="http://schemas.microsoft.com/office/drawing/2014/main" id="{C3D4288E-7953-58AB-799F-75BA3E627523}"/>
                  </a:ext>
                </a:extLst>
              </p:cNvPr>
              <p:cNvSpPr/>
              <p:nvPr/>
            </p:nvSpPr>
            <p:spPr>
              <a:xfrm>
                <a:off x="8113035" y="3183734"/>
                <a:ext cx="505172" cy="492051"/>
              </a:xfrm>
              <a:custGeom>
                <a:avLst/>
                <a:gdLst>
                  <a:gd name="connsiteX0" fmla="*/ 601014 w 660495"/>
                  <a:gd name="connsiteY0" fmla="*/ 636757 h 643339"/>
                  <a:gd name="connsiteX1" fmla="*/ 622073 w 660495"/>
                  <a:gd name="connsiteY1" fmla="*/ 599958 h 643339"/>
                  <a:gd name="connsiteX2" fmla="*/ 652395 w 660495"/>
                  <a:gd name="connsiteY2" fmla="*/ 589278 h 643339"/>
                  <a:gd name="connsiteX3" fmla="*/ 644504 w 660495"/>
                  <a:gd name="connsiteY3" fmla="*/ 560328 h 643339"/>
                  <a:gd name="connsiteX4" fmla="*/ 628721 w 660495"/>
                  <a:gd name="connsiteY4" fmla="*/ 517610 h 643339"/>
                  <a:gd name="connsiteX5" fmla="*/ 594452 w 660495"/>
                  <a:gd name="connsiteY5" fmla="*/ 484071 h 643339"/>
                  <a:gd name="connsiteX6" fmla="*/ 572021 w 660495"/>
                  <a:gd name="connsiteY6" fmla="*/ 450488 h 643339"/>
                  <a:gd name="connsiteX7" fmla="*/ 606289 w 660495"/>
                  <a:gd name="connsiteY7" fmla="*/ 395590 h 643339"/>
                  <a:gd name="connsiteX8" fmla="*/ 573308 w 660495"/>
                  <a:gd name="connsiteY8" fmla="*/ 375775 h 643339"/>
                  <a:gd name="connsiteX9" fmla="*/ 568032 w 660495"/>
                  <a:gd name="connsiteY9" fmla="*/ 331556 h 643339"/>
                  <a:gd name="connsiteX10" fmla="*/ 568032 w 660495"/>
                  <a:gd name="connsiteY10" fmla="*/ 290383 h 643339"/>
                  <a:gd name="connsiteX11" fmla="*/ 571978 w 660495"/>
                  <a:gd name="connsiteY11" fmla="*/ 256843 h 643339"/>
                  <a:gd name="connsiteX12" fmla="*/ 585145 w 660495"/>
                  <a:gd name="connsiteY12" fmla="*/ 226392 h 643339"/>
                  <a:gd name="connsiteX13" fmla="*/ 592565 w 660495"/>
                  <a:gd name="connsiteY13" fmla="*/ 208850 h 643339"/>
                  <a:gd name="connsiteX14" fmla="*/ 586603 w 660495"/>
                  <a:gd name="connsiteY14" fmla="*/ 161586 h 643339"/>
                  <a:gd name="connsiteX15" fmla="*/ 562928 w 660495"/>
                  <a:gd name="connsiteY15" fmla="*/ 156997 h 643339"/>
                  <a:gd name="connsiteX16" fmla="*/ 540197 w 660495"/>
                  <a:gd name="connsiteY16" fmla="*/ 135295 h 643339"/>
                  <a:gd name="connsiteX17" fmla="*/ 525400 w 660495"/>
                  <a:gd name="connsiteY17" fmla="*/ 121613 h 643339"/>
                  <a:gd name="connsiteX18" fmla="*/ 496750 w 660495"/>
                  <a:gd name="connsiteY18" fmla="*/ 111320 h 643339"/>
                  <a:gd name="connsiteX19" fmla="*/ 480924 w 660495"/>
                  <a:gd name="connsiteY19" fmla="*/ 102141 h 643339"/>
                  <a:gd name="connsiteX20" fmla="*/ 456220 w 660495"/>
                  <a:gd name="connsiteY20" fmla="*/ 89575 h 643339"/>
                  <a:gd name="connsiteX21" fmla="*/ 417705 w 660495"/>
                  <a:gd name="connsiteY21" fmla="*/ 88417 h 643339"/>
                  <a:gd name="connsiteX22" fmla="*/ 393987 w 660495"/>
                  <a:gd name="connsiteY22" fmla="*/ 91848 h 643339"/>
                  <a:gd name="connsiteX23" fmla="*/ 364351 w 660495"/>
                  <a:gd name="connsiteY23" fmla="*/ 115823 h 643339"/>
                  <a:gd name="connsiteX24" fmla="*/ 336773 w 660495"/>
                  <a:gd name="connsiteY24" fmla="*/ 121871 h 643339"/>
                  <a:gd name="connsiteX25" fmla="*/ 335744 w 660495"/>
                  <a:gd name="connsiteY25" fmla="*/ 142114 h 643339"/>
                  <a:gd name="connsiteX26" fmla="*/ 263647 w 660495"/>
                  <a:gd name="connsiteY26" fmla="*/ 160385 h 643339"/>
                  <a:gd name="connsiteX27" fmla="*/ 202444 w 660495"/>
                  <a:gd name="connsiteY27" fmla="*/ 118139 h 643339"/>
                  <a:gd name="connsiteX28" fmla="*/ 162042 w 660495"/>
                  <a:gd name="connsiteY28" fmla="*/ 72505 h 643339"/>
                  <a:gd name="connsiteX29" fmla="*/ 138110 w 660495"/>
                  <a:gd name="connsiteY29" fmla="*/ 52476 h 643339"/>
                  <a:gd name="connsiteX30" fmla="*/ 131505 w 660495"/>
                  <a:gd name="connsiteY30" fmla="*/ 17392 h 643339"/>
                  <a:gd name="connsiteX31" fmla="*/ 64254 w 660495"/>
                  <a:gd name="connsiteY31" fmla="*/ 50932 h 643339"/>
                  <a:gd name="connsiteX32" fmla="*/ 41823 w 660495"/>
                  <a:gd name="connsiteY32" fmla="*/ 35706 h 643339"/>
                  <a:gd name="connsiteX33" fmla="*/ 22051 w 660495"/>
                  <a:gd name="connsiteY33" fmla="*/ 6713 h 643339"/>
                  <a:gd name="connsiteX34" fmla="*/ 10214 w 660495"/>
                  <a:gd name="connsiteY34" fmla="*/ 26528 h 643339"/>
                  <a:gd name="connsiteX35" fmla="*/ 11544 w 660495"/>
                  <a:gd name="connsiteY35" fmla="*/ 58523 h 643339"/>
                  <a:gd name="connsiteX36" fmla="*/ 11544 w 660495"/>
                  <a:gd name="connsiteY36" fmla="*/ 99697 h 643339"/>
                  <a:gd name="connsiteX37" fmla="*/ 27370 w 660495"/>
                  <a:gd name="connsiteY37" fmla="*/ 130234 h 643339"/>
                  <a:gd name="connsiteX38" fmla="*/ 39250 w 660495"/>
                  <a:gd name="connsiteY38" fmla="*/ 160685 h 643339"/>
                  <a:gd name="connsiteX39" fmla="*/ 57736 w 660495"/>
                  <a:gd name="connsiteY39" fmla="*/ 183588 h 643339"/>
                  <a:gd name="connsiteX40" fmla="*/ 70902 w 660495"/>
                  <a:gd name="connsiteY40" fmla="*/ 197313 h 643339"/>
                  <a:gd name="connsiteX41" fmla="*/ 66956 w 660495"/>
                  <a:gd name="connsiteY41" fmla="*/ 220173 h 643339"/>
                  <a:gd name="connsiteX42" fmla="*/ 53790 w 660495"/>
                  <a:gd name="connsiteY42" fmla="*/ 250667 h 643339"/>
                  <a:gd name="connsiteX43" fmla="*/ 57736 w 660495"/>
                  <a:gd name="connsiteY43" fmla="*/ 285750 h 643339"/>
                  <a:gd name="connsiteX44" fmla="*/ 73519 w 660495"/>
                  <a:gd name="connsiteY44" fmla="*/ 307110 h 643339"/>
                  <a:gd name="connsiteX45" fmla="*/ 110489 w 660495"/>
                  <a:gd name="connsiteY45" fmla="*/ 336102 h 643339"/>
                  <a:gd name="connsiteX46" fmla="*/ 126273 w 660495"/>
                  <a:gd name="connsiteY46" fmla="*/ 358963 h 643339"/>
                  <a:gd name="connsiteX47" fmla="*/ 123613 w 660495"/>
                  <a:gd name="connsiteY47" fmla="*/ 384911 h 643339"/>
                  <a:gd name="connsiteX48" fmla="*/ 135494 w 660495"/>
                  <a:gd name="connsiteY48" fmla="*/ 410859 h 643339"/>
                  <a:gd name="connsiteX49" fmla="*/ 154322 w 660495"/>
                  <a:gd name="connsiteY49" fmla="*/ 441267 h 643339"/>
                  <a:gd name="connsiteX50" fmla="*/ 162428 w 660495"/>
                  <a:gd name="connsiteY50" fmla="*/ 439594 h 643339"/>
                  <a:gd name="connsiteX51" fmla="*/ 177740 w 660495"/>
                  <a:gd name="connsiteY51" fmla="*/ 435048 h 643339"/>
                  <a:gd name="connsiteX52" fmla="*/ 200985 w 660495"/>
                  <a:gd name="connsiteY52" fmla="*/ 433890 h 643339"/>
                  <a:gd name="connsiteX53" fmla="*/ 235040 w 660495"/>
                  <a:gd name="connsiteY53" fmla="*/ 494407 h 643339"/>
                  <a:gd name="connsiteX54" fmla="*/ 254297 w 660495"/>
                  <a:gd name="connsiteY54" fmla="*/ 529834 h 643339"/>
                  <a:gd name="connsiteX55" fmla="*/ 294784 w 660495"/>
                  <a:gd name="connsiteY55" fmla="*/ 553251 h 643339"/>
                  <a:gd name="connsiteX56" fmla="*/ 370827 w 660495"/>
                  <a:gd name="connsiteY56" fmla="*/ 586919 h 643339"/>
                  <a:gd name="connsiteX57" fmla="*/ 424653 w 660495"/>
                  <a:gd name="connsiteY57" fmla="*/ 569807 h 643339"/>
                  <a:gd name="connsiteX58" fmla="*/ 450301 w 660495"/>
                  <a:gd name="connsiteY58" fmla="*/ 620630 h 643339"/>
                  <a:gd name="connsiteX59" fmla="*/ 470416 w 660495"/>
                  <a:gd name="connsiteY59" fmla="*/ 629037 h 643339"/>
                  <a:gd name="connsiteX60" fmla="*/ 499752 w 660495"/>
                  <a:gd name="connsiteY60" fmla="*/ 613553 h 643339"/>
                  <a:gd name="connsiteX61" fmla="*/ 595353 w 660495"/>
                  <a:gd name="connsiteY61" fmla="*/ 637400 h 643339"/>
                  <a:gd name="connsiteX62" fmla="*/ 601014 w 660495"/>
                  <a:gd name="connsiteY62" fmla="*/ 636757 h 64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660495" h="643339">
                    <a:moveTo>
                      <a:pt x="601014" y="636757"/>
                    </a:moveTo>
                    <a:cubicBezTo>
                      <a:pt x="601057" y="619730"/>
                      <a:pt x="612080" y="605705"/>
                      <a:pt x="622073" y="599958"/>
                    </a:cubicBezTo>
                    <a:cubicBezTo>
                      <a:pt x="632623" y="593824"/>
                      <a:pt x="641845" y="590822"/>
                      <a:pt x="652395" y="589278"/>
                    </a:cubicBezTo>
                    <a:cubicBezTo>
                      <a:pt x="662947" y="587734"/>
                      <a:pt x="652395" y="563373"/>
                      <a:pt x="644504" y="560328"/>
                    </a:cubicBezTo>
                    <a:cubicBezTo>
                      <a:pt x="636569" y="557283"/>
                      <a:pt x="644504" y="525245"/>
                      <a:pt x="628721" y="517610"/>
                    </a:cubicBezTo>
                    <a:cubicBezTo>
                      <a:pt x="612894" y="509976"/>
                      <a:pt x="598827" y="497624"/>
                      <a:pt x="594452" y="484071"/>
                    </a:cubicBezTo>
                    <a:cubicBezTo>
                      <a:pt x="590506" y="471847"/>
                      <a:pt x="570734" y="459667"/>
                      <a:pt x="572021" y="450488"/>
                    </a:cubicBezTo>
                    <a:cubicBezTo>
                      <a:pt x="573351" y="441353"/>
                      <a:pt x="611565" y="412360"/>
                      <a:pt x="606289" y="395590"/>
                    </a:cubicBezTo>
                    <a:cubicBezTo>
                      <a:pt x="601014" y="378820"/>
                      <a:pt x="575967" y="381909"/>
                      <a:pt x="573308" y="375775"/>
                    </a:cubicBezTo>
                    <a:cubicBezTo>
                      <a:pt x="570692" y="369685"/>
                      <a:pt x="574637" y="348326"/>
                      <a:pt x="568032" y="331556"/>
                    </a:cubicBezTo>
                    <a:cubicBezTo>
                      <a:pt x="561427" y="314744"/>
                      <a:pt x="573308" y="299518"/>
                      <a:pt x="568032" y="290383"/>
                    </a:cubicBezTo>
                    <a:cubicBezTo>
                      <a:pt x="562757" y="281247"/>
                      <a:pt x="570692" y="262933"/>
                      <a:pt x="571978" y="256843"/>
                    </a:cubicBezTo>
                    <a:cubicBezTo>
                      <a:pt x="573308" y="250753"/>
                      <a:pt x="586475" y="241617"/>
                      <a:pt x="585145" y="226392"/>
                    </a:cubicBezTo>
                    <a:cubicBezTo>
                      <a:pt x="584373" y="217171"/>
                      <a:pt x="588362" y="211338"/>
                      <a:pt x="592565" y="208850"/>
                    </a:cubicBezTo>
                    <a:cubicBezTo>
                      <a:pt x="588019" y="193410"/>
                      <a:pt x="586603" y="166347"/>
                      <a:pt x="586603" y="161586"/>
                    </a:cubicBezTo>
                    <a:cubicBezTo>
                      <a:pt x="586603" y="155882"/>
                      <a:pt x="570820" y="155882"/>
                      <a:pt x="562928" y="156997"/>
                    </a:cubicBezTo>
                    <a:cubicBezTo>
                      <a:pt x="555037" y="158155"/>
                      <a:pt x="548132" y="135295"/>
                      <a:pt x="540197" y="135295"/>
                    </a:cubicBezTo>
                    <a:cubicBezTo>
                      <a:pt x="532305" y="135295"/>
                      <a:pt x="525400" y="128433"/>
                      <a:pt x="525400" y="121613"/>
                    </a:cubicBezTo>
                    <a:cubicBezTo>
                      <a:pt x="525400" y="114751"/>
                      <a:pt x="506615" y="110205"/>
                      <a:pt x="496750" y="111320"/>
                    </a:cubicBezTo>
                    <a:cubicBezTo>
                      <a:pt x="486886" y="112435"/>
                      <a:pt x="484870" y="102141"/>
                      <a:pt x="480924" y="102141"/>
                    </a:cubicBezTo>
                    <a:cubicBezTo>
                      <a:pt x="476979" y="102141"/>
                      <a:pt x="461195" y="96437"/>
                      <a:pt x="456220" y="89575"/>
                    </a:cubicBezTo>
                    <a:cubicBezTo>
                      <a:pt x="451288" y="82713"/>
                      <a:pt x="422638" y="80439"/>
                      <a:pt x="417705" y="88417"/>
                    </a:cubicBezTo>
                    <a:cubicBezTo>
                      <a:pt x="412773" y="96437"/>
                      <a:pt x="402866" y="91848"/>
                      <a:pt x="393987" y="91848"/>
                    </a:cubicBezTo>
                    <a:cubicBezTo>
                      <a:pt x="385109" y="91848"/>
                      <a:pt x="369326" y="107846"/>
                      <a:pt x="364351" y="115823"/>
                    </a:cubicBezTo>
                    <a:cubicBezTo>
                      <a:pt x="361349" y="120755"/>
                      <a:pt x="347238" y="121785"/>
                      <a:pt x="336773" y="121871"/>
                    </a:cubicBezTo>
                    <a:cubicBezTo>
                      <a:pt x="337159" y="131692"/>
                      <a:pt x="337159" y="139584"/>
                      <a:pt x="335744" y="142114"/>
                    </a:cubicBezTo>
                    <a:cubicBezTo>
                      <a:pt x="330597" y="151078"/>
                      <a:pt x="292297" y="159227"/>
                      <a:pt x="263647" y="160385"/>
                    </a:cubicBezTo>
                    <a:cubicBezTo>
                      <a:pt x="234997" y="161543"/>
                      <a:pt x="233067" y="118139"/>
                      <a:pt x="202444" y="118139"/>
                    </a:cubicBezTo>
                    <a:cubicBezTo>
                      <a:pt x="180184" y="118139"/>
                      <a:pt x="163200" y="94593"/>
                      <a:pt x="162042" y="72505"/>
                    </a:cubicBezTo>
                    <a:cubicBezTo>
                      <a:pt x="148832" y="66715"/>
                      <a:pt x="136309" y="56722"/>
                      <a:pt x="138110" y="52476"/>
                    </a:cubicBezTo>
                    <a:cubicBezTo>
                      <a:pt x="140726" y="46385"/>
                      <a:pt x="147331" y="8257"/>
                      <a:pt x="131505" y="17392"/>
                    </a:cubicBezTo>
                    <a:cubicBezTo>
                      <a:pt x="115679" y="26528"/>
                      <a:pt x="93247" y="55521"/>
                      <a:pt x="64254" y="50932"/>
                    </a:cubicBezTo>
                    <a:cubicBezTo>
                      <a:pt x="35219" y="46342"/>
                      <a:pt x="56320" y="43297"/>
                      <a:pt x="41823" y="35706"/>
                    </a:cubicBezTo>
                    <a:cubicBezTo>
                      <a:pt x="27327" y="28072"/>
                      <a:pt x="36548" y="9758"/>
                      <a:pt x="22051" y="6713"/>
                    </a:cubicBezTo>
                    <a:cubicBezTo>
                      <a:pt x="7555" y="3668"/>
                      <a:pt x="18106" y="26528"/>
                      <a:pt x="10214" y="26528"/>
                    </a:cubicBezTo>
                    <a:cubicBezTo>
                      <a:pt x="2279" y="26528"/>
                      <a:pt x="8885" y="52433"/>
                      <a:pt x="11544" y="58523"/>
                    </a:cubicBezTo>
                    <a:cubicBezTo>
                      <a:pt x="14203" y="64656"/>
                      <a:pt x="6268" y="98196"/>
                      <a:pt x="11544" y="99697"/>
                    </a:cubicBezTo>
                    <a:cubicBezTo>
                      <a:pt x="16819" y="101241"/>
                      <a:pt x="28656" y="125688"/>
                      <a:pt x="27370" y="130234"/>
                    </a:cubicBezTo>
                    <a:cubicBezTo>
                      <a:pt x="26040" y="134823"/>
                      <a:pt x="39250" y="150049"/>
                      <a:pt x="39250" y="160685"/>
                    </a:cubicBezTo>
                    <a:cubicBezTo>
                      <a:pt x="39250" y="171365"/>
                      <a:pt x="51130" y="183588"/>
                      <a:pt x="57736" y="183588"/>
                    </a:cubicBezTo>
                    <a:cubicBezTo>
                      <a:pt x="64340" y="183588"/>
                      <a:pt x="73519" y="188177"/>
                      <a:pt x="70902" y="197313"/>
                    </a:cubicBezTo>
                    <a:cubicBezTo>
                      <a:pt x="68243" y="206491"/>
                      <a:pt x="74848" y="220173"/>
                      <a:pt x="66956" y="220173"/>
                    </a:cubicBezTo>
                    <a:cubicBezTo>
                      <a:pt x="59065" y="220173"/>
                      <a:pt x="60352" y="246121"/>
                      <a:pt x="53790" y="250667"/>
                    </a:cubicBezTo>
                    <a:cubicBezTo>
                      <a:pt x="47184" y="255256"/>
                      <a:pt x="52460" y="282706"/>
                      <a:pt x="57736" y="285750"/>
                    </a:cubicBezTo>
                    <a:cubicBezTo>
                      <a:pt x="63011" y="288796"/>
                      <a:pt x="74848" y="296430"/>
                      <a:pt x="73519" y="307110"/>
                    </a:cubicBezTo>
                    <a:cubicBezTo>
                      <a:pt x="72189" y="317789"/>
                      <a:pt x="101225" y="334559"/>
                      <a:pt x="110489" y="336102"/>
                    </a:cubicBezTo>
                    <a:cubicBezTo>
                      <a:pt x="119667" y="337604"/>
                      <a:pt x="120997" y="352872"/>
                      <a:pt x="126273" y="358963"/>
                    </a:cubicBezTo>
                    <a:cubicBezTo>
                      <a:pt x="131548" y="365096"/>
                      <a:pt x="122327" y="377276"/>
                      <a:pt x="123613" y="384911"/>
                    </a:cubicBezTo>
                    <a:cubicBezTo>
                      <a:pt x="124943" y="392545"/>
                      <a:pt x="136823" y="398635"/>
                      <a:pt x="135494" y="410859"/>
                    </a:cubicBezTo>
                    <a:cubicBezTo>
                      <a:pt x="134722" y="418236"/>
                      <a:pt x="145401" y="430545"/>
                      <a:pt x="154322" y="441267"/>
                    </a:cubicBezTo>
                    <a:cubicBezTo>
                      <a:pt x="157281" y="440238"/>
                      <a:pt x="160112" y="439594"/>
                      <a:pt x="162428" y="439594"/>
                    </a:cubicBezTo>
                    <a:cubicBezTo>
                      <a:pt x="171349" y="439594"/>
                      <a:pt x="170835" y="428229"/>
                      <a:pt x="177740" y="435048"/>
                    </a:cubicBezTo>
                    <a:cubicBezTo>
                      <a:pt x="184688" y="441911"/>
                      <a:pt x="194037" y="434448"/>
                      <a:pt x="200985" y="433890"/>
                    </a:cubicBezTo>
                    <a:cubicBezTo>
                      <a:pt x="207891" y="433333"/>
                      <a:pt x="226634" y="474463"/>
                      <a:pt x="235040" y="494407"/>
                    </a:cubicBezTo>
                    <a:cubicBezTo>
                      <a:pt x="243446" y="514393"/>
                      <a:pt x="242931" y="521256"/>
                      <a:pt x="254297" y="529834"/>
                    </a:cubicBezTo>
                    <a:cubicBezTo>
                      <a:pt x="265663" y="538412"/>
                      <a:pt x="278487" y="533822"/>
                      <a:pt x="294784" y="553251"/>
                    </a:cubicBezTo>
                    <a:cubicBezTo>
                      <a:pt x="311082" y="572680"/>
                      <a:pt x="353028" y="585804"/>
                      <a:pt x="370827" y="586919"/>
                    </a:cubicBezTo>
                    <a:cubicBezTo>
                      <a:pt x="388584" y="588077"/>
                      <a:pt x="401965" y="564660"/>
                      <a:pt x="424653" y="569807"/>
                    </a:cubicBezTo>
                    <a:cubicBezTo>
                      <a:pt x="447342" y="574953"/>
                      <a:pt x="441895" y="608621"/>
                      <a:pt x="450301" y="620630"/>
                    </a:cubicBezTo>
                    <a:cubicBezTo>
                      <a:pt x="452445" y="623676"/>
                      <a:pt x="460037" y="626463"/>
                      <a:pt x="470416" y="629037"/>
                    </a:cubicBezTo>
                    <a:cubicBezTo>
                      <a:pt x="476077" y="619815"/>
                      <a:pt x="485813" y="613339"/>
                      <a:pt x="499752" y="613553"/>
                    </a:cubicBezTo>
                    <a:cubicBezTo>
                      <a:pt x="532606" y="614068"/>
                      <a:pt x="566446" y="620759"/>
                      <a:pt x="595353" y="637400"/>
                    </a:cubicBezTo>
                    <a:cubicBezTo>
                      <a:pt x="597283" y="637014"/>
                      <a:pt x="599127" y="636843"/>
                      <a:pt x="601014" y="63675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18" name="Freeform: Shape 296">
                <a:extLst>
                  <a:ext uri="{FF2B5EF4-FFF2-40B4-BE49-F238E27FC236}">
                    <a16:creationId xmlns:a16="http://schemas.microsoft.com/office/drawing/2014/main" id="{B453BAA9-4AC9-3BF1-CF57-04B34855737A}"/>
                  </a:ext>
                </a:extLst>
              </p:cNvPr>
              <p:cNvSpPr/>
              <p:nvPr/>
            </p:nvSpPr>
            <p:spPr>
              <a:xfrm>
                <a:off x="8176909" y="2598812"/>
                <a:ext cx="1046428" cy="567499"/>
              </a:xfrm>
              <a:custGeom>
                <a:avLst/>
                <a:gdLst>
                  <a:gd name="connsiteX0" fmla="*/ 1357316 w 1368168"/>
                  <a:gd name="connsiteY0" fmla="*/ 306129 h 741984"/>
                  <a:gd name="connsiteX1" fmla="*/ 1345479 w 1368168"/>
                  <a:gd name="connsiteY1" fmla="*/ 304971 h 741984"/>
                  <a:gd name="connsiteX2" fmla="*/ 1318802 w 1368168"/>
                  <a:gd name="connsiteY2" fmla="*/ 310718 h 741984"/>
                  <a:gd name="connsiteX3" fmla="*/ 1302032 w 1368168"/>
                  <a:gd name="connsiteY3" fmla="*/ 294720 h 741984"/>
                  <a:gd name="connsiteX4" fmla="*/ 1294869 w 1368168"/>
                  <a:gd name="connsiteY4" fmla="*/ 280181 h 741984"/>
                  <a:gd name="connsiteX5" fmla="*/ 1274154 w 1368168"/>
                  <a:gd name="connsiteY5" fmla="*/ 260452 h 741984"/>
                  <a:gd name="connsiteX6" fmla="*/ 1252666 w 1368168"/>
                  <a:gd name="connsiteY6" fmla="*/ 239908 h 741984"/>
                  <a:gd name="connsiteX7" fmla="*/ 1219341 w 1368168"/>
                  <a:gd name="connsiteY7" fmla="*/ 251016 h 741984"/>
                  <a:gd name="connsiteX8" fmla="*/ 1186745 w 1368168"/>
                  <a:gd name="connsiteY8" fmla="*/ 245011 h 741984"/>
                  <a:gd name="connsiteX9" fmla="*/ 1160840 w 1368168"/>
                  <a:gd name="connsiteY9" fmla="*/ 223610 h 741984"/>
                  <a:gd name="connsiteX10" fmla="*/ 1141583 w 1368168"/>
                  <a:gd name="connsiteY10" fmla="*/ 248443 h 741984"/>
                  <a:gd name="connsiteX11" fmla="*/ 1106757 w 1368168"/>
                  <a:gd name="connsiteY11" fmla="*/ 179048 h 741984"/>
                  <a:gd name="connsiteX12" fmla="*/ 1045296 w 1368168"/>
                  <a:gd name="connsiteY12" fmla="*/ 95113 h 741984"/>
                  <a:gd name="connsiteX13" fmla="*/ 1035646 w 1368168"/>
                  <a:gd name="connsiteY13" fmla="*/ 65992 h 741984"/>
                  <a:gd name="connsiteX14" fmla="*/ 1013429 w 1368168"/>
                  <a:gd name="connsiteY14" fmla="*/ 63418 h 741984"/>
                  <a:gd name="connsiteX15" fmla="*/ 983064 w 1368168"/>
                  <a:gd name="connsiteY15" fmla="*/ 83104 h 741984"/>
                  <a:gd name="connsiteX16" fmla="*/ 946737 w 1368168"/>
                  <a:gd name="connsiteY16" fmla="*/ 100260 h 741984"/>
                  <a:gd name="connsiteX17" fmla="*/ 921561 w 1368168"/>
                  <a:gd name="connsiteY17" fmla="*/ 107122 h 741984"/>
                  <a:gd name="connsiteX18" fmla="*/ 933441 w 1368168"/>
                  <a:gd name="connsiteY18" fmla="*/ 82290 h 741984"/>
                  <a:gd name="connsiteX19" fmla="*/ 915642 w 1368168"/>
                  <a:gd name="connsiteY19" fmla="*/ 79716 h 741984"/>
                  <a:gd name="connsiteX20" fmla="*/ 900073 w 1368168"/>
                  <a:gd name="connsiteY20" fmla="*/ 77143 h 741984"/>
                  <a:gd name="connsiteX21" fmla="*/ 890466 w 1368168"/>
                  <a:gd name="connsiteY21" fmla="*/ 74569 h 741984"/>
                  <a:gd name="connsiteX22" fmla="*/ 877899 w 1368168"/>
                  <a:gd name="connsiteY22" fmla="*/ 65134 h 741984"/>
                  <a:gd name="connsiteX23" fmla="*/ 847534 w 1368168"/>
                  <a:gd name="connsiteY23" fmla="*/ 71138 h 741984"/>
                  <a:gd name="connsiteX24" fmla="*/ 851265 w 1368168"/>
                  <a:gd name="connsiteY24" fmla="*/ 54840 h 741984"/>
                  <a:gd name="connsiteX25" fmla="*/ 845346 w 1368168"/>
                  <a:gd name="connsiteY25" fmla="*/ 27434 h 741984"/>
                  <a:gd name="connsiteX26" fmla="*/ 823859 w 1368168"/>
                  <a:gd name="connsiteY26" fmla="*/ 11994 h 741984"/>
                  <a:gd name="connsiteX27" fmla="*/ 797953 w 1368168"/>
                  <a:gd name="connsiteY27" fmla="*/ 7748 h 741984"/>
                  <a:gd name="connsiteX28" fmla="*/ 756480 w 1368168"/>
                  <a:gd name="connsiteY28" fmla="*/ 18856 h 741984"/>
                  <a:gd name="connsiteX29" fmla="*/ 707586 w 1368168"/>
                  <a:gd name="connsiteY29" fmla="*/ 37685 h 741984"/>
                  <a:gd name="connsiteX30" fmla="*/ 660193 w 1368168"/>
                  <a:gd name="connsiteY30" fmla="*/ 47978 h 741984"/>
                  <a:gd name="connsiteX31" fmla="*/ 626139 w 1368168"/>
                  <a:gd name="connsiteY31" fmla="*/ 59944 h 741984"/>
                  <a:gd name="connsiteX32" fmla="*/ 575787 w 1368168"/>
                  <a:gd name="connsiteY32" fmla="*/ 71953 h 741984"/>
                  <a:gd name="connsiteX33" fmla="*/ 535814 w 1368168"/>
                  <a:gd name="connsiteY33" fmla="*/ 77100 h 741984"/>
                  <a:gd name="connsiteX34" fmla="*/ 507636 w 1368168"/>
                  <a:gd name="connsiteY34" fmla="*/ 78815 h 741984"/>
                  <a:gd name="connsiteX35" fmla="*/ 509137 w 1368168"/>
                  <a:gd name="connsiteY35" fmla="*/ 111369 h 741984"/>
                  <a:gd name="connsiteX36" fmla="*/ 538774 w 1368168"/>
                  <a:gd name="connsiteY36" fmla="*/ 128481 h 741984"/>
                  <a:gd name="connsiteX37" fmla="*/ 503218 w 1368168"/>
                  <a:gd name="connsiteY37" fmla="*/ 135344 h 741984"/>
                  <a:gd name="connsiteX38" fmla="*/ 497300 w 1368168"/>
                  <a:gd name="connsiteY38" fmla="*/ 162750 h 741984"/>
                  <a:gd name="connsiteX39" fmla="*/ 476584 w 1368168"/>
                  <a:gd name="connsiteY39" fmla="*/ 183294 h 741984"/>
                  <a:gd name="connsiteX40" fmla="*/ 485462 w 1368168"/>
                  <a:gd name="connsiteY40" fmla="*/ 203838 h 741984"/>
                  <a:gd name="connsiteX41" fmla="*/ 509180 w 1368168"/>
                  <a:gd name="connsiteY41" fmla="*/ 212416 h 741984"/>
                  <a:gd name="connsiteX42" fmla="*/ 518058 w 1368168"/>
                  <a:gd name="connsiteY42" fmla="*/ 239865 h 741984"/>
                  <a:gd name="connsiteX43" fmla="*/ 497342 w 1368168"/>
                  <a:gd name="connsiteY43" fmla="*/ 253546 h 741984"/>
                  <a:gd name="connsiteX44" fmla="*/ 472166 w 1368168"/>
                  <a:gd name="connsiteY44" fmla="*/ 241580 h 741984"/>
                  <a:gd name="connsiteX45" fmla="*/ 460329 w 1368168"/>
                  <a:gd name="connsiteY45" fmla="*/ 260409 h 741984"/>
                  <a:gd name="connsiteX46" fmla="*/ 444074 w 1368168"/>
                  <a:gd name="connsiteY46" fmla="*/ 248443 h 741984"/>
                  <a:gd name="connsiteX47" fmla="*/ 421857 w 1368168"/>
                  <a:gd name="connsiteY47" fmla="*/ 236434 h 741984"/>
                  <a:gd name="connsiteX48" fmla="*/ 389261 w 1368168"/>
                  <a:gd name="connsiteY48" fmla="*/ 234761 h 741984"/>
                  <a:gd name="connsiteX49" fmla="*/ 370004 w 1368168"/>
                  <a:gd name="connsiteY49" fmla="*/ 233045 h 741984"/>
                  <a:gd name="connsiteX50" fmla="*/ 337408 w 1368168"/>
                  <a:gd name="connsiteY50" fmla="*/ 245054 h 741984"/>
                  <a:gd name="connsiteX51" fmla="*/ 306313 w 1368168"/>
                  <a:gd name="connsiteY51" fmla="*/ 248486 h 741984"/>
                  <a:gd name="connsiteX52" fmla="*/ 287056 w 1368168"/>
                  <a:gd name="connsiteY52" fmla="*/ 248486 h 741984"/>
                  <a:gd name="connsiteX53" fmla="*/ 278178 w 1368168"/>
                  <a:gd name="connsiteY53" fmla="*/ 243339 h 741984"/>
                  <a:gd name="connsiteX54" fmla="*/ 250043 w 1368168"/>
                  <a:gd name="connsiteY54" fmla="*/ 215933 h 741984"/>
                  <a:gd name="connsiteX55" fmla="*/ 211528 w 1368168"/>
                  <a:gd name="connsiteY55" fmla="*/ 202208 h 741984"/>
                  <a:gd name="connsiteX56" fmla="*/ 187853 w 1368168"/>
                  <a:gd name="connsiteY56" fmla="*/ 202208 h 741984"/>
                  <a:gd name="connsiteX57" fmla="*/ 170054 w 1368168"/>
                  <a:gd name="connsiteY57" fmla="*/ 202208 h 741984"/>
                  <a:gd name="connsiteX58" fmla="*/ 144878 w 1368168"/>
                  <a:gd name="connsiteY58" fmla="*/ 210786 h 741984"/>
                  <a:gd name="connsiteX59" fmla="*/ 109323 w 1368168"/>
                  <a:gd name="connsiteY59" fmla="*/ 229614 h 741984"/>
                  <a:gd name="connsiteX60" fmla="*/ 91524 w 1368168"/>
                  <a:gd name="connsiteY60" fmla="*/ 248486 h 741984"/>
                  <a:gd name="connsiteX61" fmla="*/ 82645 w 1368168"/>
                  <a:gd name="connsiteY61" fmla="*/ 269030 h 741984"/>
                  <a:gd name="connsiteX62" fmla="*/ 79686 w 1368168"/>
                  <a:gd name="connsiteY62" fmla="*/ 293005 h 741984"/>
                  <a:gd name="connsiteX63" fmla="*/ 53009 w 1368168"/>
                  <a:gd name="connsiteY63" fmla="*/ 267314 h 741984"/>
                  <a:gd name="connsiteX64" fmla="*/ 33752 w 1368168"/>
                  <a:gd name="connsiteY64" fmla="*/ 281039 h 741984"/>
                  <a:gd name="connsiteX65" fmla="*/ 15996 w 1368168"/>
                  <a:gd name="connsiteY65" fmla="*/ 305014 h 741984"/>
                  <a:gd name="connsiteX66" fmla="*/ 26375 w 1368168"/>
                  <a:gd name="connsiteY66" fmla="*/ 323885 h 741984"/>
                  <a:gd name="connsiteX67" fmla="*/ 14537 w 1368168"/>
                  <a:gd name="connsiteY67" fmla="*/ 335851 h 741984"/>
                  <a:gd name="connsiteX68" fmla="*/ 7117 w 1368168"/>
                  <a:gd name="connsiteY68" fmla="*/ 359826 h 741984"/>
                  <a:gd name="connsiteX69" fmla="*/ 26375 w 1368168"/>
                  <a:gd name="connsiteY69" fmla="*/ 375223 h 741984"/>
                  <a:gd name="connsiteX70" fmla="*/ 32293 w 1368168"/>
                  <a:gd name="connsiteY70" fmla="*/ 395768 h 741984"/>
                  <a:gd name="connsiteX71" fmla="*/ 56011 w 1368168"/>
                  <a:gd name="connsiteY71" fmla="*/ 394052 h 741984"/>
                  <a:gd name="connsiteX72" fmla="*/ 76770 w 1368168"/>
                  <a:gd name="connsiteY72" fmla="*/ 421501 h 741984"/>
                  <a:gd name="connsiteX73" fmla="*/ 81230 w 1368168"/>
                  <a:gd name="connsiteY73" fmla="*/ 445476 h 741984"/>
                  <a:gd name="connsiteX74" fmla="*/ 88650 w 1368168"/>
                  <a:gd name="connsiteY74" fmla="*/ 462589 h 741984"/>
                  <a:gd name="connsiteX75" fmla="*/ 99415 w 1368168"/>
                  <a:gd name="connsiteY75" fmla="*/ 470052 h 741984"/>
                  <a:gd name="connsiteX76" fmla="*/ 105420 w 1368168"/>
                  <a:gd name="connsiteY76" fmla="*/ 464862 h 741984"/>
                  <a:gd name="connsiteX77" fmla="*/ 175544 w 1368168"/>
                  <a:gd name="connsiteY77" fmla="*/ 438614 h 741984"/>
                  <a:gd name="connsiteX78" fmla="*/ 226882 w 1368168"/>
                  <a:gd name="connsiteY78" fmla="*/ 450022 h 741984"/>
                  <a:gd name="connsiteX79" fmla="*/ 230785 w 1368168"/>
                  <a:gd name="connsiteY79" fmla="*/ 507108 h 741984"/>
                  <a:gd name="connsiteX80" fmla="*/ 198232 w 1368168"/>
                  <a:gd name="connsiteY80" fmla="*/ 517359 h 741984"/>
                  <a:gd name="connsiteX81" fmla="*/ 156758 w 1368168"/>
                  <a:gd name="connsiteY81" fmla="*/ 534471 h 741984"/>
                  <a:gd name="connsiteX82" fmla="*/ 151826 w 1368168"/>
                  <a:gd name="connsiteY82" fmla="*/ 556173 h 741984"/>
                  <a:gd name="connsiteX83" fmla="*/ 135057 w 1368168"/>
                  <a:gd name="connsiteY83" fmla="*/ 568740 h 741984"/>
                  <a:gd name="connsiteX84" fmla="*/ 160747 w 1368168"/>
                  <a:gd name="connsiteY84" fmla="*/ 593873 h 741984"/>
                  <a:gd name="connsiteX85" fmla="*/ 171598 w 1368168"/>
                  <a:gd name="connsiteY85" fmla="*/ 623553 h 741984"/>
                  <a:gd name="connsiteX86" fmla="*/ 195316 w 1368168"/>
                  <a:gd name="connsiteY86" fmla="*/ 639550 h 741984"/>
                  <a:gd name="connsiteX87" fmla="*/ 211099 w 1368168"/>
                  <a:gd name="connsiteY87" fmla="*/ 658979 h 741984"/>
                  <a:gd name="connsiteX88" fmla="*/ 221950 w 1368168"/>
                  <a:gd name="connsiteY88" fmla="*/ 705814 h 741984"/>
                  <a:gd name="connsiteX89" fmla="*/ 226153 w 1368168"/>
                  <a:gd name="connsiteY89" fmla="*/ 679652 h 741984"/>
                  <a:gd name="connsiteX90" fmla="*/ 260679 w 1368168"/>
                  <a:gd name="connsiteY90" fmla="*/ 658593 h 741984"/>
                  <a:gd name="connsiteX91" fmla="*/ 301553 w 1368168"/>
                  <a:gd name="connsiteY91" fmla="*/ 695221 h 741984"/>
                  <a:gd name="connsiteX92" fmla="*/ 325271 w 1368168"/>
                  <a:gd name="connsiteY92" fmla="*/ 701311 h 741984"/>
                  <a:gd name="connsiteX93" fmla="*/ 329216 w 1368168"/>
                  <a:gd name="connsiteY93" fmla="*/ 530526 h 741984"/>
                  <a:gd name="connsiteX94" fmla="*/ 413708 w 1368168"/>
                  <a:gd name="connsiteY94" fmla="*/ 504492 h 741984"/>
                  <a:gd name="connsiteX95" fmla="*/ 416496 w 1368168"/>
                  <a:gd name="connsiteY95" fmla="*/ 497973 h 741984"/>
                  <a:gd name="connsiteX96" fmla="*/ 447119 w 1368168"/>
                  <a:gd name="connsiteY96" fmla="*/ 499131 h 741984"/>
                  <a:gd name="connsiteX97" fmla="*/ 460929 w 1368168"/>
                  <a:gd name="connsiteY97" fmla="*/ 480860 h 741984"/>
                  <a:gd name="connsiteX98" fmla="*/ 468864 w 1368168"/>
                  <a:gd name="connsiteY98" fmla="*/ 503677 h 741984"/>
                  <a:gd name="connsiteX99" fmla="*/ 486620 w 1368168"/>
                  <a:gd name="connsiteY99" fmla="*/ 554372 h 741984"/>
                  <a:gd name="connsiteX100" fmla="*/ 525692 w 1368168"/>
                  <a:gd name="connsiteY100" fmla="*/ 603738 h 741984"/>
                  <a:gd name="connsiteX101" fmla="*/ 569225 w 1368168"/>
                  <a:gd name="connsiteY101" fmla="*/ 600692 h 741984"/>
                  <a:gd name="connsiteX102" fmla="*/ 636518 w 1368168"/>
                  <a:gd name="connsiteY102" fmla="*/ 603738 h 741984"/>
                  <a:gd name="connsiteX103" fmla="*/ 662852 w 1368168"/>
                  <a:gd name="connsiteY103" fmla="*/ 626598 h 741984"/>
                  <a:gd name="connsiteX104" fmla="*/ 670787 w 1368168"/>
                  <a:gd name="connsiteY104" fmla="*/ 663182 h 741984"/>
                  <a:gd name="connsiteX105" fmla="*/ 689229 w 1368168"/>
                  <a:gd name="connsiteY105" fmla="*/ 702898 h 741984"/>
                  <a:gd name="connsiteX106" fmla="*/ 718265 w 1368168"/>
                  <a:gd name="connsiteY106" fmla="*/ 712033 h 741984"/>
                  <a:gd name="connsiteX107" fmla="*/ 745929 w 1368168"/>
                  <a:gd name="connsiteY107" fmla="*/ 731848 h 741984"/>
                  <a:gd name="connsiteX108" fmla="*/ 761755 w 1368168"/>
                  <a:gd name="connsiteY108" fmla="*/ 725715 h 741984"/>
                  <a:gd name="connsiteX109" fmla="*/ 796024 w 1368168"/>
                  <a:gd name="connsiteY109" fmla="*/ 695264 h 741984"/>
                  <a:gd name="connsiteX110" fmla="*/ 815281 w 1368168"/>
                  <a:gd name="connsiteY110" fmla="*/ 693119 h 741984"/>
                  <a:gd name="connsiteX111" fmla="*/ 825360 w 1368168"/>
                  <a:gd name="connsiteY111" fmla="*/ 671589 h 741984"/>
                  <a:gd name="connsiteX112" fmla="*/ 846118 w 1368168"/>
                  <a:gd name="connsiteY112" fmla="*/ 645340 h 741984"/>
                  <a:gd name="connsiteX113" fmla="*/ 891538 w 1368168"/>
                  <a:gd name="connsiteY113" fmla="*/ 644182 h 741984"/>
                  <a:gd name="connsiteX114" fmla="*/ 921174 w 1368168"/>
                  <a:gd name="connsiteY114" fmla="*/ 638521 h 741984"/>
                  <a:gd name="connsiteX115" fmla="*/ 955743 w 1368168"/>
                  <a:gd name="connsiteY115" fmla="*/ 622523 h 741984"/>
                  <a:gd name="connsiteX116" fmla="*/ 1000177 w 1368168"/>
                  <a:gd name="connsiteY116" fmla="*/ 637363 h 741984"/>
                  <a:gd name="connsiteX117" fmla="*/ 1086127 w 1368168"/>
                  <a:gd name="connsiteY117" fmla="*/ 643110 h 741984"/>
                  <a:gd name="connsiteX118" fmla="*/ 1117693 w 1368168"/>
                  <a:gd name="connsiteY118" fmla="*/ 653361 h 741984"/>
                  <a:gd name="connsiteX119" fmla="*/ 1145657 w 1368168"/>
                  <a:gd name="connsiteY119" fmla="*/ 665884 h 741984"/>
                  <a:gd name="connsiteX120" fmla="*/ 1144842 w 1368168"/>
                  <a:gd name="connsiteY120" fmla="*/ 650187 h 741984"/>
                  <a:gd name="connsiteX121" fmla="*/ 1162598 w 1368168"/>
                  <a:gd name="connsiteY121" fmla="*/ 621065 h 741984"/>
                  <a:gd name="connsiteX122" fmla="*/ 1149260 w 1368168"/>
                  <a:gd name="connsiteY122" fmla="*/ 578219 h 741984"/>
                  <a:gd name="connsiteX123" fmla="*/ 1141840 w 1368168"/>
                  <a:gd name="connsiteY123" fmla="*/ 544808 h 741984"/>
                  <a:gd name="connsiteX124" fmla="*/ 1161012 w 1368168"/>
                  <a:gd name="connsiteY124" fmla="*/ 529668 h 741984"/>
                  <a:gd name="connsiteX125" fmla="*/ 1192449 w 1368168"/>
                  <a:gd name="connsiteY125" fmla="*/ 522548 h 741984"/>
                  <a:gd name="connsiteX126" fmla="*/ 1216382 w 1368168"/>
                  <a:gd name="connsiteY126" fmla="*/ 529668 h 741984"/>
                  <a:gd name="connsiteX127" fmla="*/ 1216382 w 1368168"/>
                  <a:gd name="connsiteY127" fmla="*/ 511483 h 741984"/>
                  <a:gd name="connsiteX128" fmla="*/ 1236883 w 1368168"/>
                  <a:gd name="connsiteY128" fmla="*/ 437198 h 741984"/>
                  <a:gd name="connsiteX129" fmla="*/ 1259442 w 1368168"/>
                  <a:gd name="connsiteY129" fmla="*/ 437198 h 741984"/>
                  <a:gd name="connsiteX130" fmla="*/ 1290194 w 1368168"/>
                  <a:gd name="connsiteY130" fmla="*/ 440372 h 741984"/>
                  <a:gd name="connsiteX131" fmla="*/ 1321632 w 1368168"/>
                  <a:gd name="connsiteY131" fmla="*/ 426948 h 741984"/>
                  <a:gd name="connsiteX132" fmla="*/ 1316828 w 1368168"/>
                  <a:gd name="connsiteY132" fmla="*/ 396111 h 741984"/>
                  <a:gd name="connsiteX133" fmla="*/ 1338702 w 1368168"/>
                  <a:gd name="connsiteY133" fmla="*/ 366860 h 741984"/>
                  <a:gd name="connsiteX134" fmla="*/ 1353070 w 1368168"/>
                  <a:gd name="connsiteY134" fmla="*/ 345544 h 741984"/>
                  <a:gd name="connsiteX135" fmla="*/ 1364650 w 1368168"/>
                  <a:gd name="connsiteY135" fmla="*/ 320668 h 741984"/>
                  <a:gd name="connsiteX136" fmla="*/ 1357316 w 1368168"/>
                  <a:gd name="connsiteY136" fmla="*/ 306129 h 741984"/>
                  <a:gd name="connsiteX137" fmla="*/ 512182 w 1368168"/>
                  <a:gd name="connsiteY137" fmla="*/ 473526 h 741984"/>
                  <a:gd name="connsiteX138" fmla="*/ 465905 w 1368168"/>
                  <a:gd name="connsiteY138" fmla="*/ 458900 h 741984"/>
                  <a:gd name="connsiteX139" fmla="*/ 512182 w 1368168"/>
                  <a:gd name="connsiteY139" fmla="*/ 473526 h 741984"/>
                  <a:gd name="connsiteX140" fmla="*/ 1072917 w 1368168"/>
                  <a:gd name="connsiteY140" fmla="*/ 469408 h 741984"/>
                  <a:gd name="connsiteX141" fmla="*/ 959346 w 1368168"/>
                  <a:gd name="connsiteY141" fmla="*/ 484291 h 741984"/>
                  <a:gd name="connsiteX142" fmla="*/ 941590 w 1368168"/>
                  <a:gd name="connsiteY142" fmla="*/ 533399 h 741984"/>
                  <a:gd name="connsiteX143" fmla="*/ 937601 w 1368168"/>
                  <a:gd name="connsiteY143" fmla="*/ 470566 h 741984"/>
                  <a:gd name="connsiteX144" fmla="*/ 1023508 w 1368168"/>
                  <a:gd name="connsiteY144" fmla="*/ 455727 h 741984"/>
                  <a:gd name="connsiteX145" fmla="*/ 1107443 w 1368168"/>
                  <a:gd name="connsiteY145" fmla="*/ 451180 h 741984"/>
                  <a:gd name="connsiteX146" fmla="*/ 1072917 w 1368168"/>
                  <a:gd name="connsiteY146" fmla="*/ 469408 h 74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368168" h="741984">
                    <a:moveTo>
                      <a:pt x="1357316" y="306129"/>
                    </a:moveTo>
                    <a:cubicBezTo>
                      <a:pt x="1356373" y="298151"/>
                      <a:pt x="1350411" y="301540"/>
                      <a:pt x="1345479" y="304971"/>
                    </a:cubicBezTo>
                    <a:cubicBezTo>
                      <a:pt x="1340546" y="308402"/>
                      <a:pt x="1324720" y="310718"/>
                      <a:pt x="1318802" y="310718"/>
                    </a:cubicBezTo>
                    <a:cubicBezTo>
                      <a:pt x="1312883" y="310718"/>
                      <a:pt x="1302032" y="301540"/>
                      <a:pt x="1302032" y="294720"/>
                    </a:cubicBezTo>
                    <a:cubicBezTo>
                      <a:pt x="1302032" y="287858"/>
                      <a:pt x="1300788" y="280181"/>
                      <a:pt x="1294869" y="280181"/>
                    </a:cubicBezTo>
                    <a:cubicBezTo>
                      <a:pt x="1288950" y="280181"/>
                      <a:pt x="1280029" y="276707"/>
                      <a:pt x="1274154" y="260452"/>
                    </a:cubicBezTo>
                    <a:cubicBezTo>
                      <a:pt x="1268192" y="244197"/>
                      <a:pt x="1259314" y="244197"/>
                      <a:pt x="1252666" y="239908"/>
                    </a:cubicBezTo>
                    <a:cubicBezTo>
                      <a:pt x="1246018" y="235619"/>
                      <a:pt x="1227490" y="247585"/>
                      <a:pt x="1219341" y="251016"/>
                    </a:cubicBezTo>
                    <a:cubicBezTo>
                      <a:pt x="1211192" y="254447"/>
                      <a:pt x="1197125" y="247585"/>
                      <a:pt x="1186745" y="245011"/>
                    </a:cubicBezTo>
                    <a:cubicBezTo>
                      <a:pt x="1176366" y="242438"/>
                      <a:pt x="1170447" y="221037"/>
                      <a:pt x="1160840" y="223610"/>
                    </a:cubicBezTo>
                    <a:cubicBezTo>
                      <a:pt x="1151190" y="226183"/>
                      <a:pt x="1148959" y="248443"/>
                      <a:pt x="1141583" y="248443"/>
                    </a:cubicBezTo>
                    <a:cubicBezTo>
                      <a:pt x="1134163" y="248443"/>
                      <a:pt x="1120867" y="203881"/>
                      <a:pt x="1106757" y="179048"/>
                    </a:cubicBezTo>
                    <a:cubicBezTo>
                      <a:pt x="1092689" y="154215"/>
                      <a:pt x="1067513" y="104549"/>
                      <a:pt x="1045296" y="95113"/>
                    </a:cubicBezTo>
                    <a:cubicBezTo>
                      <a:pt x="1023079" y="85678"/>
                      <a:pt x="1029727" y="72854"/>
                      <a:pt x="1035646" y="65992"/>
                    </a:cubicBezTo>
                    <a:cubicBezTo>
                      <a:pt x="1041565" y="59129"/>
                      <a:pt x="1022308" y="57414"/>
                      <a:pt x="1013429" y="63418"/>
                    </a:cubicBezTo>
                    <a:cubicBezTo>
                      <a:pt x="1004551" y="69423"/>
                      <a:pt x="993443" y="80531"/>
                      <a:pt x="983064" y="83104"/>
                    </a:cubicBezTo>
                    <a:cubicBezTo>
                      <a:pt x="972684" y="85678"/>
                      <a:pt x="957888" y="104549"/>
                      <a:pt x="946737" y="100260"/>
                    </a:cubicBezTo>
                    <a:cubicBezTo>
                      <a:pt x="935628" y="95971"/>
                      <a:pt x="930439" y="116515"/>
                      <a:pt x="921561" y="107122"/>
                    </a:cubicBezTo>
                    <a:cubicBezTo>
                      <a:pt x="912682" y="97687"/>
                      <a:pt x="933441" y="90867"/>
                      <a:pt x="933441" y="82290"/>
                    </a:cubicBezTo>
                    <a:cubicBezTo>
                      <a:pt x="933441" y="73712"/>
                      <a:pt x="919373" y="84863"/>
                      <a:pt x="915642" y="79716"/>
                    </a:cubicBezTo>
                    <a:cubicBezTo>
                      <a:pt x="911954" y="74569"/>
                      <a:pt x="900073" y="69423"/>
                      <a:pt x="900073" y="77143"/>
                    </a:cubicBezTo>
                    <a:cubicBezTo>
                      <a:pt x="900073" y="84863"/>
                      <a:pt x="890466" y="80574"/>
                      <a:pt x="890466" y="74569"/>
                    </a:cubicBezTo>
                    <a:cubicBezTo>
                      <a:pt x="890466" y="68565"/>
                      <a:pt x="883818" y="57414"/>
                      <a:pt x="877899" y="65134"/>
                    </a:cubicBezTo>
                    <a:cubicBezTo>
                      <a:pt x="871980" y="72811"/>
                      <a:pt x="851994" y="77100"/>
                      <a:pt x="847534" y="71138"/>
                    </a:cubicBezTo>
                    <a:cubicBezTo>
                      <a:pt x="843116" y="65134"/>
                      <a:pt x="850493" y="62560"/>
                      <a:pt x="851265" y="54840"/>
                    </a:cubicBezTo>
                    <a:cubicBezTo>
                      <a:pt x="851994" y="47120"/>
                      <a:pt x="843845" y="36870"/>
                      <a:pt x="845346" y="27434"/>
                    </a:cubicBezTo>
                    <a:cubicBezTo>
                      <a:pt x="846847" y="17998"/>
                      <a:pt x="831279" y="8563"/>
                      <a:pt x="823859" y="11994"/>
                    </a:cubicBezTo>
                    <a:cubicBezTo>
                      <a:pt x="816439" y="15425"/>
                      <a:pt x="806060" y="11994"/>
                      <a:pt x="797953" y="7748"/>
                    </a:cubicBezTo>
                    <a:cubicBezTo>
                      <a:pt x="789804" y="3459"/>
                      <a:pt x="757981" y="10321"/>
                      <a:pt x="756480" y="18856"/>
                    </a:cubicBezTo>
                    <a:cubicBezTo>
                      <a:pt x="755021" y="27434"/>
                      <a:pt x="715006" y="34254"/>
                      <a:pt x="707586" y="37685"/>
                    </a:cubicBezTo>
                    <a:cubicBezTo>
                      <a:pt x="700209" y="41116"/>
                      <a:pt x="670530" y="46262"/>
                      <a:pt x="660193" y="47978"/>
                    </a:cubicBezTo>
                    <a:cubicBezTo>
                      <a:pt x="649814" y="49694"/>
                      <a:pt x="639435" y="59944"/>
                      <a:pt x="626139" y="59944"/>
                    </a:cubicBezTo>
                    <a:cubicBezTo>
                      <a:pt x="612801" y="59944"/>
                      <a:pt x="587624" y="61660"/>
                      <a:pt x="575787" y="71953"/>
                    </a:cubicBezTo>
                    <a:cubicBezTo>
                      <a:pt x="563950" y="82247"/>
                      <a:pt x="544692" y="73669"/>
                      <a:pt x="535814" y="77100"/>
                    </a:cubicBezTo>
                    <a:cubicBezTo>
                      <a:pt x="526936" y="80531"/>
                      <a:pt x="512096" y="75384"/>
                      <a:pt x="507636" y="78815"/>
                    </a:cubicBezTo>
                    <a:cubicBezTo>
                      <a:pt x="503175" y="82247"/>
                      <a:pt x="504676" y="102791"/>
                      <a:pt x="509137" y="111369"/>
                    </a:cubicBezTo>
                    <a:cubicBezTo>
                      <a:pt x="513598" y="119946"/>
                      <a:pt x="537272" y="123377"/>
                      <a:pt x="538774" y="128481"/>
                    </a:cubicBezTo>
                    <a:cubicBezTo>
                      <a:pt x="540232" y="133628"/>
                      <a:pt x="515056" y="133628"/>
                      <a:pt x="503218" y="135344"/>
                    </a:cubicBezTo>
                    <a:cubicBezTo>
                      <a:pt x="491381" y="137059"/>
                      <a:pt x="494340" y="154172"/>
                      <a:pt x="497300" y="162750"/>
                    </a:cubicBezTo>
                    <a:cubicBezTo>
                      <a:pt x="500259" y="171328"/>
                      <a:pt x="485462" y="179906"/>
                      <a:pt x="476584" y="183294"/>
                    </a:cubicBezTo>
                    <a:cubicBezTo>
                      <a:pt x="467706" y="186725"/>
                      <a:pt x="476584" y="203838"/>
                      <a:pt x="485462" y="203838"/>
                    </a:cubicBezTo>
                    <a:cubicBezTo>
                      <a:pt x="494340" y="203838"/>
                      <a:pt x="501760" y="212416"/>
                      <a:pt x="509180" y="212416"/>
                    </a:cubicBezTo>
                    <a:cubicBezTo>
                      <a:pt x="516600" y="212416"/>
                      <a:pt x="518058" y="229529"/>
                      <a:pt x="518058" y="239865"/>
                    </a:cubicBezTo>
                    <a:cubicBezTo>
                      <a:pt x="518058" y="250115"/>
                      <a:pt x="509180" y="253546"/>
                      <a:pt x="497342" y="253546"/>
                    </a:cubicBezTo>
                    <a:cubicBezTo>
                      <a:pt x="485505" y="253546"/>
                      <a:pt x="479586" y="243296"/>
                      <a:pt x="472166" y="241580"/>
                    </a:cubicBezTo>
                    <a:cubicBezTo>
                      <a:pt x="464790" y="239865"/>
                      <a:pt x="466248" y="257020"/>
                      <a:pt x="460329" y="260409"/>
                    </a:cubicBezTo>
                    <a:cubicBezTo>
                      <a:pt x="454410" y="263840"/>
                      <a:pt x="452909" y="248443"/>
                      <a:pt x="444074" y="248443"/>
                    </a:cubicBezTo>
                    <a:cubicBezTo>
                      <a:pt x="435153" y="248443"/>
                      <a:pt x="424817" y="246727"/>
                      <a:pt x="421857" y="236434"/>
                    </a:cubicBezTo>
                    <a:cubicBezTo>
                      <a:pt x="418898" y="226183"/>
                      <a:pt x="398139" y="224425"/>
                      <a:pt x="389261" y="234761"/>
                    </a:cubicBezTo>
                    <a:cubicBezTo>
                      <a:pt x="380383" y="245011"/>
                      <a:pt x="377381" y="239908"/>
                      <a:pt x="370004" y="233045"/>
                    </a:cubicBezTo>
                    <a:cubicBezTo>
                      <a:pt x="362584" y="226183"/>
                      <a:pt x="340368" y="236477"/>
                      <a:pt x="337408" y="245054"/>
                    </a:cubicBezTo>
                    <a:cubicBezTo>
                      <a:pt x="334449" y="253589"/>
                      <a:pt x="318151" y="257063"/>
                      <a:pt x="306313" y="248486"/>
                    </a:cubicBezTo>
                    <a:cubicBezTo>
                      <a:pt x="294476" y="239908"/>
                      <a:pt x="287056" y="236477"/>
                      <a:pt x="287056" y="248486"/>
                    </a:cubicBezTo>
                    <a:cubicBezTo>
                      <a:pt x="287056" y="260452"/>
                      <a:pt x="278178" y="250201"/>
                      <a:pt x="278178" y="243339"/>
                    </a:cubicBezTo>
                    <a:cubicBezTo>
                      <a:pt x="278178" y="236477"/>
                      <a:pt x="258921" y="222795"/>
                      <a:pt x="250043" y="215933"/>
                    </a:cubicBezTo>
                    <a:cubicBezTo>
                      <a:pt x="241165" y="209070"/>
                      <a:pt x="213029" y="209070"/>
                      <a:pt x="211528" y="202208"/>
                    </a:cubicBezTo>
                    <a:cubicBezTo>
                      <a:pt x="210027" y="195346"/>
                      <a:pt x="192271" y="190199"/>
                      <a:pt x="187853" y="202208"/>
                    </a:cubicBezTo>
                    <a:cubicBezTo>
                      <a:pt x="183392" y="214217"/>
                      <a:pt x="176016" y="205639"/>
                      <a:pt x="170054" y="202208"/>
                    </a:cubicBezTo>
                    <a:cubicBezTo>
                      <a:pt x="164135" y="198777"/>
                      <a:pt x="150840" y="207355"/>
                      <a:pt x="144878" y="210786"/>
                    </a:cubicBezTo>
                    <a:cubicBezTo>
                      <a:pt x="138959" y="214217"/>
                      <a:pt x="119702" y="229614"/>
                      <a:pt x="109323" y="229614"/>
                    </a:cubicBezTo>
                    <a:cubicBezTo>
                      <a:pt x="98944" y="229614"/>
                      <a:pt x="104862" y="245054"/>
                      <a:pt x="91524" y="248486"/>
                    </a:cubicBezTo>
                    <a:cubicBezTo>
                      <a:pt x="78185" y="251917"/>
                      <a:pt x="81144" y="262167"/>
                      <a:pt x="82645" y="269030"/>
                    </a:cubicBezTo>
                    <a:cubicBezTo>
                      <a:pt x="84104" y="275892"/>
                      <a:pt x="91524" y="287858"/>
                      <a:pt x="79686" y="293005"/>
                    </a:cubicBezTo>
                    <a:cubicBezTo>
                      <a:pt x="67849" y="298151"/>
                      <a:pt x="63388" y="275892"/>
                      <a:pt x="53009" y="267314"/>
                    </a:cubicBezTo>
                    <a:cubicBezTo>
                      <a:pt x="42630" y="258779"/>
                      <a:pt x="33752" y="269030"/>
                      <a:pt x="33752" y="281039"/>
                    </a:cubicBezTo>
                    <a:cubicBezTo>
                      <a:pt x="33752" y="293005"/>
                      <a:pt x="21915" y="293005"/>
                      <a:pt x="15996" y="305014"/>
                    </a:cubicBezTo>
                    <a:cubicBezTo>
                      <a:pt x="10077" y="316980"/>
                      <a:pt x="26375" y="318738"/>
                      <a:pt x="26375" y="323885"/>
                    </a:cubicBezTo>
                    <a:cubicBezTo>
                      <a:pt x="26375" y="329032"/>
                      <a:pt x="17497" y="334136"/>
                      <a:pt x="14537" y="335851"/>
                    </a:cubicBezTo>
                    <a:cubicBezTo>
                      <a:pt x="11578" y="337567"/>
                      <a:pt x="4158" y="354722"/>
                      <a:pt x="7117" y="359826"/>
                    </a:cubicBezTo>
                    <a:cubicBezTo>
                      <a:pt x="10077" y="364973"/>
                      <a:pt x="27833" y="363257"/>
                      <a:pt x="26375" y="375223"/>
                    </a:cubicBezTo>
                    <a:cubicBezTo>
                      <a:pt x="24917" y="387190"/>
                      <a:pt x="23416" y="399199"/>
                      <a:pt x="32293" y="395768"/>
                    </a:cubicBezTo>
                    <a:cubicBezTo>
                      <a:pt x="41172" y="392379"/>
                      <a:pt x="50050" y="394052"/>
                      <a:pt x="56011" y="394052"/>
                    </a:cubicBezTo>
                    <a:cubicBezTo>
                      <a:pt x="61930" y="394052"/>
                      <a:pt x="66391" y="407776"/>
                      <a:pt x="76770" y="421501"/>
                    </a:cubicBezTo>
                    <a:cubicBezTo>
                      <a:pt x="87149" y="435183"/>
                      <a:pt x="91567" y="442045"/>
                      <a:pt x="81230" y="445476"/>
                    </a:cubicBezTo>
                    <a:cubicBezTo>
                      <a:pt x="70851" y="448864"/>
                      <a:pt x="75312" y="455770"/>
                      <a:pt x="88650" y="462589"/>
                    </a:cubicBezTo>
                    <a:cubicBezTo>
                      <a:pt x="92167" y="464390"/>
                      <a:pt x="95856" y="467135"/>
                      <a:pt x="99415" y="470052"/>
                    </a:cubicBezTo>
                    <a:cubicBezTo>
                      <a:pt x="101560" y="468379"/>
                      <a:pt x="103618" y="466706"/>
                      <a:pt x="105420" y="464862"/>
                    </a:cubicBezTo>
                    <a:cubicBezTo>
                      <a:pt x="122190" y="447749"/>
                      <a:pt x="152813" y="431752"/>
                      <a:pt x="175544" y="438614"/>
                    </a:cubicBezTo>
                    <a:cubicBezTo>
                      <a:pt x="198275" y="445476"/>
                      <a:pt x="217018" y="434068"/>
                      <a:pt x="226882" y="450022"/>
                    </a:cubicBezTo>
                    <a:cubicBezTo>
                      <a:pt x="236747" y="465977"/>
                      <a:pt x="226839" y="495700"/>
                      <a:pt x="230785" y="507108"/>
                    </a:cubicBezTo>
                    <a:cubicBezTo>
                      <a:pt x="234731" y="518517"/>
                      <a:pt x="213029" y="519675"/>
                      <a:pt x="198232" y="517359"/>
                    </a:cubicBezTo>
                    <a:cubicBezTo>
                      <a:pt x="183392" y="515086"/>
                      <a:pt x="152770" y="524221"/>
                      <a:pt x="156758" y="534471"/>
                    </a:cubicBezTo>
                    <a:cubicBezTo>
                      <a:pt x="160704" y="544765"/>
                      <a:pt x="171555" y="568783"/>
                      <a:pt x="151826" y="556173"/>
                    </a:cubicBezTo>
                    <a:cubicBezTo>
                      <a:pt x="132097" y="543607"/>
                      <a:pt x="124163" y="568740"/>
                      <a:pt x="135057" y="568740"/>
                    </a:cubicBezTo>
                    <a:cubicBezTo>
                      <a:pt x="145907" y="568740"/>
                      <a:pt x="160747" y="583623"/>
                      <a:pt x="160747" y="593873"/>
                    </a:cubicBezTo>
                    <a:cubicBezTo>
                      <a:pt x="160747" y="604167"/>
                      <a:pt x="161734" y="626984"/>
                      <a:pt x="171598" y="623553"/>
                    </a:cubicBezTo>
                    <a:cubicBezTo>
                      <a:pt x="181463" y="620121"/>
                      <a:pt x="181463" y="640665"/>
                      <a:pt x="195316" y="639550"/>
                    </a:cubicBezTo>
                    <a:cubicBezTo>
                      <a:pt x="209169" y="638435"/>
                      <a:pt x="221950" y="644139"/>
                      <a:pt x="211099" y="658979"/>
                    </a:cubicBezTo>
                    <a:cubicBezTo>
                      <a:pt x="200248" y="673819"/>
                      <a:pt x="218004" y="714950"/>
                      <a:pt x="221950" y="705814"/>
                    </a:cubicBezTo>
                    <a:cubicBezTo>
                      <a:pt x="224438" y="700067"/>
                      <a:pt x="222250" y="687586"/>
                      <a:pt x="226153" y="679652"/>
                    </a:cubicBezTo>
                    <a:cubicBezTo>
                      <a:pt x="218433" y="658679"/>
                      <a:pt x="251158" y="658593"/>
                      <a:pt x="260679" y="658593"/>
                    </a:cubicBezTo>
                    <a:cubicBezTo>
                      <a:pt x="271187" y="658593"/>
                      <a:pt x="289672" y="676907"/>
                      <a:pt x="301553" y="695221"/>
                    </a:cubicBezTo>
                    <a:cubicBezTo>
                      <a:pt x="313390" y="713534"/>
                      <a:pt x="325271" y="701311"/>
                      <a:pt x="325271" y="701311"/>
                    </a:cubicBezTo>
                    <a:lnTo>
                      <a:pt x="329216" y="530526"/>
                    </a:lnTo>
                    <a:lnTo>
                      <a:pt x="413708" y="504492"/>
                    </a:lnTo>
                    <a:cubicBezTo>
                      <a:pt x="414523" y="502047"/>
                      <a:pt x="415424" y="499817"/>
                      <a:pt x="416496" y="497973"/>
                    </a:cubicBezTo>
                    <a:cubicBezTo>
                      <a:pt x="427390" y="479702"/>
                      <a:pt x="442015" y="494799"/>
                      <a:pt x="447119" y="499131"/>
                    </a:cubicBezTo>
                    <a:cubicBezTo>
                      <a:pt x="451408" y="502733"/>
                      <a:pt x="449092" y="479745"/>
                      <a:pt x="460929" y="480860"/>
                    </a:cubicBezTo>
                    <a:cubicBezTo>
                      <a:pt x="472767" y="482018"/>
                      <a:pt x="459943" y="503677"/>
                      <a:pt x="468864" y="503677"/>
                    </a:cubicBezTo>
                    <a:cubicBezTo>
                      <a:pt x="475769" y="503677"/>
                      <a:pt x="491595" y="532070"/>
                      <a:pt x="486620" y="554372"/>
                    </a:cubicBezTo>
                    <a:cubicBezTo>
                      <a:pt x="499787" y="566896"/>
                      <a:pt x="523548" y="596318"/>
                      <a:pt x="525692" y="603738"/>
                    </a:cubicBezTo>
                    <a:cubicBezTo>
                      <a:pt x="528351" y="612873"/>
                      <a:pt x="562620" y="597648"/>
                      <a:pt x="569225" y="600692"/>
                    </a:cubicBezTo>
                    <a:cubicBezTo>
                      <a:pt x="575830" y="603738"/>
                      <a:pt x="627254" y="603738"/>
                      <a:pt x="636518" y="603738"/>
                    </a:cubicBezTo>
                    <a:cubicBezTo>
                      <a:pt x="645739" y="603738"/>
                      <a:pt x="652302" y="623553"/>
                      <a:pt x="662852" y="626598"/>
                    </a:cubicBezTo>
                    <a:cubicBezTo>
                      <a:pt x="673403" y="629643"/>
                      <a:pt x="669457" y="649501"/>
                      <a:pt x="670787" y="663182"/>
                    </a:cubicBezTo>
                    <a:cubicBezTo>
                      <a:pt x="672116" y="676907"/>
                      <a:pt x="687942" y="690674"/>
                      <a:pt x="689229" y="702898"/>
                    </a:cubicBezTo>
                    <a:cubicBezTo>
                      <a:pt x="690558" y="715036"/>
                      <a:pt x="707672" y="708988"/>
                      <a:pt x="718265" y="712033"/>
                    </a:cubicBezTo>
                    <a:cubicBezTo>
                      <a:pt x="728816" y="715078"/>
                      <a:pt x="744599" y="719625"/>
                      <a:pt x="745929" y="731848"/>
                    </a:cubicBezTo>
                    <a:cubicBezTo>
                      <a:pt x="747259" y="744071"/>
                      <a:pt x="760468" y="734893"/>
                      <a:pt x="761755" y="725715"/>
                    </a:cubicBezTo>
                    <a:cubicBezTo>
                      <a:pt x="763084" y="716579"/>
                      <a:pt x="776295" y="704399"/>
                      <a:pt x="796024" y="695264"/>
                    </a:cubicBezTo>
                    <a:cubicBezTo>
                      <a:pt x="804944" y="691146"/>
                      <a:pt x="810820" y="691146"/>
                      <a:pt x="815281" y="693119"/>
                    </a:cubicBezTo>
                    <a:cubicBezTo>
                      <a:pt x="818969" y="682182"/>
                      <a:pt x="822744" y="672918"/>
                      <a:pt x="825360" y="671589"/>
                    </a:cubicBezTo>
                    <a:cubicBezTo>
                      <a:pt x="832265" y="668158"/>
                      <a:pt x="845089" y="656749"/>
                      <a:pt x="846118" y="645340"/>
                    </a:cubicBezTo>
                    <a:cubicBezTo>
                      <a:pt x="847104" y="633932"/>
                      <a:pt x="873782" y="633932"/>
                      <a:pt x="891538" y="644182"/>
                    </a:cubicBezTo>
                    <a:cubicBezTo>
                      <a:pt x="909294" y="654476"/>
                      <a:pt x="920188" y="654519"/>
                      <a:pt x="921174" y="638521"/>
                    </a:cubicBezTo>
                    <a:cubicBezTo>
                      <a:pt x="922161" y="622523"/>
                      <a:pt x="947809" y="617934"/>
                      <a:pt x="955743" y="622523"/>
                    </a:cubicBezTo>
                    <a:cubicBezTo>
                      <a:pt x="963635" y="627070"/>
                      <a:pt x="988339" y="643110"/>
                      <a:pt x="1000177" y="637363"/>
                    </a:cubicBezTo>
                    <a:cubicBezTo>
                      <a:pt x="1012057" y="631659"/>
                      <a:pt x="1071287" y="638521"/>
                      <a:pt x="1086127" y="643110"/>
                    </a:cubicBezTo>
                    <a:cubicBezTo>
                      <a:pt x="1100924" y="647613"/>
                      <a:pt x="1104870" y="636248"/>
                      <a:pt x="1117693" y="653361"/>
                    </a:cubicBezTo>
                    <a:cubicBezTo>
                      <a:pt x="1128459" y="667728"/>
                      <a:pt x="1133734" y="654819"/>
                      <a:pt x="1145657" y="665884"/>
                    </a:cubicBezTo>
                    <a:cubicBezTo>
                      <a:pt x="1145614" y="661509"/>
                      <a:pt x="1144842" y="656020"/>
                      <a:pt x="1144842" y="650187"/>
                    </a:cubicBezTo>
                    <a:cubicBezTo>
                      <a:pt x="1144842" y="639078"/>
                      <a:pt x="1159639" y="629643"/>
                      <a:pt x="1162598" y="621065"/>
                    </a:cubicBezTo>
                    <a:cubicBezTo>
                      <a:pt x="1165558" y="612530"/>
                      <a:pt x="1149260" y="586796"/>
                      <a:pt x="1149260" y="578219"/>
                    </a:cubicBezTo>
                    <a:cubicBezTo>
                      <a:pt x="1149260" y="569684"/>
                      <a:pt x="1149260" y="549097"/>
                      <a:pt x="1141840" y="544808"/>
                    </a:cubicBezTo>
                    <a:cubicBezTo>
                      <a:pt x="1134420" y="540519"/>
                      <a:pt x="1155907" y="529368"/>
                      <a:pt x="1161012" y="529668"/>
                    </a:cubicBezTo>
                    <a:cubicBezTo>
                      <a:pt x="1171991" y="530311"/>
                      <a:pt x="1187646" y="517058"/>
                      <a:pt x="1192449" y="522548"/>
                    </a:cubicBezTo>
                    <a:cubicBezTo>
                      <a:pt x="1197253" y="528081"/>
                      <a:pt x="1206818" y="529668"/>
                      <a:pt x="1216382" y="529668"/>
                    </a:cubicBezTo>
                    <a:cubicBezTo>
                      <a:pt x="1225946" y="529668"/>
                      <a:pt x="1221829" y="517058"/>
                      <a:pt x="1216382" y="511483"/>
                    </a:cubicBezTo>
                    <a:cubicBezTo>
                      <a:pt x="1210892" y="505950"/>
                      <a:pt x="1233452" y="454569"/>
                      <a:pt x="1236883" y="437198"/>
                    </a:cubicBezTo>
                    <a:cubicBezTo>
                      <a:pt x="1240314" y="419785"/>
                      <a:pt x="1248506" y="435612"/>
                      <a:pt x="1259442" y="437198"/>
                    </a:cubicBezTo>
                    <a:cubicBezTo>
                      <a:pt x="1270379" y="438743"/>
                      <a:pt x="1283375" y="436384"/>
                      <a:pt x="1290194" y="440372"/>
                    </a:cubicBezTo>
                    <a:cubicBezTo>
                      <a:pt x="1297013" y="444275"/>
                      <a:pt x="1316871" y="435655"/>
                      <a:pt x="1321632" y="426948"/>
                    </a:cubicBezTo>
                    <a:cubicBezTo>
                      <a:pt x="1326435" y="418241"/>
                      <a:pt x="1316142" y="415883"/>
                      <a:pt x="1316828" y="396111"/>
                    </a:cubicBezTo>
                    <a:cubicBezTo>
                      <a:pt x="1317515" y="376339"/>
                      <a:pt x="1327765" y="366860"/>
                      <a:pt x="1338702" y="366860"/>
                    </a:cubicBezTo>
                    <a:cubicBezTo>
                      <a:pt x="1349639" y="366860"/>
                      <a:pt x="1353070" y="355023"/>
                      <a:pt x="1353070" y="345544"/>
                    </a:cubicBezTo>
                    <a:cubicBezTo>
                      <a:pt x="1353070" y="336966"/>
                      <a:pt x="1361948" y="331562"/>
                      <a:pt x="1364650" y="320668"/>
                    </a:cubicBezTo>
                    <a:cubicBezTo>
                      <a:pt x="1360833" y="316294"/>
                      <a:pt x="1357874" y="310546"/>
                      <a:pt x="1357316" y="306129"/>
                    </a:cubicBezTo>
                    <a:close/>
                    <a:moveTo>
                      <a:pt x="512182" y="473526"/>
                    </a:moveTo>
                    <a:cubicBezTo>
                      <a:pt x="508237" y="479830"/>
                      <a:pt x="469164" y="468122"/>
                      <a:pt x="465905" y="458900"/>
                    </a:cubicBezTo>
                    <a:cubicBezTo>
                      <a:pt x="462388" y="448993"/>
                      <a:pt x="520674" y="460059"/>
                      <a:pt x="512182" y="473526"/>
                    </a:cubicBezTo>
                    <a:close/>
                    <a:moveTo>
                      <a:pt x="1072917" y="469408"/>
                    </a:moveTo>
                    <a:cubicBezTo>
                      <a:pt x="1045296" y="469408"/>
                      <a:pt x="984050" y="453411"/>
                      <a:pt x="959346" y="484291"/>
                    </a:cubicBezTo>
                    <a:cubicBezTo>
                      <a:pt x="934642" y="515129"/>
                      <a:pt x="952441" y="531126"/>
                      <a:pt x="941590" y="533399"/>
                    </a:cubicBezTo>
                    <a:cubicBezTo>
                      <a:pt x="929924" y="535844"/>
                      <a:pt x="923791" y="486564"/>
                      <a:pt x="937601" y="470566"/>
                    </a:cubicBezTo>
                    <a:cubicBezTo>
                      <a:pt x="951454" y="454612"/>
                      <a:pt x="995888" y="447749"/>
                      <a:pt x="1023508" y="455727"/>
                    </a:cubicBezTo>
                    <a:cubicBezTo>
                      <a:pt x="1051172" y="463747"/>
                      <a:pt x="1100538" y="448907"/>
                      <a:pt x="1107443" y="451180"/>
                    </a:cubicBezTo>
                    <a:cubicBezTo>
                      <a:pt x="1114391" y="453454"/>
                      <a:pt x="1100581" y="469408"/>
                      <a:pt x="1072917" y="46940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19" name="Freeform: Shape 297">
                <a:extLst>
                  <a:ext uri="{FF2B5EF4-FFF2-40B4-BE49-F238E27FC236}">
                    <a16:creationId xmlns:a16="http://schemas.microsoft.com/office/drawing/2014/main" id="{8D950F6D-7581-F918-14F8-69A0DB57F28F}"/>
                  </a:ext>
                </a:extLst>
              </p:cNvPr>
              <p:cNvSpPr/>
              <p:nvPr/>
            </p:nvSpPr>
            <p:spPr>
              <a:xfrm>
                <a:off x="9386828" y="1301845"/>
                <a:ext cx="144335" cy="98410"/>
              </a:xfrm>
              <a:custGeom>
                <a:avLst/>
                <a:gdLst>
                  <a:gd name="connsiteX0" fmla="*/ 183266 w 188712"/>
                  <a:gd name="connsiteY0" fmla="*/ 52335 h 128667"/>
                  <a:gd name="connsiteX1" fmla="*/ 178762 w 188712"/>
                  <a:gd name="connsiteY1" fmla="*/ 30762 h 128667"/>
                  <a:gd name="connsiteX2" fmla="*/ 133857 w 188712"/>
                  <a:gd name="connsiteY2" fmla="*/ 27245 h 128667"/>
                  <a:gd name="connsiteX3" fmla="*/ 109153 w 188712"/>
                  <a:gd name="connsiteY3" fmla="*/ 10089 h 128667"/>
                  <a:gd name="connsiteX4" fmla="*/ 16341 w 188712"/>
                  <a:gd name="connsiteY4" fmla="*/ 32949 h 128667"/>
                  <a:gd name="connsiteX5" fmla="*/ 6433 w 188712"/>
                  <a:gd name="connsiteY5" fmla="*/ 47189 h 128667"/>
                  <a:gd name="connsiteX6" fmla="*/ 14668 w 188712"/>
                  <a:gd name="connsiteY6" fmla="*/ 53450 h 128667"/>
                  <a:gd name="connsiteX7" fmla="*/ 25347 w 188712"/>
                  <a:gd name="connsiteY7" fmla="*/ 76739 h 128667"/>
                  <a:gd name="connsiteX8" fmla="*/ 27706 w 188712"/>
                  <a:gd name="connsiteY8" fmla="*/ 77554 h 128667"/>
                  <a:gd name="connsiteX9" fmla="*/ 52282 w 188712"/>
                  <a:gd name="connsiteY9" fmla="*/ 101315 h 128667"/>
                  <a:gd name="connsiteX10" fmla="*/ 83591 w 188712"/>
                  <a:gd name="connsiteY10" fmla="*/ 107534 h 128667"/>
                  <a:gd name="connsiteX11" fmla="*/ 101776 w 188712"/>
                  <a:gd name="connsiteY11" fmla="*/ 106247 h 128667"/>
                  <a:gd name="connsiteX12" fmla="*/ 131799 w 188712"/>
                  <a:gd name="connsiteY12" fmla="*/ 122674 h 128667"/>
                  <a:gd name="connsiteX13" fmla="*/ 145695 w 188712"/>
                  <a:gd name="connsiteY13" fmla="*/ 124346 h 128667"/>
                  <a:gd name="connsiteX14" fmla="*/ 168383 w 188712"/>
                  <a:gd name="connsiteY14" fmla="*/ 95782 h 128667"/>
                  <a:gd name="connsiteX15" fmla="*/ 183180 w 188712"/>
                  <a:gd name="connsiteY15" fmla="*/ 52421 h 128667"/>
                  <a:gd name="connsiteX16" fmla="*/ 183266 w 188712"/>
                  <a:gd name="connsiteY16" fmla="*/ 52335 h 12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8712" h="128667">
                    <a:moveTo>
                      <a:pt x="183266" y="52335"/>
                    </a:moveTo>
                    <a:cubicBezTo>
                      <a:pt x="179663" y="45730"/>
                      <a:pt x="177991" y="38439"/>
                      <a:pt x="178762" y="30762"/>
                    </a:cubicBezTo>
                    <a:cubicBezTo>
                      <a:pt x="164652" y="17895"/>
                      <a:pt x="133857" y="13134"/>
                      <a:pt x="133857" y="27245"/>
                    </a:cubicBezTo>
                    <a:cubicBezTo>
                      <a:pt x="133857" y="47789"/>
                      <a:pt x="115072" y="22699"/>
                      <a:pt x="109153" y="10089"/>
                    </a:cubicBezTo>
                    <a:cubicBezTo>
                      <a:pt x="103235" y="-2477"/>
                      <a:pt x="16341" y="20383"/>
                      <a:pt x="16341" y="32949"/>
                    </a:cubicBezTo>
                    <a:cubicBezTo>
                      <a:pt x="16341" y="37753"/>
                      <a:pt x="11666" y="42557"/>
                      <a:pt x="6433" y="47189"/>
                    </a:cubicBezTo>
                    <a:cubicBezTo>
                      <a:pt x="9521" y="48947"/>
                      <a:pt x="12352" y="51092"/>
                      <a:pt x="14668" y="53450"/>
                    </a:cubicBezTo>
                    <a:cubicBezTo>
                      <a:pt x="19986" y="58940"/>
                      <a:pt x="24876" y="68376"/>
                      <a:pt x="25347" y="76739"/>
                    </a:cubicBezTo>
                    <a:cubicBezTo>
                      <a:pt x="26120" y="77040"/>
                      <a:pt x="26935" y="77254"/>
                      <a:pt x="27706" y="77554"/>
                    </a:cubicBezTo>
                    <a:cubicBezTo>
                      <a:pt x="38772" y="81757"/>
                      <a:pt x="48293" y="90121"/>
                      <a:pt x="52282" y="101315"/>
                    </a:cubicBezTo>
                    <a:cubicBezTo>
                      <a:pt x="59487" y="100157"/>
                      <a:pt x="70767" y="103245"/>
                      <a:pt x="83591" y="107534"/>
                    </a:cubicBezTo>
                    <a:cubicBezTo>
                      <a:pt x="89638" y="106933"/>
                      <a:pt x="95686" y="106376"/>
                      <a:pt x="101776" y="106247"/>
                    </a:cubicBezTo>
                    <a:cubicBezTo>
                      <a:pt x="116272" y="105947"/>
                      <a:pt x="126266" y="112895"/>
                      <a:pt x="131799" y="122674"/>
                    </a:cubicBezTo>
                    <a:cubicBezTo>
                      <a:pt x="136731" y="123660"/>
                      <a:pt x="141449" y="124346"/>
                      <a:pt x="145695" y="124346"/>
                    </a:cubicBezTo>
                    <a:cubicBezTo>
                      <a:pt x="174345" y="124346"/>
                      <a:pt x="177262" y="96940"/>
                      <a:pt x="168383" y="95782"/>
                    </a:cubicBezTo>
                    <a:cubicBezTo>
                      <a:pt x="159505" y="94667"/>
                      <a:pt x="167440" y="78669"/>
                      <a:pt x="183180" y="52421"/>
                    </a:cubicBezTo>
                    <a:cubicBezTo>
                      <a:pt x="183266" y="52378"/>
                      <a:pt x="183266" y="52335"/>
                      <a:pt x="183266" y="5233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20" name="Freeform: Shape 298">
                <a:extLst>
                  <a:ext uri="{FF2B5EF4-FFF2-40B4-BE49-F238E27FC236}">
                    <a16:creationId xmlns:a16="http://schemas.microsoft.com/office/drawing/2014/main" id="{20491E41-F3CA-1599-088B-3296FFFE94C5}"/>
                  </a:ext>
                </a:extLst>
              </p:cNvPr>
              <p:cNvSpPr/>
              <p:nvPr/>
            </p:nvSpPr>
            <p:spPr>
              <a:xfrm>
                <a:off x="11554126" y="1835132"/>
                <a:ext cx="108251" cy="45925"/>
              </a:xfrm>
              <a:custGeom>
                <a:avLst/>
                <a:gdLst>
                  <a:gd name="connsiteX0" fmla="*/ 59302 w 141534"/>
                  <a:gd name="connsiteY0" fmla="*/ 40667 h 60045"/>
                  <a:gd name="connsiteX1" fmla="*/ 134958 w 141534"/>
                  <a:gd name="connsiteY1" fmla="*/ 36249 h 60045"/>
                  <a:gd name="connsiteX2" fmla="*/ 91983 w 141534"/>
                  <a:gd name="connsiteY2" fmla="*/ 7256 h 60045"/>
                  <a:gd name="connsiteX3" fmla="*/ 10965 w 141534"/>
                  <a:gd name="connsiteY3" fmla="*/ 50660 h 60045"/>
                  <a:gd name="connsiteX4" fmla="*/ 45791 w 141534"/>
                  <a:gd name="connsiteY4" fmla="*/ 46243 h 60045"/>
                  <a:gd name="connsiteX5" fmla="*/ 59302 w 141534"/>
                  <a:gd name="connsiteY5" fmla="*/ 40667 h 6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534" h="60045">
                    <a:moveTo>
                      <a:pt x="59302" y="40667"/>
                    </a:moveTo>
                    <a:cubicBezTo>
                      <a:pt x="84906" y="35649"/>
                      <a:pt x="109868" y="35091"/>
                      <a:pt x="134958" y="36249"/>
                    </a:cubicBezTo>
                    <a:cubicBezTo>
                      <a:pt x="139633" y="28444"/>
                      <a:pt x="127538" y="12746"/>
                      <a:pt x="91983" y="7256"/>
                    </a:cubicBezTo>
                    <a:cubicBezTo>
                      <a:pt x="47550" y="394"/>
                      <a:pt x="-10265" y="38351"/>
                      <a:pt x="10965" y="50660"/>
                    </a:cubicBezTo>
                    <a:cubicBezTo>
                      <a:pt x="25205" y="58895"/>
                      <a:pt x="35326" y="48216"/>
                      <a:pt x="45791" y="46243"/>
                    </a:cubicBezTo>
                    <a:cubicBezTo>
                      <a:pt x="49480" y="43669"/>
                      <a:pt x="53897" y="41696"/>
                      <a:pt x="59302" y="4066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21" name="Freeform: Shape 299">
                <a:extLst>
                  <a:ext uri="{FF2B5EF4-FFF2-40B4-BE49-F238E27FC236}">
                    <a16:creationId xmlns:a16="http://schemas.microsoft.com/office/drawing/2014/main" id="{CB862AEC-95BE-7D9B-0336-DC2BE8C47EEB}"/>
                  </a:ext>
                </a:extLst>
              </p:cNvPr>
              <p:cNvSpPr/>
              <p:nvPr/>
            </p:nvSpPr>
            <p:spPr>
              <a:xfrm>
                <a:off x="9014754" y="1742327"/>
                <a:ext cx="29523" cy="26242"/>
              </a:xfrm>
              <a:custGeom>
                <a:avLst/>
                <a:gdLst>
                  <a:gd name="connsiteX0" fmla="*/ 9073 w 38600"/>
                  <a:gd name="connsiteY0" fmla="*/ 25790 h 34311"/>
                  <a:gd name="connsiteX1" fmla="*/ 34720 w 38600"/>
                  <a:gd name="connsiteY1" fmla="*/ 13224 h 34311"/>
                  <a:gd name="connsiteX2" fmla="*/ 9073 w 38600"/>
                  <a:gd name="connsiteY2" fmla="*/ 25790 h 34311"/>
                </a:gdLst>
                <a:ahLst/>
                <a:cxnLst>
                  <a:cxn ang="0">
                    <a:pos x="connsiteX0" y="connsiteY0"/>
                  </a:cxn>
                  <a:cxn ang="0">
                    <a:pos x="connsiteX1" y="connsiteY1"/>
                  </a:cxn>
                  <a:cxn ang="0">
                    <a:pos x="connsiteX2" y="connsiteY2"/>
                  </a:cxn>
                </a:cxnLst>
                <a:rect l="l" t="t" r="r" b="b"/>
                <a:pathLst>
                  <a:path w="38600" h="34311">
                    <a:moveTo>
                      <a:pt x="9073" y="25790"/>
                    </a:moveTo>
                    <a:cubicBezTo>
                      <a:pt x="24856" y="34926"/>
                      <a:pt x="36737" y="31495"/>
                      <a:pt x="34720" y="13224"/>
                    </a:cubicBezTo>
                    <a:cubicBezTo>
                      <a:pt x="32791" y="-5047"/>
                      <a:pt x="-3494" y="18542"/>
                      <a:pt x="9073" y="2579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22" name="Freeform: Shape 300">
                <a:extLst>
                  <a:ext uri="{FF2B5EF4-FFF2-40B4-BE49-F238E27FC236}">
                    <a16:creationId xmlns:a16="http://schemas.microsoft.com/office/drawing/2014/main" id="{CE927C81-88B4-BD78-1E40-F324F8186911}"/>
                  </a:ext>
                </a:extLst>
              </p:cNvPr>
              <p:cNvSpPr/>
              <p:nvPr/>
            </p:nvSpPr>
            <p:spPr>
              <a:xfrm>
                <a:off x="9298581" y="1228220"/>
                <a:ext cx="45925" cy="26242"/>
              </a:xfrm>
              <a:custGeom>
                <a:avLst/>
                <a:gdLst>
                  <a:gd name="connsiteX0" fmla="*/ 53748 w 60045"/>
                  <a:gd name="connsiteY0" fmla="*/ 16200 h 34311"/>
                  <a:gd name="connsiteX1" fmla="*/ 9315 w 60045"/>
                  <a:gd name="connsiteY1" fmla="*/ 23019 h 34311"/>
                  <a:gd name="connsiteX2" fmla="*/ 53748 w 60045"/>
                  <a:gd name="connsiteY2" fmla="*/ 16200 h 34311"/>
                </a:gdLst>
                <a:ahLst/>
                <a:cxnLst>
                  <a:cxn ang="0">
                    <a:pos x="connsiteX0" y="connsiteY0"/>
                  </a:cxn>
                  <a:cxn ang="0">
                    <a:pos x="connsiteX1" y="connsiteY1"/>
                  </a:cxn>
                  <a:cxn ang="0">
                    <a:pos x="connsiteX2" y="connsiteY2"/>
                  </a:cxn>
                </a:cxnLst>
                <a:rect l="l" t="t" r="r" b="b"/>
                <a:pathLst>
                  <a:path w="60045" h="34311">
                    <a:moveTo>
                      <a:pt x="53748" y="16200"/>
                    </a:moveTo>
                    <a:cubicBezTo>
                      <a:pt x="57694" y="-956"/>
                      <a:pt x="-7884" y="6507"/>
                      <a:pt x="9315" y="23019"/>
                    </a:cubicBezTo>
                    <a:cubicBezTo>
                      <a:pt x="15234" y="28724"/>
                      <a:pt x="49759" y="33313"/>
                      <a:pt x="53748" y="1620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23" name="Freeform: Shape 301">
                <a:extLst>
                  <a:ext uri="{FF2B5EF4-FFF2-40B4-BE49-F238E27FC236}">
                    <a16:creationId xmlns:a16="http://schemas.microsoft.com/office/drawing/2014/main" id="{5A9DCFAC-C22B-3E9A-E1B4-2B7148EF936F}"/>
                  </a:ext>
                </a:extLst>
              </p:cNvPr>
              <p:cNvSpPr/>
              <p:nvPr/>
            </p:nvSpPr>
            <p:spPr>
              <a:xfrm>
                <a:off x="9326740" y="1248253"/>
                <a:ext cx="141055" cy="98410"/>
              </a:xfrm>
              <a:custGeom>
                <a:avLst/>
                <a:gdLst>
                  <a:gd name="connsiteX0" fmla="*/ 177851 w 184424"/>
                  <a:gd name="connsiteY0" fmla="*/ 51338 h 128667"/>
                  <a:gd name="connsiteX1" fmla="*/ 151259 w 184424"/>
                  <a:gd name="connsiteY1" fmla="*/ 63733 h 128667"/>
                  <a:gd name="connsiteX2" fmla="*/ 114846 w 184424"/>
                  <a:gd name="connsiteY2" fmla="*/ 26205 h 128667"/>
                  <a:gd name="connsiteX3" fmla="*/ 114846 w 184424"/>
                  <a:gd name="connsiteY3" fmla="*/ 14239 h 128667"/>
                  <a:gd name="connsiteX4" fmla="*/ 111716 w 184424"/>
                  <a:gd name="connsiteY4" fmla="*/ 11409 h 128667"/>
                  <a:gd name="connsiteX5" fmla="*/ 86925 w 184424"/>
                  <a:gd name="connsiteY5" fmla="*/ 13596 h 128667"/>
                  <a:gd name="connsiteX6" fmla="*/ 55531 w 184424"/>
                  <a:gd name="connsiteY6" fmla="*/ 6433 h 128667"/>
                  <a:gd name="connsiteX7" fmla="*/ 56388 w 184424"/>
                  <a:gd name="connsiteY7" fmla="*/ 18442 h 128667"/>
                  <a:gd name="connsiteX8" fmla="*/ 41592 w 184424"/>
                  <a:gd name="connsiteY8" fmla="*/ 44734 h 128667"/>
                  <a:gd name="connsiteX9" fmla="*/ 42578 w 184424"/>
                  <a:gd name="connsiteY9" fmla="*/ 70982 h 128667"/>
                  <a:gd name="connsiteX10" fmla="*/ 34687 w 184424"/>
                  <a:gd name="connsiteY10" fmla="*/ 85864 h 128667"/>
                  <a:gd name="connsiteX11" fmla="*/ 11012 w 184424"/>
                  <a:gd name="connsiteY11" fmla="*/ 99589 h 128667"/>
                  <a:gd name="connsiteX12" fmla="*/ 40648 w 184424"/>
                  <a:gd name="connsiteY12" fmla="*/ 122406 h 128667"/>
                  <a:gd name="connsiteX13" fmla="*/ 42578 w 184424"/>
                  <a:gd name="connsiteY13" fmla="*/ 122792 h 128667"/>
                  <a:gd name="connsiteX14" fmla="*/ 67539 w 184424"/>
                  <a:gd name="connsiteY14" fmla="*/ 112499 h 128667"/>
                  <a:gd name="connsiteX15" fmla="*/ 72472 w 184424"/>
                  <a:gd name="connsiteY15" fmla="*/ 112799 h 128667"/>
                  <a:gd name="connsiteX16" fmla="*/ 80192 w 184424"/>
                  <a:gd name="connsiteY16" fmla="*/ 95000 h 128667"/>
                  <a:gd name="connsiteX17" fmla="*/ 172061 w 184424"/>
                  <a:gd name="connsiteY17" fmla="*/ 63004 h 128667"/>
                  <a:gd name="connsiteX18" fmla="*/ 177851 w 184424"/>
                  <a:gd name="connsiteY18" fmla="*/ 51338 h 12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4424" h="128667">
                    <a:moveTo>
                      <a:pt x="177851" y="51338"/>
                    </a:moveTo>
                    <a:cubicBezTo>
                      <a:pt x="171118" y="58630"/>
                      <a:pt x="161638" y="63262"/>
                      <a:pt x="151259" y="63733"/>
                    </a:cubicBezTo>
                    <a:cubicBezTo>
                      <a:pt x="131616" y="64634"/>
                      <a:pt x="114846" y="45849"/>
                      <a:pt x="114846" y="26205"/>
                    </a:cubicBezTo>
                    <a:lnTo>
                      <a:pt x="114846" y="14239"/>
                    </a:lnTo>
                    <a:cubicBezTo>
                      <a:pt x="113731" y="13381"/>
                      <a:pt x="112745" y="12352"/>
                      <a:pt x="111716" y="11409"/>
                    </a:cubicBezTo>
                    <a:cubicBezTo>
                      <a:pt x="103952" y="15097"/>
                      <a:pt x="95032" y="16212"/>
                      <a:pt x="86925" y="13596"/>
                    </a:cubicBezTo>
                    <a:cubicBezTo>
                      <a:pt x="76632" y="10293"/>
                      <a:pt x="65867" y="9521"/>
                      <a:pt x="55531" y="6433"/>
                    </a:cubicBezTo>
                    <a:cubicBezTo>
                      <a:pt x="50212" y="10637"/>
                      <a:pt x="50041" y="14797"/>
                      <a:pt x="56388" y="18442"/>
                    </a:cubicBezTo>
                    <a:cubicBezTo>
                      <a:pt x="70241" y="26463"/>
                      <a:pt x="56388" y="45849"/>
                      <a:pt x="41592" y="44734"/>
                    </a:cubicBezTo>
                    <a:cubicBezTo>
                      <a:pt x="26795" y="43576"/>
                      <a:pt x="23835" y="61846"/>
                      <a:pt x="42578" y="70982"/>
                    </a:cubicBezTo>
                    <a:cubicBezTo>
                      <a:pt x="61364" y="80117"/>
                      <a:pt x="54458" y="85864"/>
                      <a:pt x="34687" y="85864"/>
                    </a:cubicBezTo>
                    <a:cubicBezTo>
                      <a:pt x="14957" y="85864"/>
                      <a:pt x="-2027" y="93542"/>
                      <a:pt x="11012" y="99589"/>
                    </a:cubicBezTo>
                    <a:cubicBezTo>
                      <a:pt x="20876" y="104178"/>
                      <a:pt x="19889" y="116702"/>
                      <a:pt x="40648" y="122406"/>
                    </a:cubicBezTo>
                    <a:cubicBezTo>
                      <a:pt x="41291" y="122578"/>
                      <a:pt x="41935" y="122663"/>
                      <a:pt x="42578" y="122792"/>
                    </a:cubicBezTo>
                    <a:cubicBezTo>
                      <a:pt x="49140" y="115973"/>
                      <a:pt x="58447" y="112928"/>
                      <a:pt x="67539" y="112499"/>
                    </a:cubicBezTo>
                    <a:cubicBezTo>
                      <a:pt x="69169" y="112413"/>
                      <a:pt x="70799" y="112584"/>
                      <a:pt x="72472" y="112799"/>
                    </a:cubicBezTo>
                    <a:cubicBezTo>
                      <a:pt x="77876" y="107352"/>
                      <a:pt x="81007" y="100661"/>
                      <a:pt x="80192" y="95000"/>
                    </a:cubicBezTo>
                    <a:cubicBezTo>
                      <a:pt x="78176" y="81275"/>
                      <a:pt x="152246" y="68752"/>
                      <a:pt x="172061" y="63004"/>
                    </a:cubicBezTo>
                    <a:cubicBezTo>
                      <a:pt x="179223" y="60946"/>
                      <a:pt x="179438" y="56399"/>
                      <a:pt x="177851" y="5133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24" name="Freeform: Shape 302">
                <a:extLst>
                  <a:ext uri="{FF2B5EF4-FFF2-40B4-BE49-F238E27FC236}">
                    <a16:creationId xmlns:a16="http://schemas.microsoft.com/office/drawing/2014/main" id="{173E84D9-1532-88BC-651D-AEB7110BC746}"/>
                  </a:ext>
                </a:extLst>
              </p:cNvPr>
              <p:cNvSpPr/>
              <p:nvPr/>
            </p:nvSpPr>
            <p:spPr>
              <a:xfrm>
                <a:off x="9508877" y="1364278"/>
                <a:ext cx="167297" cy="91849"/>
              </a:xfrm>
              <a:custGeom>
                <a:avLst/>
                <a:gdLst>
                  <a:gd name="connsiteX0" fmla="*/ 201082 w 218735"/>
                  <a:gd name="connsiteY0" fmla="*/ 41688 h 120090"/>
                  <a:gd name="connsiteX1" fmla="*/ 180237 w 218735"/>
                  <a:gd name="connsiteY1" fmla="*/ 42032 h 120090"/>
                  <a:gd name="connsiteX2" fmla="*/ 131643 w 218735"/>
                  <a:gd name="connsiteY2" fmla="*/ 24962 h 120090"/>
                  <a:gd name="connsiteX3" fmla="*/ 121436 w 218735"/>
                  <a:gd name="connsiteY3" fmla="*/ 35855 h 120090"/>
                  <a:gd name="connsiteX4" fmla="*/ 121135 w 218735"/>
                  <a:gd name="connsiteY4" fmla="*/ 20673 h 120090"/>
                  <a:gd name="connsiteX5" fmla="*/ 109298 w 218735"/>
                  <a:gd name="connsiteY5" fmla="*/ 15097 h 120090"/>
                  <a:gd name="connsiteX6" fmla="*/ 80433 w 218735"/>
                  <a:gd name="connsiteY6" fmla="*/ 11966 h 120090"/>
                  <a:gd name="connsiteX7" fmla="*/ 69883 w 218735"/>
                  <a:gd name="connsiteY7" fmla="*/ 6433 h 120090"/>
                  <a:gd name="connsiteX8" fmla="*/ 58217 w 218735"/>
                  <a:gd name="connsiteY8" fmla="*/ 35855 h 120090"/>
                  <a:gd name="connsiteX9" fmla="*/ 33513 w 218735"/>
                  <a:gd name="connsiteY9" fmla="*/ 57557 h 120090"/>
                  <a:gd name="connsiteX10" fmla="*/ 9795 w 218735"/>
                  <a:gd name="connsiteY10" fmla="*/ 112370 h 120090"/>
                  <a:gd name="connsiteX11" fmla="*/ 97675 w 218735"/>
                  <a:gd name="connsiteY11" fmla="*/ 102077 h 120090"/>
                  <a:gd name="connsiteX12" fmla="*/ 213219 w 218735"/>
                  <a:gd name="connsiteY12" fmla="*/ 57557 h 120090"/>
                  <a:gd name="connsiteX13" fmla="*/ 201082 w 218735"/>
                  <a:gd name="connsiteY13" fmla="*/ 41688 h 120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8735" h="120090">
                    <a:moveTo>
                      <a:pt x="201082" y="41688"/>
                    </a:moveTo>
                    <a:cubicBezTo>
                      <a:pt x="194391" y="44176"/>
                      <a:pt x="187143" y="44605"/>
                      <a:pt x="180237" y="42032"/>
                    </a:cubicBezTo>
                    <a:cubicBezTo>
                      <a:pt x="164111" y="35984"/>
                      <a:pt x="147641" y="31052"/>
                      <a:pt x="131643" y="24962"/>
                    </a:cubicBezTo>
                    <a:cubicBezTo>
                      <a:pt x="127098" y="28135"/>
                      <a:pt x="123366" y="31995"/>
                      <a:pt x="121436" y="35855"/>
                    </a:cubicBezTo>
                    <a:cubicBezTo>
                      <a:pt x="115088" y="48379"/>
                      <a:pt x="108054" y="38943"/>
                      <a:pt x="121135" y="20673"/>
                    </a:cubicBezTo>
                    <a:cubicBezTo>
                      <a:pt x="117147" y="18957"/>
                      <a:pt x="113201" y="17070"/>
                      <a:pt x="109298" y="15097"/>
                    </a:cubicBezTo>
                    <a:cubicBezTo>
                      <a:pt x="99862" y="17670"/>
                      <a:pt x="89312" y="16555"/>
                      <a:pt x="80433" y="11966"/>
                    </a:cubicBezTo>
                    <a:cubicBezTo>
                      <a:pt x="76873" y="10165"/>
                      <a:pt x="73357" y="8278"/>
                      <a:pt x="69883" y="6433"/>
                    </a:cubicBezTo>
                    <a:cubicBezTo>
                      <a:pt x="68939" y="17971"/>
                      <a:pt x="57274" y="23804"/>
                      <a:pt x="58217" y="35855"/>
                    </a:cubicBezTo>
                    <a:cubicBezTo>
                      <a:pt x="59203" y="48422"/>
                      <a:pt x="34499" y="28993"/>
                      <a:pt x="33513" y="57557"/>
                    </a:cubicBezTo>
                    <a:cubicBezTo>
                      <a:pt x="32526" y="86122"/>
                      <a:pt x="-4744" y="102763"/>
                      <a:pt x="9795" y="112370"/>
                    </a:cubicBezTo>
                    <a:cubicBezTo>
                      <a:pt x="23648" y="121505"/>
                      <a:pt x="68039" y="100961"/>
                      <a:pt x="97675" y="102077"/>
                    </a:cubicBezTo>
                    <a:cubicBezTo>
                      <a:pt x="127311" y="103235"/>
                      <a:pt x="210259" y="75785"/>
                      <a:pt x="213219" y="57557"/>
                    </a:cubicBezTo>
                    <a:cubicBezTo>
                      <a:pt x="214591" y="49580"/>
                      <a:pt x="208930" y="45291"/>
                      <a:pt x="201082" y="4168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25" name="Freeform: Shape 303">
                <a:extLst>
                  <a:ext uri="{FF2B5EF4-FFF2-40B4-BE49-F238E27FC236}">
                    <a16:creationId xmlns:a16="http://schemas.microsoft.com/office/drawing/2014/main" id="{AEDB81AA-E96B-38B4-15BD-FE8C66EAAF6E}"/>
                  </a:ext>
                </a:extLst>
              </p:cNvPr>
              <p:cNvSpPr/>
              <p:nvPr/>
            </p:nvSpPr>
            <p:spPr>
              <a:xfrm>
                <a:off x="10501740" y="1572330"/>
                <a:ext cx="190260" cy="82008"/>
              </a:xfrm>
              <a:custGeom>
                <a:avLst/>
                <a:gdLst>
                  <a:gd name="connsiteX0" fmla="*/ 225611 w 248757"/>
                  <a:gd name="connsiteY0" fmla="*/ 23058 h 107223"/>
                  <a:gd name="connsiteX1" fmla="*/ 184309 w 248757"/>
                  <a:gd name="connsiteY1" fmla="*/ 12721 h 107223"/>
                  <a:gd name="connsiteX2" fmla="*/ 155615 w 248757"/>
                  <a:gd name="connsiteY2" fmla="*/ 26489 h 107223"/>
                  <a:gd name="connsiteX3" fmla="*/ 106336 w 248757"/>
                  <a:gd name="connsiteY3" fmla="*/ 18340 h 107223"/>
                  <a:gd name="connsiteX4" fmla="*/ 106078 w 248757"/>
                  <a:gd name="connsiteY4" fmla="*/ 20784 h 107223"/>
                  <a:gd name="connsiteX5" fmla="*/ 76656 w 248757"/>
                  <a:gd name="connsiteY5" fmla="*/ 11177 h 107223"/>
                  <a:gd name="connsiteX6" fmla="*/ 52124 w 248757"/>
                  <a:gd name="connsiteY6" fmla="*/ 6845 h 107223"/>
                  <a:gd name="connsiteX7" fmla="*/ 15582 w 248757"/>
                  <a:gd name="connsiteY7" fmla="*/ 85762 h 107223"/>
                  <a:gd name="connsiteX8" fmla="*/ 25789 w 248757"/>
                  <a:gd name="connsiteY8" fmla="*/ 103389 h 107223"/>
                  <a:gd name="connsiteX9" fmla="*/ 61602 w 248757"/>
                  <a:gd name="connsiteY9" fmla="*/ 91552 h 107223"/>
                  <a:gd name="connsiteX10" fmla="*/ 93211 w 248757"/>
                  <a:gd name="connsiteY10" fmla="*/ 98414 h 107223"/>
                  <a:gd name="connsiteX11" fmla="*/ 152484 w 248757"/>
                  <a:gd name="connsiteY11" fmla="*/ 91552 h 107223"/>
                  <a:gd name="connsiteX12" fmla="*/ 149525 w 248757"/>
                  <a:gd name="connsiteY12" fmla="*/ 47033 h 107223"/>
                  <a:gd name="connsiteX13" fmla="*/ 167281 w 248757"/>
                  <a:gd name="connsiteY13" fmla="*/ 53895 h 107223"/>
                  <a:gd name="connsiteX14" fmla="*/ 210728 w 248757"/>
                  <a:gd name="connsiteY14" fmla="*/ 89322 h 107223"/>
                  <a:gd name="connsiteX15" fmla="*/ 234446 w 248757"/>
                  <a:gd name="connsiteY15" fmla="*/ 56211 h 107223"/>
                  <a:gd name="connsiteX16" fmla="*/ 225611 w 248757"/>
                  <a:gd name="connsiteY16" fmla="*/ 23058 h 10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757" h="107223">
                    <a:moveTo>
                      <a:pt x="225611" y="23058"/>
                    </a:moveTo>
                    <a:cubicBezTo>
                      <a:pt x="213045" y="14179"/>
                      <a:pt x="198290" y="13407"/>
                      <a:pt x="184309" y="12721"/>
                    </a:cubicBezTo>
                    <a:cubicBezTo>
                      <a:pt x="178561" y="21256"/>
                      <a:pt x="169040" y="27003"/>
                      <a:pt x="155615" y="26489"/>
                    </a:cubicBezTo>
                    <a:cubicBezTo>
                      <a:pt x="138674" y="25802"/>
                      <a:pt x="122462" y="22286"/>
                      <a:pt x="106336" y="18340"/>
                    </a:cubicBezTo>
                    <a:cubicBezTo>
                      <a:pt x="106250" y="19155"/>
                      <a:pt x="106121" y="19927"/>
                      <a:pt x="106078" y="20784"/>
                    </a:cubicBezTo>
                    <a:cubicBezTo>
                      <a:pt x="105521" y="34938"/>
                      <a:pt x="92139" y="24473"/>
                      <a:pt x="76656" y="11177"/>
                    </a:cubicBezTo>
                    <a:cubicBezTo>
                      <a:pt x="68550" y="9376"/>
                      <a:pt x="60401" y="7832"/>
                      <a:pt x="52124" y="6845"/>
                    </a:cubicBezTo>
                    <a:cubicBezTo>
                      <a:pt x="5975" y="1398"/>
                      <a:pt x="-3204" y="51150"/>
                      <a:pt x="15582" y="85762"/>
                    </a:cubicBezTo>
                    <a:cubicBezTo>
                      <a:pt x="18885" y="91852"/>
                      <a:pt x="22316" y="97685"/>
                      <a:pt x="25789" y="103389"/>
                    </a:cubicBezTo>
                    <a:cubicBezTo>
                      <a:pt x="37798" y="101717"/>
                      <a:pt x="53667" y="94597"/>
                      <a:pt x="61602" y="91552"/>
                    </a:cubicBezTo>
                    <a:cubicBezTo>
                      <a:pt x="73440" y="87006"/>
                      <a:pt x="74426" y="112096"/>
                      <a:pt x="93211" y="98414"/>
                    </a:cubicBezTo>
                    <a:cubicBezTo>
                      <a:pt x="111997" y="84689"/>
                      <a:pt x="130739" y="91552"/>
                      <a:pt x="152484" y="91552"/>
                    </a:cubicBezTo>
                    <a:cubicBezTo>
                      <a:pt x="174230" y="91552"/>
                      <a:pt x="148539" y="60714"/>
                      <a:pt x="149525" y="47033"/>
                    </a:cubicBezTo>
                    <a:cubicBezTo>
                      <a:pt x="150512" y="33308"/>
                      <a:pt x="175173" y="42486"/>
                      <a:pt x="167281" y="53895"/>
                    </a:cubicBezTo>
                    <a:cubicBezTo>
                      <a:pt x="159390" y="65303"/>
                      <a:pt x="179119" y="91595"/>
                      <a:pt x="210728" y="89322"/>
                    </a:cubicBezTo>
                    <a:cubicBezTo>
                      <a:pt x="242337" y="87048"/>
                      <a:pt x="218620" y="64188"/>
                      <a:pt x="234446" y="56211"/>
                    </a:cubicBezTo>
                    <a:cubicBezTo>
                      <a:pt x="250315" y="48191"/>
                      <a:pt x="248300" y="39055"/>
                      <a:pt x="225611" y="2305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26" name="Freeform: Shape 304">
                <a:extLst>
                  <a:ext uri="{FF2B5EF4-FFF2-40B4-BE49-F238E27FC236}">
                    <a16:creationId xmlns:a16="http://schemas.microsoft.com/office/drawing/2014/main" id="{8DC4004B-BA24-409D-4C5D-9CF1E5B3E025}"/>
                  </a:ext>
                </a:extLst>
              </p:cNvPr>
              <p:cNvSpPr/>
              <p:nvPr/>
            </p:nvSpPr>
            <p:spPr>
              <a:xfrm>
                <a:off x="10712412" y="1601457"/>
                <a:ext cx="134494" cy="55766"/>
              </a:xfrm>
              <a:custGeom>
                <a:avLst/>
                <a:gdLst>
                  <a:gd name="connsiteX0" fmla="*/ 61032 w 175846"/>
                  <a:gd name="connsiteY0" fmla="*/ 47894 h 72911"/>
                  <a:gd name="connsiteX1" fmla="*/ 134673 w 175846"/>
                  <a:gd name="connsiteY1" fmla="*/ 67194 h 72911"/>
                  <a:gd name="connsiteX2" fmla="*/ 170357 w 175846"/>
                  <a:gd name="connsiteY2" fmla="*/ 50082 h 72911"/>
                  <a:gd name="connsiteX3" fmla="*/ 116058 w 175846"/>
                  <a:gd name="connsiteY3" fmla="*/ 30696 h 72911"/>
                  <a:gd name="connsiteX4" fmla="*/ 77544 w 175846"/>
                  <a:gd name="connsiteY4" fmla="*/ 21560 h 72911"/>
                  <a:gd name="connsiteX5" fmla="*/ 32125 w 175846"/>
                  <a:gd name="connsiteY5" fmla="*/ 10109 h 72911"/>
                  <a:gd name="connsiteX6" fmla="*/ 9436 w 175846"/>
                  <a:gd name="connsiteY6" fmla="*/ 36357 h 72911"/>
                  <a:gd name="connsiteX7" fmla="*/ 36885 w 175846"/>
                  <a:gd name="connsiteY7" fmla="*/ 48795 h 72911"/>
                  <a:gd name="connsiteX8" fmla="*/ 61032 w 175846"/>
                  <a:gd name="connsiteY8" fmla="*/ 47894 h 7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46" h="72911">
                    <a:moveTo>
                      <a:pt x="61032" y="47894"/>
                    </a:moveTo>
                    <a:cubicBezTo>
                      <a:pt x="85350" y="55786"/>
                      <a:pt x="109582" y="63506"/>
                      <a:pt x="134673" y="67194"/>
                    </a:cubicBezTo>
                    <a:cubicBezTo>
                      <a:pt x="156074" y="64064"/>
                      <a:pt x="169713" y="57287"/>
                      <a:pt x="170357" y="50082"/>
                    </a:cubicBezTo>
                    <a:cubicBezTo>
                      <a:pt x="171343" y="38673"/>
                      <a:pt x="128882" y="21560"/>
                      <a:pt x="116058" y="30696"/>
                    </a:cubicBezTo>
                    <a:cubicBezTo>
                      <a:pt x="103191" y="39831"/>
                      <a:pt x="93370" y="15813"/>
                      <a:pt x="77544" y="21560"/>
                    </a:cubicBezTo>
                    <a:cubicBezTo>
                      <a:pt x="61718" y="27265"/>
                      <a:pt x="40016" y="26107"/>
                      <a:pt x="32125" y="10109"/>
                    </a:cubicBezTo>
                    <a:cubicBezTo>
                      <a:pt x="24233" y="-5846"/>
                      <a:pt x="-2444" y="35242"/>
                      <a:pt x="9436" y="36357"/>
                    </a:cubicBezTo>
                    <a:cubicBezTo>
                      <a:pt x="19557" y="37343"/>
                      <a:pt x="27535" y="42705"/>
                      <a:pt x="36885" y="48795"/>
                    </a:cubicBezTo>
                    <a:cubicBezTo>
                      <a:pt x="43619" y="45621"/>
                      <a:pt x="51767" y="44892"/>
                      <a:pt x="61032" y="4789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27" name="Freeform: Shape 305">
                <a:extLst>
                  <a:ext uri="{FF2B5EF4-FFF2-40B4-BE49-F238E27FC236}">
                    <a16:creationId xmlns:a16="http://schemas.microsoft.com/office/drawing/2014/main" id="{C6BBB4A1-454A-337A-4BAB-2E2904E11A62}"/>
                  </a:ext>
                </a:extLst>
              </p:cNvPr>
              <p:cNvSpPr/>
              <p:nvPr/>
            </p:nvSpPr>
            <p:spPr>
              <a:xfrm>
                <a:off x="8607351" y="1242118"/>
                <a:ext cx="65607" cy="26242"/>
              </a:xfrm>
              <a:custGeom>
                <a:avLst/>
                <a:gdLst>
                  <a:gd name="connsiteX0" fmla="*/ 50999 w 85778"/>
                  <a:gd name="connsiteY0" fmla="*/ 6433 h 34311"/>
                  <a:gd name="connsiteX1" fmla="*/ 46967 w 85778"/>
                  <a:gd name="connsiteY1" fmla="*/ 7120 h 34311"/>
                  <a:gd name="connsiteX2" fmla="*/ 7466 w 85778"/>
                  <a:gd name="connsiteY2" fmla="*/ 24232 h 34311"/>
                  <a:gd name="connsiteX3" fmla="*/ 62794 w 85778"/>
                  <a:gd name="connsiteY3" fmla="*/ 27664 h 34311"/>
                  <a:gd name="connsiteX4" fmla="*/ 81793 w 85778"/>
                  <a:gd name="connsiteY4" fmla="*/ 22345 h 34311"/>
                  <a:gd name="connsiteX5" fmla="*/ 50999 w 85778"/>
                  <a:gd name="connsiteY5" fmla="*/ 6433 h 34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78" h="34311">
                    <a:moveTo>
                      <a:pt x="50999" y="6433"/>
                    </a:moveTo>
                    <a:cubicBezTo>
                      <a:pt x="49755" y="6991"/>
                      <a:pt x="48425" y="7291"/>
                      <a:pt x="46967" y="7120"/>
                    </a:cubicBezTo>
                    <a:cubicBezTo>
                      <a:pt x="37103" y="5962"/>
                      <a:pt x="-211" y="14325"/>
                      <a:pt x="7466" y="24232"/>
                    </a:cubicBezTo>
                    <a:cubicBezTo>
                      <a:pt x="16344" y="35641"/>
                      <a:pt x="44008" y="29937"/>
                      <a:pt x="62794" y="27664"/>
                    </a:cubicBezTo>
                    <a:cubicBezTo>
                      <a:pt x="70857" y="26677"/>
                      <a:pt x="77076" y="24747"/>
                      <a:pt x="81793" y="22345"/>
                    </a:cubicBezTo>
                    <a:cubicBezTo>
                      <a:pt x="71243" y="17585"/>
                      <a:pt x="61164" y="12052"/>
                      <a:pt x="50999" y="643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28" name="Freeform: Shape 306">
                <a:extLst>
                  <a:ext uri="{FF2B5EF4-FFF2-40B4-BE49-F238E27FC236}">
                    <a16:creationId xmlns:a16="http://schemas.microsoft.com/office/drawing/2014/main" id="{B580A550-32BC-4AED-7615-B0A1F43D4022}"/>
                  </a:ext>
                </a:extLst>
              </p:cNvPr>
              <p:cNvSpPr/>
              <p:nvPr/>
            </p:nvSpPr>
            <p:spPr>
              <a:xfrm>
                <a:off x="10554996" y="1674701"/>
                <a:ext cx="36084" cy="26242"/>
              </a:xfrm>
              <a:custGeom>
                <a:avLst/>
                <a:gdLst>
                  <a:gd name="connsiteX0" fmla="*/ 43395 w 47178"/>
                  <a:gd name="connsiteY0" fmla="*/ 12562 h 34311"/>
                  <a:gd name="connsiteX1" fmla="*/ 11828 w 47178"/>
                  <a:gd name="connsiteY1" fmla="*/ 27401 h 34311"/>
                  <a:gd name="connsiteX2" fmla="*/ 43395 w 47178"/>
                  <a:gd name="connsiteY2" fmla="*/ 12562 h 34311"/>
                </a:gdLst>
                <a:ahLst/>
                <a:cxnLst>
                  <a:cxn ang="0">
                    <a:pos x="connsiteX0" y="connsiteY0"/>
                  </a:cxn>
                  <a:cxn ang="0">
                    <a:pos x="connsiteX1" y="connsiteY1"/>
                  </a:cxn>
                  <a:cxn ang="0">
                    <a:pos x="connsiteX2" y="connsiteY2"/>
                  </a:cxn>
                </a:cxnLst>
                <a:rect l="l" t="t" r="r" b="b"/>
                <a:pathLst>
                  <a:path w="47178" h="34311">
                    <a:moveTo>
                      <a:pt x="43395" y="12562"/>
                    </a:moveTo>
                    <a:cubicBezTo>
                      <a:pt x="43395" y="-4594"/>
                      <a:pt x="-10432" y="18824"/>
                      <a:pt x="11828" y="27401"/>
                    </a:cubicBezTo>
                    <a:cubicBezTo>
                      <a:pt x="23622" y="31990"/>
                      <a:pt x="43395" y="29717"/>
                      <a:pt x="43395" y="12562"/>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29" name="Freeform: Shape 307">
                <a:extLst>
                  <a:ext uri="{FF2B5EF4-FFF2-40B4-BE49-F238E27FC236}">
                    <a16:creationId xmlns:a16="http://schemas.microsoft.com/office/drawing/2014/main" id="{F9D13817-A01C-5286-A770-A67497C4B2AC}"/>
                  </a:ext>
                </a:extLst>
              </p:cNvPr>
              <p:cNvSpPr/>
              <p:nvPr/>
            </p:nvSpPr>
            <p:spPr>
              <a:xfrm>
                <a:off x="10567918" y="1699786"/>
                <a:ext cx="88569" cy="45925"/>
              </a:xfrm>
              <a:custGeom>
                <a:avLst/>
                <a:gdLst>
                  <a:gd name="connsiteX0" fmla="*/ 105503 w 115801"/>
                  <a:gd name="connsiteY0" fmla="*/ 55120 h 60045"/>
                  <a:gd name="connsiteX1" fmla="*/ 62056 w 115801"/>
                  <a:gd name="connsiteY1" fmla="*/ 7170 h 60045"/>
                  <a:gd name="connsiteX2" fmla="*/ 6771 w 115801"/>
                  <a:gd name="connsiteY2" fmla="*/ 36892 h 60045"/>
                  <a:gd name="connsiteX3" fmla="*/ 105503 w 115801"/>
                  <a:gd name="connsiteY3" fmla="*/ 55120 h 60045"/>
                </a:gdLst>
                <a:ahLst/>
                <a:cxnLst>
                  <a:cxn ang="0">
                    <a:pos x="connsiteX0" y="connsiteY0"/>
                  </a:cxn>
                  <a:cxn ang="0">
                    <a:pos x="connsiteX1" y="connsiteY1"/>
                  </a:cxn>
                  <a:cxn ang="0">
                    <a:pos x="connsiteX2" y="connsiteY2"/>
                  </a:cxn>
                  <a:cxn ang="0">
                    <a:pos x="connsiteX3" y="connsiteY3"/>
                  </a:cxn>
                </a:cxnLst>
                <a:rect l="l" t="t" r="r" b="b"/>
                <a:pathLst>
                  <a:path w="115801" h="60045">
                    <a:moveTo>
                      <a:pt x="105503" y="55120"/>
                    </a:moveTo>
                    <a:cubicBezTo>
                      <a:pt x="123259" y="50574"/>
                      <a:pt x="92679" y="12874"/>
                      <a:pt x="62056" y="7170"/>
                    </a:cubicBezTo>
                    <a:cubicBezTo>
                      <a:pt x="31433" y="1465"/>
                      <a:pt x="2998" y="30587"/>
                      <a:pt x="6771" y="36892"/>
                    </a:cubicBezTo>
                    <a:cubicBezTo>
                      <a:pt x="15650" y="51732"/>
                      <a:pt x="87704" y="59709"/>
                      <a:pt x="105503" y="5512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30" name="Freeform: Shape 308">
                <a:extLst>
                  <a:ext uri="{FF2B5EF4-FFF2-40B4-BE49-F238E27FC236}">
                    <a16:creationId xmlns:a16="http://schemas.microsoft.com/office/drawing/2014/main" id="{1028E0AC-04BA-6A7A-2FB6-0A8F3D67B50D}"/>
                  </a:ext>
                </a:extLst>
              </p:cNvPr>
              <p:cNvSpPr/>
              <p:nvPr/>
            </p:nvSpPr>
            <p:spPr>
              <a:xfrm>
                <a:off x="8336011" y="1284928"/>
                <a:ext cx="39364" cy="22963"/>
              </a:xfrm>
              <a:custGeom>
                <a:avLst/>
                <a:gdLst>
                  <a:gd name="connsiteX0" fmla="*/ 49185 w 51467"/>
                  <a:gd name="connsiteY0" fmla="*/ 13981 h 30022"/>
                  <a:gd name="connsiteX1" fmla="*/ 7711 w 51467"/>
                  <a:gd name="connsiteY1" fmla="*/ 19685 h 30022"/>
                  <a:gd name="connsiteX2" fmla="*/ 49185 w 51467"/>
                  <a:gd name="connsiteY2" fmla="*/ 13981 h 30022"/>
                </a:gdLst>
                <a:ahLst/>
                <a:cxnLst>
                  <a:cxn ang="0">
                    <a:pos x="connsiteX0" y="connsiteY0"/>
                  </a:cxn>
                  <a:cxn ang="0">
                    <a:pos x="connsiteX1" y="connsiteY1"/>
                  </a:cxn>
                  <a:cxn ang="0">
                    <a:pos x="connsiteX2" y="connsiteY2"/>
                  </a:cxn>
                </a:cxnLst>
                <a:rect l="l" t="t" r="r" b="b"/>
                <a:pathLst>
                  <a:path w="51467" h="30022">
                    <a:moveTo>
                      <a:pt x="49185" y="13981"/>
                    </a:moveTo>
                    <a:cubicBezTo>
                      <a:pt x="49185" y="-4290"/>
                      <a:pt x="-2239" y="15868"/>
                      <a:pt x="7711" y="19685"/>
                    </a:cubicBezTo>
                    <a:cubicBezTo>
                      <a:pt x="16590" y="23116"/>
                      <a:pt x="49185" y="32252"/>
                      <a:pt x="49185" y="1398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31" name="Freeform: Shape 310">
                <a:extLst>
                  <a:ext uri="{FF2B5EF4-FFF2-40B4-BE49-F238E27FC236}">
                    <a16:creationId xmlns:a16="http://schemas.microsoft.com/office/drawing/2014/main" id="{42F33340-B26A-F3DD-2B8B-F2A7B1EFB253}"/>
                  </a:ext>
                </a:extLst>
              </p:cNvPr>
              <p:cNvSpPr/>
              <p:nvPr/>
            </p:nvSpPr>
            <p:spPr>
              <a:xfrm>
                <a:off x="10599177" y="2681400"/>
                <a:ext cx="52485" cy="295231"/>
              </a:xfrm>
              <a:custGeom>
                <a:avLst/>
                <a:gdLst>
                  <a:gd name="connsiteX0" fmla="*/ 54768 w 68622"/>
                  <a:gd name="connsiteY0" fmla="*/ 347746 h 386003"/>
                  <a:gd name="connsiteX1" fmla="*/ 32036 w 68622"/>
                  <a:gd name="connsiteY1" fmla="*/ 302069 h 386003"/>
                  <a:gd name="connsiteX2" fmla="*/ 41943 w 68622"/>
                  <a:gd name="connsiteY2" fmla="*/ 239237 h 386003"/>
                  <a:gd name="connsiteX3" fmla="*/ 64460 w 68622"/>
                  <a:gd name="connsiteY3" fmla="*/ 223153 h 386003"/>
                  <a:gd name="connsiteX4" fmla="*/ 57383 w 68622"/>
                  <a:gd name="connsiteY4" fmla="*/ 177004 h 386003"/>
                  <a:gd name="connsiteX5" fmla="*/ 37268 w 68622"/>
                  <a:gd name="connsiteY5" fmla="*/ 80117 h 386003"/>
                  <a:gd name="connsiteX6" fmla="*/ 8789 w 68622"/>
                  <a:gd name="connsiteY6" fmla="*/ 6433 h 386003"/>
                  <a:gd name="connsiteX7" fmla="*/ 8361 w 68622"/>
                  <a:gd name="connsiteY7" fmla="*/ 45077 h 386003"/>
                  <a:gd name="connsiteX8" fmla="*/ 19255 w 68622"/>
                  <a:gd name="connsiteY8" fmla="*/ 121548 h 386003"/>
                  <a:gd name="connsiteX9" fmla="*/ 16295 w 68622"/>
                  <a:gd name="connsiteY9" fmla="*/ 270031 h 386003"/>
                  <a:gd name="connsiteX10" fmla="*/ 10377 w 68622"/>
                  <a:gd name="connsiteY10" fmla="*/ 378498 h 386003"/>
                  <a:gd name="connsiteX11" fmla="*/ 32079 w 68622"/>
                  <a:gd name="connsiteY11" fmla="*/ 353408 h 386003"/>
                  <a:gd name="connsiteX12" fmla="*/ 60729 w 68622"/>
                  <a:gd name="connsiteY12" fmla="*/ 381929 h 386003"/>
                  <a:gd name="connsiteX13" fmla="*/ 54768 w 68622"/>
                  <a:gd name="connsiteY13" fmla="*/ 347746 h 38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622" h="386003">
                    <a:moveTo>
                      <a:pt x="54768" y="347746"/>
                    </a:moveTo>
                    <a:cubicBezTo>
                      <a:pt x="44903" y="350020"/>
                      <a:pt x="37011" y="320340"/>
                      <a:pt x="32036" y="302069"/>
                    </a:cubicBezTo>
                    <a:cubicBezTo>
                      <a:pt x="27103" y="283799"/>
                      <a:pt x="41943" y="262097"/>
                      <a:pt x="41943" y="239237"/>
                    </a:cubicBezTo>
                    <a:cubicBezTo>
                      <a:pt x="41943" y="224096"/>
                      <a:pt x="52837" y="219550"/>
                      <a:pt x="64460" y="223153"/>
                    </a:cubicBezTo>
                    <a:cubicBezTo>
                      <a:pt x="61629" y="206726"/>
                      <a:pt x="59656" y="190686"/>
                      <a:pt x="57383" y="177004"/>
                    </a:cubicBezTo>
                    <a:cubicBezTo>
                      <a:pt x="52108" y="144794"/>
                      <a:pt x="45889" y="111512"/>
                      <a:pt x="37268" y="80117"/>
                    </a:cubicBezTo>
                    <a:cubicBezTo>
                      <a:pt x="29806" y="53097"/>
                      <a:pt x="14623" y="32424"/>
                      <a:pt x="8789" y="6433"/>
                    </a:cubicBezTo>
                    <a:cubicBezTo>
                      <a:pt x="5058" y="12953"/>
                      <a:pt x="12992" y="27278"/>
                      <a:pt x="8361" y="45077"/>
                    </a:cubicBezTo>
                    <a:cubicBezTo>
                      <a:pt x="2442" y="67894"/>
                      <a:pt x="11320" y="101047"/>
                      <a:pt x="19255" y="121548"/>
                    </a:cubicBezTo>
                    <a:cubicBezTo>
                      <a:pt x="27146" y="142092"/>
                      <a:pt x="8361" y="251760"/>
                      <a:pt x="16295" y="270031"/>
                    </a:cubicBezTo>
                    <a:cubicBezTo>
                      <a:pt x="24187" y="288302"/>
                      <a:pt x="3428" y="369148"/>
                      <a:pt x="10377" y="378498"/>
                    </a:cubicBezTo>
                    <a:cubicBezTo>
                      <a:pt x="22214" y="394496"/>
                      <a:pt x="14322" y="356796"/>
                      <a:pt x="32079" y="353408"/>
                    </a:cubicBezTo>
                    <a:cubicBezTo>
                      <a:pt x="49835" y="349977"/>
                      <a:pt x="49835" y="376225"/>
                      <a:pt x="60729" y="381929"/>
                    </a:cubicBezTo>
                    <a:cubicBezTo>
                      <a:pt x="71537" y="387719"/>
                      <a:pt x="64631" y="345473"/>
                      <a:pt x="54768" y="34774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32" name="Freeform: Shape 311">
                <a:extLst>
                  <a:ext uri="{FF2B5EF4-FFF2-40B4-BE49-F238E27FC236}">
                    <a16:creationId xmlns:a16="http://schemas.microsoft.com/office/drawing/2014/main" id="{CA5D2A3E-A988-AF90-4FEF-B70554A8D1B5}"/>
                  </a:ext>
                </a:extLst>
              </p:cNvPr>
              <p:cNvSpPr/>
              <p:nvPr/>
            </p:nvSpPr>
            <p:spPr>
              <a:xfrm>
                <a:off x="8224748" y="1936214"/>
                <a:ext cx="62327" cy="45925"/>
              </a:xfrm>
              <a:custGeom>
                <a:avLst/>
                <a:gdLst>
                  <a:gd name="connsiteX0" fmla="*/ 12936 w 81489"/>
                  <a:gd name="connsiteY0" fmla="*/ 47511 h 60045"/>
                  <a:gd name="connsiteX1" fmla="*/ 75168 w 81489"/>
                  <a:gd name="connsiteY1" fmla="*/ 32714 h 60045"/>
                  <a:gd name="connsiteX2" fmla="*/ 45531 w 81489"/>
                  <a:gd name="connsiteY2" fmla="*/ 7581 h 60045"/>
                  <a:gd name="connsiteX3" fmla="*/ 12936 w 81489"/>
                  <a:gd name="connsiteY3" fmla="*/ 47511 h 60045"/>
                </a:gdLst>
                <a:ahLst/>
                <a:cxnLst>
                  <a:cxn ang="0">
                    <a:pos x="connsiteX0" y="connsiteY0"/>
                  </a:cxn>
                  <a:cxn ang="0">
                    <a:pos x="connsiteX1" y="connsiteY1"/>
                  </a:cxn>
                  <a:cxn ang="0">
                    <a:pos x="connsiteX2" y="connsiteY2"/>
                  </a:cxn>
                  <a:cxn ang="0">
                    <a:pos x="connsiteX3" y="connsiteY3"/>
                  </a:cxn>
                </a:cxnLst>
                <a:rect l="l" t="t" r="r" b="b"/>
                <a:pathLst>
                  <a:path w="81489" h="60045">
                    <a:moveTo>
                      <a:pt x="12936" y="47511"/>
                    </a:moveTo>
                    <a:cubicBezTo>
                      <a:pt x="39613" y="76075"/>
                      <a:pt x="62344" y="34944"/>
                      <a:pt x="75168" y="32714"/>
                    </a:cubicBezTo>
                    <a:cubicBezTo>
                      <a:pt x="88035" y="30441"/>
                      <a:pt x="67276" y="14400"/>
                      <a:pt x="45531" y="7581"/>
                    </a:cubicBezTo>
                    <a:cubicBezTo>
                      <a:pt x="23829" y="719"/>
                      <a:pt x="-7180" y="25980"/>
                      <a:pt x="12936" y="4751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33" name="Freeform: Shape 312">
                <a:extLst>
                  <a:ext uri="{FF2B5EF4-FFF2-40B4-BE49-F238E27FC236}">
                    <a16:creationId xmlns:a16="http://schemas.microsoft.com/office/drawing/2014/main" id="{87C180C5-5266-AED7-3FA7-BFB67BE17FE2}"/>
                  </a:ext>
                </a:extLst>
              </p:cNvPr>
              <p:cNvSpPr/>
              <p:nvPr/>
            </p:nvSpPr>
            <p:spPr>
              <a:xfrm>
                <a:off x="8520980" y="1240333"/>
                <a:ext cx="85289" cy="49205"/>
              </a:xfrm>
              <a:custGeom>
                <a:avLst/>
                <a:gdLst>
                  <a:gd name="connsiteX0" fmla="*/ 103624 w 111512"/>
                  <a:gd name="connsiteY0" fmla="*/ 35745 h 64333"/>
                  <a:gd name="connsiteX1" fmla="*/ 88785 w 111512"/>
                  <a:gd name="connsiteY1" fmla="*/ 15201 h 64333"/>
                  <a:gd name="connsiteX2" fmla="*/ 34487 w 111512"/>
                  <a:gd name="connsiteY2" fmla="*/ 14043 h 64333"/>
                  <a:gd name="connsiteX3" fmla="*/ 8839 w 111512"/>
                  <a:gd name="connsiteY3" fmla="*/ 49427 h 64333"/>
                  <a:gd name="connsiteX4" fmla="*/ 103624 w 111512"/>
                  <a:gd name="connsiteY4" fmla="*/ 35745 h 64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12" h="64333">
                    <a:moveTo>
                      <a:pt x="103624" y="35745"/>
                    </a:moveTo>
                    <a:cubicBezTo>
                      <a:pt x="110529" y="25452"/>
                      <a:pt x="90757" y="25452"/>
                      <a:pt x="88785" y="15201"/>
                    </a:cubicBezTo>
                    <a:cubicBezTo>
                      <a:pt x="86812" y="4908"/>
                      <a:pt x="31485" y="2635"/>
                      <a:pt x="34487" y="14043"/>
                    </a:cubicBezTo>
                    <a:cubicBezTo>
                      <a:pt x="37446" y="25495"/>
                      <a:pt x="-3771" y="37890"/>
                      <a:pt x="8839" y="49427"/>
                    </a:cubicBezTo>
                    <a:cubicBezTo>
                      <a:pt x="32514" y="71129"/>
                      <a:pt x="96719" y="45996"/>
                      <a:pt x="103624" y="3574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34" name="Freeform: Shape 313">
                <a:extLst>
                  <a:ext uri="{FF2B5EF4-FFF2-40B4-BE49-F238E27FC236}">
                    <a16:creationId xmlns:a16="http://schemas.microsoft.com/office/drawing/2014/main" id="{ACE2AF65-00BA-3E9B-B4DF-63612EDFB7AA}"/>
                  </a:ext>
                </a:extLst>
              </p:cNvPr>
              <p:cNvSpPr/>
              <p:nvPr/>
            </p:nvSpPr>
            <p:spPr>
              <a:xfrm>
                <a:off x="9821954" y="1658382"/>
                <a:ext cx="55766" cy="32803"/>
              </a:xfrm>
              <a:custGeom>
                <a:avLst/>
                <a:gdLst>
                  <a:gd name="connsiteX0" fmla="*/ 27120 w 72911"/>
                  <a:gd name="connsiteY0" fmla="*/ 13353 h 42889"/>
                  <a:gd name="connsiteX1" fmla="*/ 7390 w 72911"/>
                  <a:gd name="connsiteY1" fmla="*/ 31624 h 42889"/>
                  <a:gd name="connsiteX2" fmla="*/ 67607 w 72911"/>
                  <a:gd name="connsiteY2" fmla="*/ 20215 h 42889"/>
                  <a:gd name="connsiteX3" fmla="*/ 27120 w 72911"/>
                  <a:gd name="connsiteY3" fmla="*/ 13353 h 42889"/>
                </a:gdLst>
                <a:ahLst/>
                <a:cxnLst>
                  <a:cxn ang="0">
                    <a:pos x="connsiteX0" y="connsiteY0"/>
                  </a:cxn>
                  <a:cxn ang="0">
                    <a:pos x="connsiteX1" y="connsiteY1"/>
                  </a:cxn>
                  <a:cxn ang="0">
                    <a:pos x="connsiteX2" y="connsiteY2"/>
                  </a:cxn>
                  <a:cxn ang="0">
                    <a:pos x="connsiteX3" y="connsiteY3"/>
                  </a:cxn>
                </a:cxnLst>
                <a:rect l="l" t="t" r="r" b="b"/>
                <a:pathLst>
                  <a:path w="72911" h="42889">
                    <a:moveTo>
                      <a:pt x="27120" y="13353"/>
                    </a:moveTo>
                    <a:cubicBezTo>
                      <a:pt x="23174" y="22488"/>
                      <a:pt x="1687" y="23089"/>
                      <a:pt x="7390" y="31624"/>
                    </a:cubicBezTo>
                    <a:cubicBezTo>
                      <a:pt x="17255" y="46463"/>
                      <a:pt x="66621" y="38486"/>
                      <a:pt x="67607" y="20215"/>
                    </a:cubicBezTo>
                    <a:cubicBezTo>
                      <a:pt x="68594" y="1944"/>
                      <a:pt x="31108" y="4217"/>
                      <a:pt x="27120" y="1335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35" name="Freeform: Shape 314">
                <a:extLst>
                  <a:ext uri="{FF2B5EF4-FFF2-40B4-BE49-F238E27FC236}">
                    <a16:creationId xmlns:a16="http://schemas.microsoft.com/office/drawing/2014/main" id="{CAA3D5BB-A1B4-D1A2-7BF0-035F271D9C30}"/>
                  </a:ext>
                </a:extLst>
              </p:cNvPr>
              <p:cNvSpPr/>
              <p:nvPr/>
            </p:nvSpPr>
            <p:spPr>
              <a:xfrm>
                <a:off x="10689188" y="1781493"/>
                <a:ext cx="36084" cy="13122"/>
              </a:xfrm>
              <a:custGeom>
                <a:avLst/>
                <a:gdLst>
                  <a:gd name="connsiteX0" fmla="*/ 6433 w 47178"/>
                  <a:gd name="connsiteY0" fmla="*/ 8765 h 17155"/>
                  <a:gd name="connsiteX1" fmla="*/ 9135 w 47178"/>
                  <a:gd name="connsiteY1" fmla="*/ 9408 h 17155"/>
                  <a:gd name="connsiteX2" fmla="*/ 42718 w 47178"/>
                  <a:gd name="connsiteY2" fmla="*/ 9408 h 17155"/>
                  <a:gd name="connsiteX3" fmla="*/ 42546 w 47178"/>
                  <a:gd name="connsiteY3" fmla="*/ 8036 h 17155"/>
                  <a:gd name="connsiteX4" fmla="*/ 6433 w 47178"/>
                  <a:gd name="connsiteY4" fmla="*/ 8765 h 17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178" h="17155">
                    <a:moveTo>
                      <a:pt x="6433" y="8765"/>
                    </a:moveTo>
                    <a:cubicBezTo>
                      <a:pt x="7334" y="8979"/>
                      <a:pt x="8234" y="9108"/>
                      <a:pt x="9135" y="9408"/>
                    </a:cubicBezTo>
                    <a:cubicBezTo>
                      <a:pt x="21015" y="13440"/>
                      <a:pt x="41731" y="15713"/>
                      <a:pt x="42718" y="9408"/>
                    </a:cubicBezTo>
                    <a:cubicBezTo>
                      <a:pt x="42803" y="8894"/>
                      <a:pt x="42632" y="8465"/>
                      <a:pt x="42546" y="8036"/>
                    </a:cubicBezTo>
                    <a:cubicBezTo>
                      <a:pt x="30323" y="5891"/>
                      <a:pt x="18271" y="5677"/>
                      <a:pt x="6433" y="876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36" name="Freeform: Shape 316">
                <a:extLst>
                  <a:ext uri="{FF2B5EF4-FFF2-40B4-BE49-F238E27FC236}">
                    <a16:creationId xmlns:a16="http://schemas.microsoft.com/office/drawing/2014/main" id="{BE5B13D9-2595-8BC5-6DAD-24120E5BA261}"/>
                  </a:ext>
                </a:extLst>
              </p:cNvPr>
              <p:cNvSpPr/>
              <p:nvPr/>
            </p:nvSpPr>
            <p:spPr>
              <a:xfrm>
                <a:off x="11296641" y="1922297"/>
                <a:ext cx="26242" cy="29523"/>
              </a:xfrm>
              <a:custGeom>
                <a:avLst/>
                <a:gdLst>
                  <a:gd name="connsiteX0" fmla="*/ 6433 w 34311"/>
                  <a:gd name="connsiteY0" fmla="*/ 29894 h 38600"/>
                  <a:gd name="connsiteX1" fmla="*/ 30151 w 34311"/>
                  <a:gd name="connsiteY1" fmla="*/ 18357 h 38600"/>
                  <a:gd name="connsiteX2" fmla="*/ 21917 w 34311"/>
                  <a:gd name="connsiteY2" fmla="*/ 6433 h 38600"/>
                  <a:gd name="connsiteX3" fmla="*/ 6433 w 34311"/>
                  <a:gd name="connsiteY3" fmla="*/ 29894 h 38600"/>
                </a:gdLst>
                <a:ahLst/>
                <a:cxnLst>
                  <a:cxn ang="0">
                    <a:pos x="connsiteX0" y="connsiteY0"/>
                  </a:cxn>
                  <a:cxn ang="0">
                    <a:pos x="connsiteX1" y="connsiteY1"/>
                  </a:cxn>
                  <a:cxn ang="0">
                    <a:pos x="connsiteX2" y="connsiteY2"/>
                  </a:cxn>
                  <a:cxn ang="0">
                    <a:pos x="connsiteX3" y="connsiteY3"/>
                  </a:cxn>
                </a:cxnLst>
                <a:rect l="l" t="t" r="r" b="b"/>
                <a:pathLst>
                  <a:path w="34311" h="38600">
                    <a:moveTo>
                      <a:pt x="6433" y="29894"/>
                    </a:moveTo>
                    <a:cubicBezTo>
                      <a:pt x="16212" y="38214"/>
                      <a:pt x="28736" y="30494"/>
                      <a:pt x="30151" y="18357"/>
                    </a:cubicBezTo>
                    <a:cubicBezTo>
                      <a:pt x="30708" y="13767"/>
                      <a:pt x="27235" y="9693"/>
                      <a:pt x="21917" y="6433"/>
                    </a:cubicBezTo>
                    <a:cubicBezTo>
                      <a:pt x="19558" y="15483"/>
                      <a:pt x="14068" y="23889"/>
                      <a:pt x="6433" y="2989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37" name="Freeform: Shape 317">
                <a:extLst>
                  <a:ext uri="{FF2B5EF4-FFF2-40B4-BE49-F238E27FC236}">
                    <a16:creationId xmlns:a16="http://schemas.microsoft.com/office/drawing/2014/main" id="{E5217364-F771-AD12-1F93-D5C69EAE409E}"/>
                  </a:ext>
                </a:extLst>
              </p:cNvPr>
              <p:cNvSpPr/>
              <p:nvPr/>
            </p:nvSpPr>
            <p:spPr>
              <a:xfrm>
                <a:off x="8202740" y="1252091"/>
                <a:ext cx="118092" cy="55766"/>
              </a:xfrm>
              <a:custGeom>
                <a:avLst/>
                <a:gdLst>
                  <a:gd name="connsiteX0" fmla="*/ 141257 w 154401"/>
                  <a:gd name="connsiteY0" fmla="*/ 6433 h 72911"/>
                  <a:gd name="connsiteX1" fmla="*/ 135166 w 154401"/>
                  <a:gd name="connsiteY1" fmla="*/ 7248 h 72911"/>
                  <a:gd name="connsiteX2" fmla="*/ 82069 w 154401"/>
                  <a:gd name="connsiteY2" fmla="*/ 16770 h 72911"/>
                  <a:gd name="connsiteX3" fmla="*/ 84171 w 154401"/>
                  <a:gd name="connsiteY3" fmla="*/ 19172 h 72911"/>
                  <a:gd name="connsiteX4" fmla="*/ 38751 w 154401"/>
                  <a:gd name="connsiteY4" fmla="*/ 38557 h 72911"/>
                  <a:gd name="connsiteX5" fmla="*/ 7142 w 154401"/>
                  <a:gd name="connsiteY5" fmla="*/ 59101 h 72911"/>
                  <a:gd name="connsiteX6" fmla="*/ 62426 w 154401"/>
                  <a:gd name="connsiteY6" fmla="*/ 62533 h 72911"/>
                  <a:gd name="connsiteX7" fmla="*/ 89103 w 154401"/>
                  <a:gd name="connsiteY7" fmla="*/ 51081 h 72911"/>
                  <a:gd name="connsiteX8" fmla="*/ 128605 w 154401"/>
                  <a:gd name="connsiteY8" fmla="*/ 27106 h 72911"/>
                  <a:gd name="connsiteX9" fmla="*/ 141257 w 154401"/>
                  <a:gd name="connsiteY9" fmla="*/ 6433 h 7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01" h="72911">
                    <a:moveTo>
                      <a:pt x="141257" y="6433"/>
                    </a:moveTo>
                    <a:cubicBezTo>
                      <a:pt x="139241" y="6691"/>
                      <a:pt x="137182" y="6991"/>
                      <a:pt x="135166" y="7248"/>
                    </a:cubicBezTo>
                    <a:cubicBezTo>
                      <a:pt x="117368" y="9822"/>
                      <a:pt x="99697" y="13124"/>
                      <a:pt x="82069" y="16770"/>
                    </a:cubicBezTo>
                    <a:cubicBezTo>
                      <a:pt x="82584" y="17628"/>
                      <a:pt x="83270" y="18400"/>
                      <a:pt x="84171" y="19172"/>
                    </a:cubicBezTo>
                    <a:cubicBezTo>
                      <a:pt x="97982" y="30580"/>
                      <a:pt x="45656" y="27149"/>
                      <a:pt x="38751" y="38557"/>
                    </a:cubicBezTo>
                    <a:cubicBezTo>
                      <a:pt x="31846" y="50009"/>
                      <a:pt x="1438" y="45849"/>
                      <a:pt x="7142" y="59101"/>
                    </a:cubicBezTo>
                    <a:cubicBezTo>
                      <a:pt x="13061" y="72826"/>
                      <a:pt x="62426" y="73984"/>
                      <a:pt x="62426" y="62533"/>
                    </a:cubicBezTo>
                    <a:cubicBezTo>
                      <a:pt x="62426" y="51081"/>
                      <a:pt x="88117" y="61375"/>
                      <a:pt x="89103" y="51081"/>
                    </a:cubicBezTo>
                    <a:cubicBezTo>
                      <a:pt x="90090" y="40831"/>
                      <a:pt x="100984" y="29422"/>
                      <a:pt x="128605" y="27106"/>
                    </a:cubicBezTo>
                    <a:cubicBezTo>
                      <a:pt x="151679" y="25305"/>
                      <a:pt x="155453" y="17070"/>
                      <a:pt x="141257" y="643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38" name="Freeform: Shape 318">
                <a:extLst>
                  <a:ext uri="{FF2B5EF4-FFF2-40B4-BE49-F238E27FC236}">
                    <a16:creationId xmlns:a16="http://schemas.microsoft.com/office/drawing/2014/main" id="{3351E413-A805-7956-CEBB-0F8A21C7F8AE}"/>
                  </a:ext>
                </a:extLst>
              </p:cNvPr>
              <p:cNvSpPr/>
              <p:nvPr/>
            </p:nvSpPr>
            <p:spPr>
              <a:xfrm>
                <a:off x="8429691" y="1215052"/>
                <a:ext cx="88569" cy="26242"/>
              </a:xfrm>
              <a:custGeom>
                <a:avLst/>
                <a:gdLst>
                  <a:gd name="connsiteX0" fmla="*/ 98345 w 115801"/>
                  <a:gd name="connsiteY0" fmla="*/ 9656 h 34311"/>
                  <a:gd name="connsiteX1" fmla="*/ 51510 w 115801"/>
                  <a:gd name="connsiteY1" fmla="*/ 7211 h 34311"/>
                  <a:gd name="connsiteX2" fmla="*/ 17627 w 115801"/>
                  <a:gd name="connsiteY2" fmla="*/ 13259 h 34311"/>
                  <a:gd name="connsiteX3" fmla="*/ 7763 w 115801"/>
                  <a:gd name="connsiteY3" fmla="*/ 15918 h 34311"/>
                  <a:gd name="connsiteX4" fmla="*/ 6433 w 115801"/>
                  <a:gd name="connsiteY4" fmla="*/ 16347 h 34311"/>
                  <a:gd name="connsiteX5" fmla="*/ 49194 w 115801"/>
                  <a:gd name="connsiteY5" fmla="*/ 28827 h 34311"/>
                  <a:gd name="connsiteX6" fmla="*/ 81747 w 115801"/>
                  <a:gd name="connsiteY6" fmla="*/ 13988 h 34311"/>
                  <a:gd name="connsiteX7" fmla="*/ 109454 w 115801"/>
                  <a:gd name="connsiteY7" fmla="*/ 12272 h 34311"/>
                  <a:gd name="connsiteX8" fmla="*/ 98345 w 115801"/>
                  <a:gd name="connsiteY8" fmla="*/ 9656 h 34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801" h="34311">
                    <a:moveTo>
                      <a:pt x="98345" y="9656"/>
                    </a:moveTo>
                    <a:cubicBezTo>
                      <a:pt x="82605" y="6225"/>
                      <a:pt x="66993" y="5753"/>
                      <a:pt x="51510" y="7211"/>
                    </a:cubicBezTo>
                    <a:cubicBezTo>
                      <a:pt x="51768" y="12186"/>
                      <a:pt x="31309" y="12615"/>
                      <a:pt x="17627" y="13259"/>
                    </a:cubicBezTo>
                    <a:cubicBezTo>
                      <a:pt x="14325" y="14116"/>
                      <a:pt x="11023" y="14974"/>
                      <a:pt x="7763" y="15918"/>
                    </a:cubicBezTo>
                    <a:cubicBezTo>
                      <a:pt x="7334" y="16046"/>
                      <a:pt x="6905" y="16218"/>
                      <a:pt x="6433" y="16347"/>
                    </a:cubicBezTo>
                    <a:cubicBezTo>
                      <a:pt x="10079" y="22780"/>
                      <a:pt x="26935" y="28827"/>
                      <a:pt x="49194" y="28827"/>
                    </a:cubicBezTo>
                    <a:cubicBezTo>
                      <a:pt x="72869" y="28827"/>
                      <a:pt x="65964" y="11672"/>
                      <a:pt x="81747" y="13988"/>
                    </a:cubicBezTo>
                    <a:cubicBezTo>
                      <a:pt x="91955" y="15489"/>
                      <a:pt x="104135" y="15489"/>
                      <a:pt x="109454" y="12272"/>
                    </a:cubicBezTo>
                    <a:cubicBezTo>
                      <a:pt x="105808" y="11372"/>
                      <a:pt x="102120" y="10471"/>
                      <a:pt x="98345" y="965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39" name="Freeform: Shape 319">
                <a:extLst>
                  <a:ext uri="{FF2B5EF4-FFF2-40B4-BE49-F238E27FC236}">
                    <a16:creationId xmlns:a16="http://schemas.microsoft.com/office/drawing/2014/main" id="{81AD66A0-933B-21DC-EECA-37A203275FF2}"/>
                  </a:ext>
                </a:extLst>
              </p:cNvPr>
              <p:cNvSpPr/>
              <p:nvPr/>
            </p:nvSpPr>
            <p:spPr>
              <a:xfrm>
                <a:off x="8429050" y="1275953"/>
                <a:ext cx="95130" cy="42644"/>
              </a:xfrm>
              <a:custGeom>
                <a:avLst/>
                <a:gdLst>
                  <a:gd name="connsiteX0" fmla="*/ 54964 w 124378"/>
                  <a:gd name="connsiteY0" fmla="*/ 10875 h 55756"/>
                  <a:gd name="connsiteX1" fmla="*/ 30259 w 124378"/>
                  <a:gd name="connsiteY1" fmla="*/ 21168 h 55756"/>
                  <a:gd name="connsiteX2" fmla="*/ 10487 w 124378"/>
                  <a:gd name="connsiteY2" fmla="*/ 43985 h 55756"/>
                  <a:gd name="connsiteX3" fmla="*/ 83571 w 124378"/>
                  <a:gd name="connsiteY3" fmla="*/ 37123 h 55756"/>
                  <a:gd name="connsiteX4" fmla="*/ 119126 w 124378"/>
                  <a:gd name="connsiteY4" fmla="*/ 21168 h 55756"/>
                  <a:gd name="connsiteX5" fmla="*/ 54964 w 124378"/>
                  <a:gd name="connsiteY5" fmla="*/ 10875 h 5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378" h="55756">
                    <a:moveTo>
                      <a:pt x="54964" y="10875"/>
                    </a:moveTo>
                    <a:cubicBezTo>
                      <a:pt x="57923" y="19967"/>
                      <a:pt x="50031" y="21168"/>
                      <a:pt x="30259" y="21168"/>
                    </a:cubicBezTo>
                    <a:cubicBezTo>
                      <a:pt x="10487" y="21168"/>
                      <a:pt x="194" y="34078"/>
                      <a:pt x="10487" y="43985"/>
                    </a:cubicBezTo>
                    <a:cubicBezTo>
                      <a:pt x="22368" y="55437"/>
                      <a:pt x="74650" y="50848"/>
                      <a:pt x="83571" y="37123"/>
                    </a:cubicBezTo>
                    <a:cubicBezTo>
                      <a:pt x="92449" y="23441"/>
                      <a:pt x="115180" y="34850"/>
                      <a:pt x="119126" y="21168"/>
                    </a:cubicBezTo>
                    <a:cubicBezTo>
                      <a:pt x="123072" y="7444"/>
                      <a:pt x="51962" y="1739"/>
                      <a:pt x="54964" y="1087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40" name="Freeform: Shape 320">
                <a:extLst>
                  <a:ext uri="{FF2B5EF4-FFF2-40B4-BE49-F238E27FC236}">
                    <a16:creationId xmlns:a16="http://schemas.microsoft.com/office/drawing/2014/main" id="{C2F9A717-1D4C-D74E-2289-CE39797F6B13}"/>
                  </a:ext>
                </a:extLst>
              </p:cNvPr>
              <p:cNvSpPr/>
              <p:nvPr/>
            </p:nvSpPr>
            <p:spPr>
              <a:xfrm>
                <a:off x="8385388" y="1229157"/>
                <a:ext cx="98410" cy="45925"/>
              </a:xfrm>
              <a:custGeom>
                <a:avLst/>
                <a:gdLst>
                  <a:gd name="connsiteX0" fmla="*/ 123888 w 128667"/>
                  <a:gd name="connsiteY0" fmla="*/ 32086 h 60045"/>
                  <a:gd name="connsiteX1" fmla="*/ 66631 w 128667"/>
                  <a:gd name="connsiteY1" fmla="*/ 14931 h 60045"/>
                  <a:gd name="connsiteX2" fmla="*/ 42913 w 128667"/>
                  <a:gd name="connsiteY2" fmla="*/ 20635 h 60045"/>
                  <a:gd name="connsiteX3" fmla="*/ 7358 w 128667"/>
                  <a:gd name="connsiteY3" fmla="*/ 44610 h 60045"/>
                  <a:gd name="connsiteX4" fmla="*/ 123888 w 128667"/>
                  <a:gd name="connsiteY4" fmla="*/ 32086 h 60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667" h="60045">
                    <a:moveTo>
                      <a:pt x="123888" y="32086"/>
                    </a:moveTo>
                    <a:cubicBezTo>
                      <a:pt x="126848" y="8111"/>
                      <a:pt x="92322" y="27497"/>
                      <a:pt x="66631" y="14931"/>
                    </a:cubicBezTo>
                    <a:cubicBezTo>
                      <a:pt x="40941" y="2364"/>
                      <a:pt x="25843" y="3308"/>
                      <a:pt x="42913" y="20635"/>
                    </a:cubicBezTo>
                    <a:cubicBezTo>
                      <a:pt x="50848" y="28655"/>
                      <a:pt x="-1048" y="34874"/>
                      <a:pt x="7358" y="44610"/>
                    </a:cubicBezTo>
                    <a:cubicBezTo>
                      <a:pt x="26100" y="66355"/>
                      <a:pt x="120929" y="56061"/>
                      <a:pt x="123888" y="3208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41" name="Freeform: Shape 321">
                <a:extLst>
                  <a:ext uri="{FF2B5EF4-FFF2-40B4-BE49-F238E27FC236}">
                    <a16:creationId xmlns:a16="http://schemas.microsoft.com/office/drawing/2014/main" id="{0E75FC8B-C9A4-9281-EEC4-A9DBE940B177}"/>
                  </a:ext>
                </a:extLst>
              </p:cNvPr>
              <p:cNvSpPr/>
              <p:nvPr/>
            </p:nvSpPr>
            <p:spPr>
              <a:xfrm>
                <a:off x="8311304" y="1511420"/>
                <a:ext cx="462528" cy="373959"/>
              </a:xfrm>
              <a:custGeom>
                <a:avLst/>
                <a:gdLst>
                  <a:gd name="connsiteX0" fmla="*/ 593073 w 604739"/>
                  <a:gd name="connsiteY0" fmla="*/ 13615 h 488938"/>
                  <a:gd name="connsiteX1" fmla="*/ 490353 w 604739"/>
                  <a:gd name="connsiteY1" fmla="*/ 36475 h 488938"/>
                  <a:gd name="connsiteX2" fmla="*/ 436055 w 604739"/>
                  <a:gd name="connsiteY2" fmla="*/ 51315 h 488938"/>
                  <a:gd name="connsiteX3" fmla="*/ 386304 w 604739"/>
                  <a:gd name="connsiteY3" fmla="*/ 63968 h 488938"/>
                  <a:gd name="connsiteX4" fmla="*/ 365674 w 604739"/>
                  <a:gd name="connsiteY4" fmla="*/ 66026 h 488938"/>
                  <a:gd name="connsiteX5" fmla="*/ 360527 w 604739"/>
                  <a:gd name="connsiteY5" fmla="*/ 65383 h 488938"/>
                  <a:gd name="connsiteX6" fmla="*/ 334279 w 604739"/>
                  <a:gd name="connsiteY6" fmla="*/ 69329 h 488938"/>
                  <a:gd name="connsiteX7" fmla="*/ 307387 w 604739"/>
                  <a:gd name="connsiteY7" fmla="*/ 79879 h 488938"/>
                  <a:gd name="connsiteX8" fmla="*/ 306058 w 604739"/>
                  <a:gd name="connsiteY8" fmla="*/ 79837 h 488938"/>
                  <a:gd name="connsiteX9" fmla="*/ 285514 w 604739"/>
                  <a:gd name="connsiteY9" fmla="*/ 86056 h 488938"/>
                  <a:gd name="connsiteX10" fmla="*/ 278652 w 604739"/>
                  <a:gd name="connsiteY10" fmla="*/ 86999 h 488938"/>
                  <a:gd name="connsiteX11" fmla="*/ 219035 w 604739"/>
                  <a:gd name="connsiteY11" fmla="*/ 133920 h 488938"/>
                  <a:gd name="connsiteX12" fmla="*/ 182622 w 604739"/>
                  <a:gd name="connsiteY12" fmla="*/ 140482 h 488938"/>
                  <a:gd name="connsiteX13" fmla="*/ 168341 w 604739"/>
                  <a:gd name="connsiteY13" fmla="*/ 154893 h 488938"/>
                  <a:gd name="connsiteX14" fmla="*/ 173401 w 604739"/>
                  <a:gd name="connsiteY14" fmla="*/ 163256 h 488938"/>
                  <a:gd name="connsiteX15" fmla="*/ 154616 w 604739"/>
                  <a:gd name="connsiteY15" fmla="*/ 188347 h 488938"/>
                  <a:gd name="connsiteX16" fmla="*/ 144751 w 604739"/>
                  <a:gd name="connsiteY16" fmla="*/ 213480 h 488938"/>
                  <a:gd name="connsiteX17" fmla="*/ 117388 w 604739"/>
                  <a:gd name="connsiteY17" fmla="*/ 230335 h 488938"/>
                  <a:gd name="connsiteX18" fmla="*/ 113013 w 604739"/>
                  <a:gd name="connsiteY18" fmla="*/ 243888 h 488938"/>
                  <a:gd name="connsiteX19" fmla="*/ 105379 w 604739"/>
                  <a:gd name="connsiteY19" fmla="*/ 256112 h 488938"/>
                  <a:gd name="connsiteX20" fmla="*/ 112156 w 604739"/>
                  <a:gd name="connsiteY20" fmla="*/ 258085 h 488938"/>
                  <a:gd name="connsiteX21" fmla="*/ 103277 w 604739"/>
                  <a:gd name="connsiteY21" fmla="*/ 279787 h 488938"/>
                  <a:gd name="connsiteX22" fmla="*/ 73641 w 604739"/>
                  <a:gd name="connsiteY22" fmla="*/ 296899 h 488938"/>
                  <a:gd name="connsiteX23" fmla="*/ 49923 w 604739"/>
                  <a:gd name="connsiteY23" fmla="*/ 316328 h 488938"/>
                  <a:gd name="connsiteX24" fmla="*/ 44776 w 604739"/>
                  <a:gd name="connsiteY24" fmla="*/ 317014 h 488938"/>
                  <a:gd name="connsiteX25" fmla="*/ 44433 w 604739"/>
                  <a:gd name="connsiteY25" fmla="*/ 321046 h 488938"/>
                  <a:gd name="connsiteX26" fmla="*/ 60774 w 604739"/>
                  <a:gd name="connsiteY26" fmla="*/ 342534 h 488938"/>
                  <a:gd name="connsiteX27" fmla="*/ 41045 w 604739"/>
                  <a:gd name="connsiteY27" fmla="*/ 365394 h 488938"/>
                  <a:gd name="connsiteX28" fmla="*/ 18957 w 604739"/>
                  <a:gd name="connsiteY28" fmla="*/ 376073 h 488938"/>
                  <a:gd name="connsiteX29" fmla="*/ 14668 w 604739"/>
                  <a:gd name="connsiteY29" fmla="*/ 394987 h 488938"/>
                  <a:gd name="connsiteX30" fmla="*/ 6433 w 604739"/>
                  <a:gd name="connsiteY30" fmla="*/ 409998 h 488938"/>
                  <a:gd name="connsiteX31" fmla="*/ 33153 w 604739"/>
                  <a:gd name="connsiteY31" fmla="*/ 413344 h 488938"/>
                  <a:gd name="connsiteX32" fmla="*/ 39072 w 604739"/>
                  <a:gd name="connsiteY32" fmla="*/ 441865 h 488938"/>
                  <a:gd name="connsiteX33" fmla="*/ 51939 w 604739"/>
                  <a:gd name="connsiteY33" fmla="*/ 429299 h 488938"/>
                  <a:gd name="connsiteX34" fmla="*/ 78573 w 604739"/>
                  <a:gd name="connsiteY34" fmla="*/ 451001 h 488938"/>
                  <a:gd name="connsiteX35" fmla="*/ 121076 w 604739"/>
                  <a:gd name="connsiteY35" fmla="*/ 478407 h 488938"/>
                  <a:gd name="connsiteX36" fmla="*/ 207927 w 604739"/>
                  <a:gd name="connsiteY36" fmla="*/ 478407 h 488938"/>
                  <a:gd name="connsiteX37" fmla="*/ 162508 w 604739"/>
                  <a:gd name="connsiteY37" fmla="*/ 431572 h 488938"/>
                  <a:gd name="connsiteX38" fmla="*/ 150670 w 604739"/>
                  <a:gd name="connsiteY38" fmla="*/ 348238 h 488938"/>
                  <a:gd name="connsiteX39" fmla="*/ 177304 w 604739"/>
                  <a:gd name="connsiteY39" fmla="*/ 303676 h 488938"/>
                  <a:gd name="connsiteX40" fmla="*/ 193259 w 604739"/>
                  <a:gd name="connsiteY40" fmla="*/ 278543 h 488938"/>
                  <a:gd name="connsiteX41" fmla="*/ 194203 w 604739"/>
                  <a:gd name="connsiteY41" fmla="*/ 228362 h 488938"/>
                  <a:gd name="connsiteX42" fmla="*/ 245541 w 604739"/>
                  <a:gd name="connsiteY42" fmla="*/ 199970 h 488938"/>
                  <a:gd name="connsiteX43" fmla="*/ 245498 w 604739"/>
                  <a:gd name="connsiteY43" fmla="*/ 199755 h 488938"/>
                  <a:gd name="connsiteX44" fmla="*/ 267072 w 604739"/>
                  <a:gd name="connsiteY44" fmla="*/ 193708 h 488938"/>
                  <a:gd name="connsiteX45" fmla="*/ 270503 w 604739"/>
                  <a:gd name="connsiteY45" fmla="*/ 192378 h 488938"/>
                  <a:gd name="connsiteX46" fmla="*/ 277065 w 604739"/>
                  <a:gd name="connsiteY46" fmla="*/ 187231 h 488938"/>
                  <a:gd name="connsiteX47" fmla="*/ 287015 w 604739"/>
                  <a:gd name="connsiteY47" fmla="*/ 180626 h 488938"/>
                  <a:gd name="connsiteX48" fmla="*/ 313478 w 604739"/>
                  <a:gd name="connsiteY48" fmla="*/ 172778 h 488938"/>
                  <a:gd name="connsiteX49" fmla="*/ 321498 w 604739"/>
                  <a:gd name="connsiteY49" fmla="*/ 163256 h 488938"/>
                  <a:gd name="connsiteX50" fmla="*/ 507166 w 604739"/>
                  <a:gd name="connsiteY50" fmla="*/ 82153 h 488938"/>
                  <a:gd name="connsiteX51" fmla="*/ 593073 w 604739"/>
                  <a:gd name="connsiteY51" fmla="*/ 13615 h 488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4739" h="488938">
                    <a:moveTo>
                      <a:pt x="593073" y="13615"/>
                    </a:moveTo>
                    <a:cubicBezTo>
                      <a:pt x="570342" y="-6928"/>
                      <a:pt x="506180" y="21636"/>
                      <a:pt x="490353" y="36475"/>
                    </a:cubicBezTo>
                    <a:cubicBezTo>
                      <a:pt x="474527" y="51315"/>
                      <a:pt x="451839" y="41022"/>
                      <a:pt x="436055" y="51315"/>
                    </a:cubicBezTo>
                    <a:cubicBezTo>
                      <a:pt x="424475" y="58864"/>
                      <a:pt x="403374" y="65726"/>
                      <a:pt x="386304" y="63968"/>
                    </a:cubicBezTo>
                    <a:cubicBezTo>
                      <a:pt x="380257" y="66455"/>
                      <a:pt x="373351" y="67399"/>
                      <a:pt x="365674" y="66026"/>
                    </a:cubicBezTo>
                    <a:cubicBezTo>
                      <a:pt x="363916" y="65726"/>
                      <a:pt x="362243" y="65597"/>
                      <a:pt x="360527" y="65383"/>
                    </a:cubicBezTo>
                    <a:cubicBezTo>
                      <a:pt x="351906" y="64782"/>
                      <a:pt x="343114" y="66584"/>
                      <a:pt x="334279" y="69329"/>
                    </a:cubicBezTo>
                    <a:cubicBezTo>
                      <a:pt x="328489" y="76405"/>
                      <a:pt x="319525" y="80823"/>
                      <a:pt x="307387" y="79879"/>
                    </a:cubicBezTo>
                    <a:cubicBezTo>
                      <a:pt x="306959" y="79837"/>
                      <a:pt x="306530" y="79879"/>
                      <a:pt x="306058" y="79837"/>
                    </a:cubicBezTo>
                    <a:cubicBezTo>
                      <a:pt x="299067" y="82453"/>
                      <a:pt x="292205" y="84769"/>
                      <a:pt x="285514" y="86056"/>
                    </a:cubicBezTo>
                    <a:cubicBezTo>
                      <a:pt x="283326" y="86484"/>
                      <a:pt x="281011" y="86742"/>
                      <a:pt x="278652" y="86999"/>
                    </a:cubicBezTo>
                    <a:cubicBezTo>
                      <a:pt x="258022" y="100381"/>
                      <a:pt x="238807" y="117751"/>
                      <a:pt x="219035" y="133920"/>
                    </a:cubicBezTo>
                    <a:cubicBezTo>
                      <a:pt x="207327" y="143484"/>
                      <a:pt x="194031" y="144514"/>
                      <a:pt x="182622" y="140482"/>
                    </a:cubicBezTo>
                    <a:cubicBezTo>
                      <a:pt x="177776" y="145200"/>
                      <a:pt x="173015" y="150004"/>
                      <a:pt x="168341" y="154893"/>
                    </a:cubicBezTo>
                    <a:cubicBezTo>
                      <a:pt x="169327" y="157766"/>
                      <a:pt x="170957" y="160640"/>
                      <a:pt x="173401" y="163256"/>
                    </a:cubicBezTo>
                    <a:cubicBezTo>
                      <a:pt x="187212" y="178096"/>
                      <a:pt x="147753" y="179211"/>
                      <a:pt x="154616" y="188347"/>
                    </a:cubicBezTo>
                    <a:cubicBezTo>
                      <a:pt x="161564" y="197482"/>
                      <a:pt x="139819" y="203229"/>
                      <a:pt x="144751" y="213480"/>
                    </a:cubicBezTo>
                    <a:cubicBezTo>
                      <a:pt x="149555" y="223473"/>
                      <a:pt x="131970" y="226990"/>
                      <a:pt x="117388" y="230335"/>
                    </a:cubicBezTo>
                    <a:cubicBezTo>
                      <a:pt x="116659" y="234967"/>
                      <a:pt x="115115" y="239513"/>
                      <a:pt x="113013" y="243888"/>
                    </a:cubicBezTo>
                    <a:cubicBezTo>
                      <a:pt x="110912" y="248220"/>
                      <a:pt x="108295" y="252295"/>
                      <a:pt x="105379" y="256112"/>
                    </a:cubicBezTo>
                    <a:cubicBezTo>
                      <a:pt x="107094" y="257141"/>
                      <a:pt x="109239" y="257913"/>
                      <a:pt x="112156" y="258085"/>
                    </a:cubicBezTo>
                    <a:cubicBezTo>
                      <a:pt x="130941" y="259243"/>
                      <a:pt x="101262" y="262674"/>
                      <a:pt x="103277" y="279787"/>
                    </a:cubicBezTo>
                    <a:cubicBezTo>
                      <a:pt x="105250" y="296899"/>
                      <a:pt x="72654" y="285491"/>
                      <a:pt x="73641" y="296899"/>
                    </a:cubicBezTo>
                    <a:cubicBezTo>
                      <a:pt x="74627" y="308351"/>
                      <a:pt x="68666" y="316328"/>
                      <a:pt x="49923" y="316328"/>
                    </a:cubicBezTo>
                    <a:cubicBezTo>
                      <a:pt x="47435" y="316328"/>
                      <a:pt x="45805" y="316586"/>
                      <a:pt x="44776" y="317014"/>
                    </a:cubicBezTo>
                    <a:cubicBezTo>
                      <a:pt x="44733" y="318344"/>
                      <a:pt x="44648" y="319716"/>
                      <a:pt x="44433" y="321046"/>
                    </a:cubicBezTo>
                    <a:cubicBezTo>
                      <a:pt x="47907" y="326150"/>
                      <a:pt x="59530" y="334556"/>
                      <a:pt x="60774" y="342534"/>
                    </a:cubicBezTo>
                    <a:cubicBezTo>
                      <a:pt x="62747" y="355100"/>
                      <a:pt x="42031" y="345965"/>
                      <a:pt x="41045" y="365394"/>
                    </a:cubicBezTo>
                    <a:cubicBezTo>
                      <a:pt x="40487" y="376030"/>
                      <a:pt x="29551" y="375001"/>
                      <a:pt x="18957" y="376073"/>
                    </a:cubicBezTo>
                    <a:cubicBezTo>
                      <a:pt x="17585" y="382378"/>
                      <a:pt x="16255" y="388725"/>
                      <a:pt x="14668" y="394987"/>
                    </a:cubicBezTo>
                    <a:cubicBezTo>
                      <a:pt x="13210" y="400820"/>
                      <a:pt x="10208" y="405795"/>
                      <a:pt x="6433" y="409998"/>
                    </a:cubicBezTo>
                    <a:cubicBezTo>
                      <a:pt x="13553" y="413472"/>
                      <a:pt x="24404" y="412701"/>
                      <a:pt x="33153" y="413344"/>
                    </a:cubicBezTo>
                    <a:cubicBezTo>
                      <a:pt x="48937" y="414502"/>
                      <a:pt x="27235" y="431572"/>
                      <a:pt x="39072" y="441865"/>
                    </a:cubicBezTo>
                    <a:cubicBezTo>
                      <a:pt x="50910" y="452159"/>
                      <a:pt x="59787" y="448727"/>
                      <a:pt x="51939" y="429299"/>
                    </a:cubicBezTo>
                    <a:cubicBezTo>
                      <a:pt x="44047" y="409913"/>
                      <a:pt x="93413" y="436161"/>
                      <a:pt x="78573" y="451001"/>
                    </a:cubicBezTo>
                    <a:cubicBezTo>
                      <a:pt x="63776" y="465840"/>
                      <a:pt x="102291" y="477249"/>
                      <a:pt x="121076" y="478407"/>
                    </a:cubicBezTo>
                    <a:cubicBezTo>
                      <a:pt x="139862" y="479565"/>
                      <a:pt x="206426" y="496378"/>
                      <a:pt x="207927" y="478407"/>
                    </a:cubicBezTo>
                    <a:cubicBezTo>
                      <a:pt x="208957" y="466998"/>
                      <a:pt x="183266" y="456705"/>
                      <a:pt x="162508" y="431572"/>
                    </a:cubicBezTo>
                    <a:cubicBezTo>
                      <a:pt x="141792" y="406482"/>
                      <a:pt x="126952" y="365351"/>
                      <a:pt x="150670" y="348238"/>
                    </a:cubicBezTo>
                    <a:cubicBezTo>
                      <a:pt x="174345" y="331082"/>
                      <a:pt x="153629" y="323105"/>
                      <a:pt x="177304" y="303676"/>
                    </a:cubicBezTo>
                    <a:cubicBezTo>
                      <a:pt x="188498" y="294498"/>
                      <a:pt x="191286" y="285619"/>
                      <a:pt x="193259" y="278543"/>
                    </a:cubicBezTo>
                    <a:cubicBezTo>
                      <a:pt x="180907" y="265247"/>
                      <a:pt x="177133" y="244360"/>
                      <a:pt x="194203" y="228362"/>
                    </a:cubicBezTo>
                    <a:cubicBezTo>
                      <a:pt x="209214" y="214295"/>
                      <a:pt x="226198" y="205888"/>
                      <a:pt x="245541" y="199970"/>
                    </a:cubicBezTo>
                    <a:cubicBezTo>
                      <a:pt x="245541" y="199884"/>
                      <a:pt x="245498" y="199798"/>
                      <a:pt x="245498" y="199755"/>
                    </a:cubicBezTo>
                    <a:cubicBezTo>
                      <a:pt x="243268" y="192936"/>
                      <a:pt x="256006" y="196967"/>
                      <a:pt x="267072" y="193708"/>
                    </a:cubicBezTo>
                    <a:cubicBezTo>
                      <a:pt x="268229" y="193279"/>
                      <a:pt x="269387" y="192850"/>
                      <a:pt x="270503" y="192378"/>
                    </a:cubicBezTo>
                    <a:cubicBezTo>
                      <a:pt x="272948" y="191220"/>
                      <a:pt x="275178" y="189590"/>
                      <a:pt x="277065" y="187231"/>
                    </a:cubicBezTo>
                    <a:cubicBezTo>
                      <a:pt x="279681" y="183929"/>
                      <a:pt x="283155" y="181999"/>
                      <a:pt x="287015" y="180626"/>
                    </a:cubicBezTo>
                    <a:cubicBezTo>
                      <a:pt x="295422" y="173421"/>
                      <a:pt x="304771" y="171362"/>
                      <a:pt x="313478" y="172778"/>
                    </a:cubicBezTo>
                    <a:cubicBezTo>
                      <a:pt x="316823" y="170719"/>
                      <a:pt x="319654" y="167760"/>
                      <a:pt x="321498" y="163256"/>
                    </a:cubicBezTo>
                    <a:cubicBezTo>
                      <a:pt x="329390" y="143827"/>
                      <a:pt x="442961" y="99265"/>
                      <a:pt x="507166" y="82153"/>
                    </a:cubicBezTo>
                    <a:cubicBezTo>
                      <a:pt x="571328" y="65040"/>
                      <a:pt x="615762" y="34160"/>
                      <a:pt x="593073" y="1361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42" name="Freeform: Shape 322">
                <a:extLst>
                  <a:ext uri="{FF2B5EF4-FFF2-40B4-BE49-F238E27FC236}">
                    <a16:creationId xmlns:a16="http://schemas.microsoft.com/office/drawing/2014/main" id="{E55FA860-7F10-44E2-CEC6-2B6C88A9A85D}"/>
                  </a:ext>
                </a:extLst>
              </p:cNvPr>
              <p:cNvSpPr/>
              <p:nvPr/>
            </p:nvSpPr>
            <p:spPr>
              <a:xfrm>
                <a:off x="9326740" y="1248253"/>
                <a:ext cx="141055" cy="98410"/>
              </a:xfrm>
              <a:custGeom>
                <a:avLst/>
                <a:gdLst>
                  <a:gd name="connsiteX0" fmla="*/ 177851 w 184424"/>
                  <a:gd name="connsiteY0" fmla="*/ 51338 h 128667"/>
                  <a:gd name="connsiteX1" fmla="*/ 151259 w 184424"/>
                  <a:gd name="connsiteY1" fmla="*/ 63733 h 128667"/>
                  <a:gd name="connsiteX2" fmla="*/ 114846 w 184424"/>
                  <a:gd name="connsiteY2" fmla="*/ 26205 h 128667"/>
                  <a:gd name="connsiteX3" fmla="*/ 114846 w 184424"/>
                  <a:gd name="connsiteY3" fmla="*/ 14239 h 128667"/>
                  <a:gd name="connsiteX4" fmla="*/ 111716 w 184424"/>
                  <a:gd name="connsiteY4" fmla="*/ 11409 h 128667"/>
                  <a:gd name="connsiteX5" fmla="*/ 86925 w 184424"/>
                  <a:gd name="connsiteY5" fmla="*/ 13596 h 128667"/>
                  <a:gd name="connsiteX6" fmla="*/ 55531 w 184424"/>
                  <a:gd name="connsiteY6" fmla="*/ 6433 h 128667"/>
                  <a:gd name="connsiteX7" fmla="*/ 56388 w 184424"/>
                  <a:gd name="connsiteY7" fmla="*/ 18442 h 128667"/>
                  <a:gd name="connsiteX8" fmla="*/ 41592 w 184424"/>
                  <a:gd name="connsiteY8" fmla="*/ 44734 h 128667"/>
                  <a:gd name="connsiteX9" fmla="*/ 42578 w 184424"/>
                  <a:gd name="connsiteY9" fmla="*/ 70982 h 128667"/>
                  <a:gd name="connsiteX10" fmla="*/ 34687 w 184424"/>
                  <a:gd name="connsiteY10" fmla="*/ 85864 h 128667"/>
                  <a:gd name="connsiteX11" fmla="*/ 11012 w 184424"/>
                  <a:gd name="connsiteY11" fmla="*/ 99589 h 128667"/>
                  <a:gd name="connsiteX12" fmla="*/ 40648 w 184424"/>
                  <a:gd name="connsiteY12" fmla="*/ 122406 h 128667"/>
                  <a:gd name="connsiteX13" fmla="*/ 42578 w 184424"/>
                  <a:gd name="connsiteY13" fmla="*/ 122792 h 128667"/>
                  <a:gd name="connsiteX14" fmla="*/ 67539 w 184424"/>
                  <a:gd name="connsiteY14" fmla="*/ 112499 h 128667"/>
                  <a:gd name="connsiteX15" fmla="*/ 72472 w 184424"/>
                  <a:gd name="connsiteY15" fmla="*/ 112799 h 128667"/>
                  <a:gd name="connsiteX16" fmla="*/ 80192 w 184424"/>
                  <a:gd name="connsiteY16" fmla="*/ 95000 h 128667"/>
                  <a:gd name="connsiteX17" fmla="*/ 172061 w 184424"/>
                  <a:gd name="connsiteY17" fmla="*/ 63004 h 128667"/>
                  <a:gd name="connsiteX18" fmla="*/ 177851 w 184424"/>
                  <a:gd name="connsiteY18" fmla="*/ 51338 h 12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4424" h="128667">
                    <a:moveTo>
                      <a:pt x="177851" y="51338"/>
                    </a:moveTo>
                    <a:cubicBezTo>
                      <a:pt x="171118" y="58630"/>
                      <a:pt x="161638" y="63262"/>
                      <a:pt x="151259" y="63733"/>
                    </a:cubicBezTo>
                    <a:cubicBezTo>
                      <a:pt x="131616" y="64634"/>
                      <a:pt x="114846" y="45849"/>
                      <a:pt x="114846" y="26205"/>
                    </a:cubicBezTo>
                    <a:lnTo>
                      <a:pt x="114846" y="14239"/>
                    </a:lnTo>
                    <a:cubicBezTo>
                      <a:pt x="113731" y="13381"/>
                      <a:pt x="112745" y="12352"/>
                      <a:pt x="111716" y="11409"/>
                    </a:cubicBezTo>
                    <a:cubicBezTo>
                      <a:pt x="103952" y="15097"/>
                      <a:pt x="95032" y="16212"/>
                      <a:pt x="86925" y="13596"/>
                    </a:cubicBezTo>
                    <a:cubicBezTo>
                      <a:pt x="76632" y="10293"/>
                      <a:pt x="65867" y="9521"/>
                      <a:pt x="55531" y="6433"/>
                    </a:cubicBezTo>
                    <a:cubicBezTo>
                      <a:pt x="50212" y="10637"/>
                      <a:pt x="50041" y="14797"/>
                      <a:pt x="56388" y="18442"/>
                    </a:cubicBezTo>
                    <a:cubicBezTo>
                      <a:pt x="70241" y="26463"/>
                      <a:pt x="56388" y="45849"/>
                      <a:pt x="41592" y="44734"/>
                    </a:cubicBezTo>
                    <a:cubicBezTo>
                      <a:pt x="26795" y="43576"/>
                      <a:pt x="23835" y="61846"/>
                      <a:pt x="42578" y="70982"/>
                    </a:cubicBezTo>
                    <a:cubicBezTo>
                      <a:pt x="61364" y="80117"/>
                      <a:pt x="54458" y="85864"/>
                      <a:pt x="34687" y="85864"/>
                    </a:cubicBezTo>
                    <a:cubicBezTo>
                      <a:pt x="14957" y="85864"/>
                      <a:pt x="-2027" y="93542"/>
                      <a:pt x="11012" y="99589"/>
                    </a:cubicBezTo>
                    <a:cubicBezTo>
                      <a:pt x="20876" y="104178"/>
                      <a:pt x="19889" y="116702"/>
                      <a:pt x="40648" y="122406"/>
                    </a:cubicBezTo>
                    <a:cubicBezTo>
                      <a:pt x="41291" y="122578"/>
                      <a:pt x="41935" y="122663"/>
                      <a:pt x="42578" y="122792"/>
                    </a:cubicBezTo>
                    <a:cubicBezTo>
                      <a:pt x="49140" y="115973"/>
                      <a:pt x="58447" y="112928"/>
                      <a:pt x="67539" y="112499"/>
                    </a:cubicBezTo>
                    <a:cubicBezTo>
                      <a:pt x="69169" y="112413"/>
                      <a:pt x="70799" y="112584"/>
                      <a:pt x="72472" y="112799"/>
                    </a:cubicBezTo>
                    <a:cubicBezTo>
                      <a:pt x="77876" y="107352"/>
                      <a:pt x="81007" y="100661"/>
                      <a:pt x="80192" y="95000"/>
                    </a:cubicBezTo>
                    <a:cubicBezTo>
                      <a:pt x="78176" y="81275"/>
                      <a:pt x="152246" y="68752"/>
                      <a:pt x="172061" y="63004"/>
                    </a:cubicBezTo>
                    <a:cubicBezTo>
                      <a:pt x="179223" y="60946"/>
                      <a:pt x="179438" y="56399"/>
                      <a:pt x="177851" y="5133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43" name="Freeform: Shape 323">
                <a:extLst>
                  <a:ext uri="{FF2B5EF4-FFF2-40B4-BE49-F238E27FC236}">
                    <a16:creationId xmlns:a16="http://schemas.microsoft.com/office/drawing/2014/main" id="{DC9BB737-2D28-5ED7-8C3D-55B1F00CFE5E}"/>
                  </a:ext>
                </a:extLst>
              </p:cNvPr>
              <p:cNvSpPr/>
              <p:nvPr/>
            </p:nvSpPr>
            <p:spPr>
              <a:xfrm>
                <a:off x="9508877" y="1364278"/>
                <a:ext cx="167297" cy="91849"/>
              </a:xfrm>
              <a:custGeom>
                <a:avLst/>
                <a:gdLst>
                  <a:gd name="connsiteX0" fmla="*/ 201082 w 218735"/>
                  <a:gd name="connsiteY0" fmla="*/ 41688 h 120090"/>
                  <a:gd name="connsiteX1" fmla="*/ 180237 w 218735"/>
                  <a:gd name="connsiteY1" fmla="*/ 42032 h 120090"/>
                  <a:gd name="connsiteX2" fmla="*/ 131643 w 218735"/>
                  <a:gd name="connsiteY2" fmla="*/ 24962 h 120090"/>
                  <a:gd name="connsiteX3" fmla="*/ 121436 w 218735"/>
                  <a:gd name="connsiteY3" fmla="*/ 35855 h 120090"/>
                  <a:gd name="connsiteX4" fmla="*/ 121135 w 218735"/>
                  <a:gd name="connsiteY4" fmla="*/ 20673 h 120090"/>
                  <a:gd name="connsiteX5" fmla="*/ 109298 w 218735"/>
                  <a:gd name="connsiteY5" fmla="*/ 15097 h 120090"/>
                  <a:gd name="connsiteX6" fmla="*/ 80433 w 218735"/>
                  <a:gd name="connsiteY6" fmla="*/ 11966 h 120090"/>
                  <a:gd name="connsiteX7" fmla="*/ 69883 w 218735"/>
                  <a:gd name="connsiteY7" fmla="*/ 6433 h 120090"/>
                  <a:gd name="connsiteX8" fmla="*/ 58217 w 218735"/>
                  <a:gd name="connsiteY8" fmla="*/ 35855 h 120090"/>
                  <a:gd name="connsiteX9" fmla="*/ 33513 w 218735"/>
                  <a:gd name="connsiteY9" fmla="*/ 57557 h 120090"/>
                  <a:gd name="connsiteX10" fmla="*/ 9795 w 218735"/>
                  <a:gd name="connsiteY10" fmla="*/ 112370 h 120090"/>
                  <a:gd name="connsiteX11" fmla="*/ 97675 w 218735"/>
                  <a:gd name="connsiteY11" fmla="*/ 102077 h 120090"/>
                  <a:gd name="connsiteX12" fmla="*/ 213219 w 218735"/>
                  <a:gd name="connsiteY12" fmla="*/ 57557 h 120090"/>
                  <a:gd name="connsiteX13" fmla="*/ 201082 w 218735"/>
                  <a:gd name="connsiteY13" fmla="*/ 41688 h 120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8735" h="120090">
                    <a:moveTo>
                      <a:pt x="201082" y="41688"/>
                    </a:moveTo>
                    <a:cubicBezTo>
                      <a:pt x="194391" y="44176"/>
                      <a:pt x="187143" y="44605"/>
                      <a:pt x="180237" y="42032"/>
                    </a:cubicBezTo>
                    <a:cubicBezTo>
                      <a:pt x="164111" y="35984"/>
                      <a:pt x="147641" y="31052"/>
                      <a:pt x="131643" y="24962"/>
                    </a:cubicBezTo>
                    <a:cubicBezTo>
                      <a:pt x="127098" y="28135"/>
                      <a:pt x="123366" y="31995"/>
                      <a:pt x="121436" y="35855"/>
                    </a:cubicBezTo>
                    <a:cubicBezTo>
                      <a:pt x="115088" y="48379"/>
                      <a:pt x="108054" y="38943"/>
                      <a:pt x="121135" y="20673"/>
                    </a:cubicBezTo>
                    <a:cubicBezTo>
                      <a:pt x="117147" y="18957"/>
                      <a:pt x="113201" y="17070"/>
                      <a:pt x="109298" y="15097"/>
                    </a:cubicBezTo>
                    <a:cubicBezTo>
                      <a:pt x="99862" y="17670"/>
                      <a:pt x="89312" y="16555"/>
                      <a:pt x="80433" y="11966"/>
                    </a:cubicBezTo>
                    <a:cubicBezTo>
                      <a:pt x="76873" y="10165"/>
                      <a:pt x="73357" y="8278"/>
                      <a:pt x="69883" y="6433"/>
                    </a:cubicBezTo>
                    <a:cubicBezTo>
                      <a:pt x="68939" y="17971"/>
                      <a:pt x="57274" y="23804"/>
                      <a:pt x="58217" y="35855"/>
                    </a:cubicBezTo>
                    <a:cubicBezTo>
                      <a:pt x="59203" y="48422"/>
                      <a:pt x="34499" y="28993"/>
                      <a:pt x="33513" y="57557"/>
                    </a:cubicBezTo>
                    <a:cubicBezTo>
                      <a:pt x="32526" y="86122"/>
                      <a:pt x="-4744" y="102763"/>
                      <a:pt x="9795" y="112370"/>
                    </a:cubicBezTo>
                    <a:cubicBezTo>
                      <a:pt x="23648" y="121505"/>
                      <a:pt x="68039" y="100961"/>
                      <a:pt x="97675" y="102077"/>
                    </a:cubicBezTo>
                    <a:cubicBezTo>
                      <a:pt x="127311" y="103235"/>
                      <a:pt x="210259" y="75785"/>
                      <a:pt x="213219" y="57557"/>
                    </a:cubicBezTo>
                    <a:cubicBezTo>
                      <a:pt x="214591" y="49580"/>
                      <a:pt x="208930" y="45291"/>
                      <a:pt x="201082" y="4168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44" name="Freeform: Shape 324">
                <a:extLst>
                  <a:ext uri="{FF2B5EF4-FFF2-40B4-BE49-F238E27FC236}">
                    <a16:creationId xmlns:a16="http://schemas.microsoft.com/office/drawing/2014/main" id="{D7AFA915-1B79-358A-F93B-3D1E693F5C1E}"/>
                  </a:ext>
                </a:extLst>
              </p:cNvPr>
              <p:cNvSpPr/>
              <p:nvPr/>
            </p:nvSpPr>
            <p:spPr>
              <a:xfrm>
                <a:off x="9386828" y="1301845"/>
                <a:ext cx="144335" cy="98410"/>
              </a:xfrm>
              <a:custGeom>
                <a:avLst/>
                <a:gdLst>
                  <a:gd name="connsiteX0" fmla="*/ 183266 w 188712"/>
                  <a:gd name="connsiteY0" fmla="*/ 52335 h 128667"/>
                  <a:gd name="connsiteX1" fmla="*/ 178762 w 188712"/>
                  <a:gd name="connsiteY1" fmla="*/ 30762 h 128667"/>
                  <a:gd name="connsiteX2" fmla="*/ 133857 w 188712"/>
                  <a:gd name="connsiteY2" fmla="*/ 27245 h 128667"/>
                  <a:gd name="connsiteX3" fmla="*/ 109153 w 188712"/>
                  <a:gd name="connsiteY3" fmla="*/ 10089 h 128667"/>
                  <a:gd name="connsiteX4" fmla="*/ 16341 w 188712"/>
                  <a:gd name="connsiteY4" fmla="*/ 32949 h 128667"/>
                  <a:gd name="connsiteX5" fmla="*/ 6433 w 188712"/>
                  <a:gd name="connsiteY5" fmla="*/ 47189 h 128667"/>
                  <a:gd name="connsiteX6" fmla="*/ 14668 w 188712"/>
                  <a:gd name="connsiteY6" fmla="*/ 53450 h 128667"/>
                  <a:gd name="connsiteX7" fmla="*/ 25347 w 188712"/>
                  <a:gd name="connsiteY7" fmla="*/ 76739 h 128667"/>
                  <a:gd name="connsiteX8" fmla="*/ 27706 w 188712"/>
                  <a:gd name="connsiteY8" fmla="*/ 77554 h 128667"/>
                  <a:gd name="connsiteX9" fmla="*/ 52282 w 188712"/>
                  <a:gd name="connsiteY9" fmla="*/ 101315 h 128667"/>
                  <a:gd name="connsiteX10" fmla="*/ 83591 w 188712"/>
                  <a:gd name="connsiteY10" fmla="*/ 107534 h 128667"/>
                  <a:gd name="connsiteX11" fmla="*/ 101776 w 188712"/>
                  <a:gd name="connsiteY11" fmla="*/ 106247 h 128667"/>
                  <a:gd name="connsiteX12" fmla="*/ 131799 w 188712"/>
                  <a:gd name="connsiteY12" fmla="*/ 122674 h 128667"/>
                  <a:gd name="connsiteX13" fmla="*/ 145695 w 188712"/>
                  <a:gd name="connsiteY13" fmla="*/ 124346 h 128667"/>
                  <a:gd name="connsiteX14" fmla="*/ 168383 w 188712"/>
                  <a:gd name="connsiteY14" fmla="*/ 95782 h 128667"/>
                  <a:gd name="connsiteX15" fmla="*/ 183180 w 188712"/>
                  <a:gd name="connsiteY15" fmla="*/ 52421 h 128667"/>
                  <a:gd name="connsiteX16" fmla="*/ 183266 w 188712"/>
                  <a:gd name="connsiteY16" fmla="*/ 52335 h 12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8712" h="128667">
                    <a:moveTo>
                      <a:pt x="183266" y="52335"/>
                    </a:moveTo>
                    <a:cubicBezTo>
                      <a:pt x="179663" y="45730"/>
                      <a:pt x="177991" y="38439"/>
                      <a:pt x="178762" y="30762"/>
                    </a:cubicBezTo>
                    <a:cubicBezTo>
                      <a:pt x="164652" y="17895"/>
                      <a:pt x="133857" y="13134"/>
                      <a:pt x="133857" y="27245"/>
                    </a:cubicBezTo>
                    <a:cubicBezTo>
                      <a:pt x="133857" y="47789"/>
                      <a:pt x="115072" y="22699"/>
                      <a:pt x="109153" y="10089"/>
                    </a:cubicBezTo>
                    <a:cubicBezTo>
                      <a:pt x="103235" y="-2477"/>
                      <a:pt x="16341" y="20383"/>
                      <a:pt x="16341" y="32949"/>
                    </a:cubicBezTo>
                    <a:cubicBezTo>
                      <a:pt x="16341" y="37753"/>
                      <a:pt x="11666" y="42557"/>
                      <a:pt x="6433" y="47189"/>
                    </a:cubicBezTo>
                    <a:cubicBezTo>
                      <a:pt x="9521" y="48947"/>
                      <a:pt x="12352" y="51092"/>
                      <a:pt x="14668" y="53450"/>
                    </a:cubicBezTo>
                    <a:cubicBezTo>
                      <a:pt x="19986" y="58940"/>
                      <a:pt x="24876" y="68376"/>
                      <a:pt x="25347" y="76739"/>
                    </a:cubicBezTo>
                    <a:cubicBezTo>
                      <a:pt x="26120" y="77040"/>
                      <a:pt x="26935" y="77254"/>
                      <a:pt x="27706" y="77554"/>
                    </a:cubicBezTo>
                    <a:cubicBezTo>
                      <a:pt x="38772" y="81757"/>
                      <a:pt x="48293" y="90121"/>
                      <a:pt x="52282" y="101315"/>
                    </a:cubicBezTo>
                    <a:cubicBezTo>
                      <a:pt x="59487" y="100157"/>
                      <a:pt x="70767" y="103245"/>
                      <a:pt x="83591" y="107534"/>
                    </a:cubicBezTo>
                    <a:cubicBezTo>
                      <a:pt x="89638" y="106933"/>
                      <a:pt x="95686" y="106376"/>
                      <a:pt x="101776" y="106247"/>
                    </a:cubicBezTo>
                    <a:cubicBezTo>
                      <a:pt x="116272" y="105947"/>
                      <a:pt x="126266" y="112895"/>
                      <a:pt x="131799" y="122674"/>
                    </a:cubicBezTo>
                    <a:cubicBezTo>
                      <a:pt x="136731" y="123660"/>
                      <a:pt x="141449" y="124346"/>
                      <a:pt x="145695" y="124346"/>
                    </a:cubicBezTo>
                    <a:cubicBezTo>
                      <a:pt x="174345" y="124346"/>
                      <a:pt x="177262" y="96940"/>
                      <a:pt x="168383" y="95782"/>
                    </a:cubicBezTo>
                    <a:cubicBezTo>
                      <a:pt x="159505" y="94667"/>
                      <a:pt x="167440" y="78669"/>
                      <a:pt x="183180" y="52421"/>
                    </a:cubicBezTo>
                    <a:cubicBezTo>
                      <a:pt x="183266" y="52378"/>
                      <a:pt x="183266" y="52335"/>
                      <a:pt x="183266" y="5233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45" name="Freeform: Shape 325">
                <a:extLst>
                  <a:ext uri="{FF2B5EF4-FFF2-40B4-BE49-F238E27FC236}">
                    <a16:creationId xmlns:a16="http://schemas.microsoft.com/office/drawing/2014/main" id="{766DD910-05AC-0896-F1D8-947082B2ACE4}"/>
                  </a:ext>
                </a:extLst>
              </p:cNvPr>
              <p:cNvSpPr/>
              <p:nvPr/>
            </p:nvSpPr>
            <p:spPr>
              <a:xfrm>
                <a:off x="9298581" y="1228220"/>
                <a:ext cx="45925" cy="26242"/>
              </a:xfrm>
              <a:custGeom>
                <a:avLst/>
                <a:gdLst>
                  <a:gd name="connsiteX0" fmla="*/ 53748 w 60045"/>
                  <a:gd name="connsiteY0" fmla="*/ 16200 h 34311"/>
                  <a:gd name="connsiteX1" fmla="*/ 9315 w 60045"/>
                  <a:gd name="connsiteY1" fmla="*/ 23019 h 34311"/>
                  <a:gd name="connsiteX2" fmla="*/ 53748 w 60045"/>
                  <a:gd name="connsiteY2" fmla="*/ 16200 h 34311"/>
                </a:gdLst>
                <a:ahLst/>
                <a:cxnLst>
                  <a:cxn ang="0">
                    <a:pos x="connsiteX0" y="connsiteY0"/>
                  </a:cxn>
                  <a:cxn ang="0">
                    <a:pos x="connsiteX1" y="connsiteY1"/>
                  </a:cxn>
                  <a:cxn ang="0">
                    <a:pos x="connsiteX2" y="connsiteY2"/>
                  </a:cxn>
                </a:cxnLst>
                <a:rect l="l" t="t" r="r" b="b"/>
                <a:pathLst>
                  <a:path w="60045" h="34311">
                    <a:moveTo>
                      <a:pt x="53748" y="16200"/>
                    </a:moveTo>
                    <a:cubicBezTo>
                      <a:pt x="57694" y="-956"/>
                      <a:pt x="-7884" y="6507"/>
                      <a:pt x="9315" y="23019"/>
                    </a:cubicBezTo>
                    <a:cubicBezTo>
                      <a:pt x="15234" y="28724"/>
                      <a:pt x="49759" y="33313"/>
                      <a:pt x="53748" y="1620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46" name="Freeform: Shape 326">
                <a:extLst>
                  <a:ext uri="{FF2B5EF4-FFF2-40B4-BE49-F238E27FC236}">
                    <a16:creationId xmlns:a16="http://schemas.microsoft.com/office/drawing/2014/main" id="{5E285998-210E-E1A7-1351-8EE05E06F1F9}"/>
                  </a:ext>
                </a:extLst>
              </p:cNvPr>
              <p:cNvSpPr/>
              <p:nvPr/>
            </p:nvSpPr>
            <p:spPr>
              <a:xfrm>
                <a:off x="9014754" y="1742327"/>
                <a:ext cx="29523" cy="26242"/>
              </a:xfrm>
              <a:custGeom>
                <a:avLst/>
                <a:gdLst>
                  <a:gd name="connsiteX0" fmla="*/ 9073 w 38600"/>
                  <a:gd name="connsiteY0" fmla="*/ 25790 h 34311"/>
                  <a:gd name="connsiteX1" fmla="*/ 34720 w 38600"/>
                  <a:gd name="connsiteY1" fmla="*/ 13224 h 34311"/>
                  <a:gd name="connsiteX2" fmla="*/ 9073 w 38600"/>
                  <a:gd name="connsiteY2" fmla="*/ 25790 h 34311"/>
                </a:gdLst>
                <a:ahLst/>
                <a:cxnLst>
                  <a:cxn ang="0">
                    <a:pos x="connsiteX0" y="connsiteY0"/>
                  </a:cxn>
                  <a:cxn ang="0">
                    <a:pos x="connsiteX1" y="connsiteY1"/>
                  </a:cxn>
                  <a:cxn ang="0">
                    <a:pos x="connsiteX2" y="connsiteY2"/>
                  </a:cxn>
                </a:cxnLst>
                <a:rect l="l" t="t" r="r" b="b"/>
                <a:pathLst>
                  <a:path w="38600" h="34311">
                    <a:moveTo>
                      <a:pt x="9073" y="25790"/>
                    </a:moveTo>
                    <a:cubicBezTo>
                      <a:pt x="24856" y="34926"/>
                      <a:pt x="36737" y="31495"/>
                      <a:pt x="34720" y="13224"/>
                    </a:cubicBezTo>
                    <a:cubicBezTo>
                      <a:pt x="32791" y="-5047"/>
                      <a:pt x="-3494" y="18542"/>
                      <a:pt x="9073" y="2579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47" name="Freeform: Shape 327">
                <a:extLst>
                  <a:ext uri="{FF2B5EF4-FFF2-40B4-BE49-F238E27FC236}">
                    <a16:creationId xmlns:a16="http://schemas.microsoft.com/office/drawing/2014/main" id="{2FA4FCCA-6515-A628-9A6F-723AE22F53B6}"/>
                  </a:ext>
                </a:extLst>
              </p:cNvPr>
              <p:cNvSpPr/>
              <p:nvPr/>
            </p:nvSpPr>
            <p:spPr>
              <a:xfrm>
                <a:off x="10554996" y="1674701"/>
                <a:ext cx="36084" cy="26242"/>
              </a:xfrm>
              <a:custGeom>
                <a:avLst/>
                <a:gdLst>
                  <a:gd name="connsiteX0" fmla="*/ 43395 w 47178"/>
                  <a:gd name="connsiteY0" fmla="*/ 12562 h 34311"/>
                  <a:gd name="connsiteX1" fmla="*/ 11828 w 47178"/>
                  <a:gd name="connsiteY1" fmla="*/ 27401 h 34311"/>
                  <a:gd name="connsiteX2" fmla="*/ 43395 w 47178"/>
                  <a:gd name="connsiteY2" fmla="*/ 12562 h 34311"/>
                </a:gdLst>
                <a:ahLst/>
                <a:cxnLst>
                  <a:cxn ang="0">
                    <a:pos x="connsiteX0" y="connsiteY0"/>
                  </a:cxn>
                  <a:cxn ang="0">
                    <a:pos x="connsiteX1" y="connsiteY1"/>
                  </a:cxn>
                  <a:cxn ang="0">
                    <a:pos x="connsiteX2" y="connsiteY2"/>
                  </a:cxn>
                </a:cxnLst>
                <a:rect l="l" t="t" r="r" b="b"/>
                <a:pathLst>
                  <a:path w="47178" h="34311">
                    <a:moveTo>
                      <a:pt x="43395" y="12562"/>
                    </a:moveTo>
                    <a:cubicBezTo>
                      <a:pt x="43395" y="-4594"/>
                      <a:pt x="-10432" y="18824"/>
                      <a:pt x="11828" y="27401"/>
                    </a:cubicBezTo>
                    <a:cubicBezTo>
                      <a:pt x="23622" y="31990"/>
                      <a:pt x="43395" y="29717"/>
                      <a:pt x="43395" y="12562"/>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48" name="Freeform: Shape 328">
                <a:extLst>
                  <a:ext uri="{FF2B5EF4-FFF2-40B4-BE49-F238E27FC236}">
                    <a16:creationId xmlns:a16="http://schemas.microsoft.com/office/drawing/2014/main" id="{2C421D8D-1688-9805-C884-35F49070DCC6}"/>
                  </a:ext>
                </a:extLst>
              </p:cNvPr>
              <p:cNvSpPr/>
              <p:nvPr/>
            </p:nvSpPr>
            <p:spPr>
              <a:xfrm>
                <a:off x="10712412" y="1601457"/>
                <a:ext cx="134494" cy="55766"/>
              </a:xfrm>
              <a:custGeom>
                <a:avLst/>
                <a:gdLst>
                  <a:gd name="connsiteX0" fmla="*/ 61032 w 175846"/>
                  <a:gd name="connsiteY0" fmla="*/ 47894 h 72911"/>
                  <a:gd name="connsiteX1" fmla="*/ 134673 w 175846"/>
                  <a:gd name="connsiteY1" fmla="*/ 67194 h 72911"/>
                  <a:gd name="connsiteX2" fmla="*/ 170357 w 175846"/>
                  <a:gd name="connsiteY2" fmla="*/ 50082 h 72911"/>
                  <a:gd name="connsiteX3" fmla="*/ 116058 w 175846"/>
                  <a:gd name="connsiteY3" fmla="*/ 30696 h 72911"/>
                  <a:gd name="connsiteX4" fmla="*/ 77544 w 175846"/>
                  <a:gd name="connsiteY4" fmla="*/ 21560 h 72911"/>
                  <a:gd name="connsiteX5" fmla="*/ 32125 w 175846"/>
                  <a:gd name="connsiteY5" fmla="*/ 10109 h 72911"/>
                  <a:gd name="connsiteX6" fmla="*/ 9436 w 175846"/>
                  <a:gd name="connsiteY6" fmla="*/ 36357 h 72911"/>
                  <a:gd name="connsiteX7" fmla="*/ 36885 w 175846"/>
                  <a:gd name="connsiteY7" fmla="*/ 48795 h 72911"/>
                  <a:gd name="connsiteX8" fmla="*/ 61032 w 175846"/>
                  <a:gd name="connsiteY8" fmla="*/ 47894 h 7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46" h="72911">
                    <a:moveTo>
                      <a:pt x="61032" y="47894"/>
                    </a:moveTo>
                    <a:cubicBezTo>
                      <a:pt x="85350" y="55786"/>
                      <a:pt x="109582" y="63506"/>
                      <a:pt x="134673" y="67194"/>
                    </a:cubicBezTo>
                    <a:cubicBezTo>
                      <a:pt x="156074" y="64064"/>
                      <a:pt x="169713" y="57287"/>
                      <a:pt x="170357" y="50082"/>
                    </a:cubicBezTo>
                    <a:cubicBezTo>
                      <a:pt x="171343" y="38673"/>
                      <a:pt x="128882" y="21560"/>
                      <a:pt x="116058" y="30696"/>
                    </a:cubicBezTo>
                    <a:cubicBezTo>
                      <a:pt x="103191" y="39831"/>
                      <a:pt x="93370" y="15813"/>
                      <a:pt x="77544" y="21560"/>
                    </a:cubicBezTo>
                    <a:cubicBezTo>
                      <a:pt x="61718" y="27265"/>
                      <a:pt x="40016" y="26107"/>
                      <a:pt x="32125" y="10109"/>
                    </a:cubicBezTo>
                    <a:cubicBezTo>
                      <a:pt x="24233" y="-5846"/>
                      <a:pt x="-2444" y="35242"/>
                      <a:pt x="9436" y="36357"/>
                    </a:cubicBezTo>
                    <a:cubicBezTo>
                      <a:pt x="19557" y="37343"/>
                      <a:pt x="27535" y="42705"/>
                      <a:pt x="36885" y="48795"/>
                    </a:cubicBezTo>
                    <a:cubicBezTo>
                      <a:pt x="43619" y="45621"/>
                      <a:pt x="51767" y="44892"/>
                      <a:pt x="61032" y="4789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49" name="Freeform: Shape 329">
                <a:extLst>
                  <a:ext uri="{FF2B5EF4-FFF2-40B4-BE49-F238E27FC236}">
                    <a16:creationId xmlns:a16="http://schemas.microsoft.com/office/drawing/2014/main" id="{0EF9F052-558B-98BC-455E-ED8FCA7C5847}"/>
                  </a:ext>
                </a:extLst>
              </p:cNvPr>
              <p:cNvSpPr/>
              <p:nvPr/>
            </p:nvSpPr>
            <p:spPr>
              <a:xfrm>
                <a:off x="11554126" y="1835132"/>
                <a:ext cx="108251" cy="45925"/>
              </a:xfrm>
              <a:custGeom>
                <a:avLst/>
                <a:gdLst>
                  <a:gd name="connsiteX0" fmla="*/ 59302 w 141534"/>
                  <a:gd name="connsiteY0" fmla="*/ 40667 h 60045"/>
                  <a:gd name="connsiteX1" fmla="*/ 134958 w 141534"/>
                  <a:gd name="connsiteY1" fmla="*/ 36249 h 60045"/>
                  <a:gd name="connsiteX2" fmla="*/ 91983 w 141534"/>
                  <a:gd name="connsiteY2" fmla="*/ 7256 h 60045"/>
                  <a:gd name="connsiteX3" fmla="*/ 10965 w 141534"/>
                  <a:gd name="connsiteY3" fmla="*/ 50660 h 60045"/>
                  <a:gd name="connsiteX4" fmla="*/ 45791 w 141534"/>
                  <a:gd name="connsiteY4" fmla="*/ 46243 h 60045"/>
                  <a:gd name="connsiteX5" fmla="*/ 59302 w 141534"/>
                  <a:gd name="connsiteY5" fmla="*/ 40667 h 6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534" h="60045">
                    <a:moveTo>
                      <a:pt x="59302" y="40667"/>
                    </a:moveTo>
                    <a:cubicBezTo>
                      <a:pt x="84906" y="35649"/>
                      <a:pt x="109868" y="35091"/>
                      <a:pt x="134958" y="36249"/>
                    </a:cubicBezTo>
                    <a:cubicBezTo>
                      <a:pt x="139633" y="28444"/>
                      <a:pt x="127538" y="12746"/>
                      <a:pt x="91983" y="7256"/>
                    </a:cubicBezTo>
                    <a:cubicBezTo>
                      <a:pt x="47550" y="394"/>
                      <a:pt x="-10265" y="38351"/>
                      <a:pt x="10965" y="50660"/>
                    </a:cubicBezTo>
                    <a:cubicBezTo>
                      <a:pt x="25205" y="58895"/>
                      <a:pt x="35326" y="48216"/>
                      <a:pt x="45791" y="46243"/>
                    </a:cubicBezTo>
                    <a:cubicBezTo>
                      <a:pt x="49480" y="43669"/>
                      <a:pt x="53897" y="41696"/>
                      <a:pt x="59302" y="4066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50" name="Freeform: Shape 330">
                <a:extLst>
                  <a:ext uri="{FF2B5EF4-FFF2-40B4-BE49-F238E27FC236}">
                    <a16:creationId xmlns:a16="http://schemas.microsoft.com/office/drawing/2014/main" id="{65D9295C-9C00-E283-E8F6-E1D97BFCDDAE}"/>
                  </a:ext>
                </a:extLst>
              </p:cNvPr>
              <p:cNvSpPr/>
              <p:nvPr/>
            </p:nvSpPr>
            <p:spPr>
              <a:xfrm>
                <a:off x="8607351" y="1242118"/>
                <a:ext cx="65607" cy="26242"/>
              </a:xfrm>
              <a:custGeom>
                <a:avLst/>
                <a:gdLst>
                  <a:gd name="connsiteX0" fmla="*/ 50999 w 85778"/>
                  <a:gd name="connsiteY0" fmla="*/ 6433 h 34311"/>
                  <a:gd name="connsiteX1" fmla="*/ 46967 w 85778"/>
                  <a:gd name="connsiteY1" fmla="*/ 7120 h 34311"/>
                  <a:gd name="connsiteX2" fmla="*/ 7466 w 85778"/>
                  <a:gd name="connsiteY2" fmla="*/ 24232 h 34311"/>
                  <a:gd name="connsiteX3" fmla="*/ 62794 w 85778"/>
                  <a:gd name="connsiteY3" fmla="*/ 27664 h 34311"/>
                  <a:gd name="connsiteX4" fmla="*/ 81793 w 85778"/>
                  <a:gd name="connsiteY4" fmla="*/ 22345 h 34311"/>
                  <a:gd name="connsiteX5" fmla="*/ 50999 w 85778"/>
                  <a:gd name="connsiteY5" fmla="*/ 6433 h 34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78" h="34311">
                    <a:moveTo>
                      <a:pt x="50999" y="6433"/>
                    </a:moveTo>
                    <a:cubicBezTo>
                      <a:pt x="49755" y="6991"/>
                      <a:pt x="48425" y="7291"/>
                      <a:pt x="46967" y="7120"/>
                    </a:cubicBezTo>
                    <a:cubicBezTo>
                      <a:pt x="37103" y="5962"/>
                      <a:pt x="-211" y="14325"/>
                      <a:pt x="7466" y="24232"/>
                    </a:cubicBezTo>
                    <a:cubicBezTo>
                      <a:pt x="16344" y="35641"/>
                      <a:pt x="44008" y="29937"/>
                      <a:pt x="62794" y="27664"/>
                    </a:cubicBezTo>
                    <a:cubicBezTo>
                      <a:pt x="70857" y="26677"/>
                      <a:pt x="77076" y="24747"/>
                      <a:pt x="81793" y="22345"/>
                    </a:cubicBezTo>
                    <a:cubicBezTo>
                      <a:pt x="71243" y="17585"/>
                      <a:pt x="61164" y="12052"/>
                      <a:pt x="50999" y="643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51" name="Freeform: Shape 331">
                <a:extLst>
                  <a:ext uri="{FF2B5EF4-FFF2-40B4-BE49-F238E27FC236}">
                    <a16:creationId xmlns:a16="http://schemas.microsoft.com/office/drawing/2014/main" id="{6ED75052-4ED4-E447-3BDC-A2369EFCBCDD}"/>
                  </a:ext>
                </a:extLst>
              </p:cNvPr>
              <p:cNvSpPr/>
              <p:nvPr/>
            </p:nvSpPr>
            <p:spPr>
              <a:xfrm>
                <a:off x="10501740" y="1572330"/>
                <a:ext cx="190260" cy="82008"/>
              </a:xfrm>
              <a:custGeom>
                <a:avLst/>
                <a:gdLst>
                  <a:gd name="connsiteX0" fmla="*/ 225611 w 248757"/>
                  <a:gd name="connsiteY0" fmla="*/ 23058 h 107223"/>
                  <a:gd name="connsiteX1" fmla="*/ 184309 w 248757"/>
                  <a:gd name="connsiteY1" fmla="*/ 12721 h 107223"/>
                  <a:gd name="connsiteX2" fmla="*/ 155615 w 248757"/>
                  <a:gd name="connsiteY2" fmla="*/ 26489 h 107223"/>
                  <a:gd name="connsiteX3" fmla="*/ 106336 w 248757"/>
                  <a:gd name="connsiteY3" fmla="*/ 18340 h 107223"/>
                  <a:gd name="connsiteX4" fmla="*/ 106078 w 248757"/>
                  <a:gd name="connsiteY4" fmla="*/ 20784 h 107223"/>
                  <a:gd name="connsiteX5" fmla="*/ 76656 w 248757"/>
                  <a:gd name="connsiteY5" fmla="*/ 11177 h 107223"/>
                  <a:gd name="connsiteX6" fmla="*/ 52124 w 248757"/>
                  <a:gd name="connsiteY6" fmla="*/ 6845 h 107223"/>
                  <a:gd name="connsiteX7" fmla="*/ 15582 w 248757"/>
                  <a:gd name="connsiteY7" fmla="*/ 85762 h 107223"/>
                  <a:gd name="connsiteX8" fmla="*/ 25789 w 248757"/>
                  <a:gd name="connsiteY8" fmla="*/ 103389 h 107223"/>
                  <a:gd name="connsiteX9" fmla="*/ 61602 w 248757"/>
                  <a:gd name="connsiteY9" fmla="*/ 91552 h 107223"/>
                  <a:gd name="connsiteX10" fmla="*/ 93211 w 248757"/>
                  <a:gd name="connsiteY10" fmla="*/ 98414 h 107223"/>
                  <a:gd name="connsiteX11" fmla="*/ 152484 w 248757"/>
                  <a:gd name="connsiteY11" fmla="*/ 91552 h 107223"/>
                  <a:gd name="connsiteX12" fmla="*/ 149525 w 248757"/>
                  <a:gd name="connsiteY12" fmla="*/ 47033 h 107223"/>
                  <a:gd name="connsiteX13" fmla="*/ 167281 w 248757"/>
                  <a:gd name="connsiteY13" fmla="*/ 53895 h 107223"/>
                  <a:gd name="connsiteX14" fmla="*/ 210728 w 248757"/>
                  <a:gd name="connsiteY14" fmla="*/ 89322 h 107223"/>
                  <a:gd name="connsiteX15" fmla="*/ 234446 w 248757"/>
                  <a:gd name="connsiteY15" fmla="*/ 56211 h 107223"/>
                  <a:gd name="connsiteX16" fmla="*/ 225611 w 248757"/>
                  <a:gd name="connsiteY16" fmla="*/ 23058 h 10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757" h="107223">
                    <a:moveTo>
                      <a:pt x="225611" y="23058"/>
                    </a:moveTo>
                    <a:cubicBezTo>
                      <a:pt x="213045" y="14179"/>
                      <a:pt x="198290" y="13407"/>
                      <a:pt x="184309" y="12721"/>
                    </a:cubicBezTo>
                    <a:cubicBezTo>
                      <a:pt x="178561" y="21256"/>
                      <a:pt x="169040" y="27003"/>
                      <a:pt x="155615" y="26489"/>
                    </a:cubicBezTo>
                    <a:cubicBezTo>
                      <a:pt x="138674" y="25802"/>
                      <a:pt x="122462" y="22286"/>
                      <a:pt x="106336" y="18340"/>
                    </a:cubicBezTo>
                    <a:cubicBezTo>
                      <a:pt x="106250" y="19155"/>
                      <a:pt x="106121" y="19927"/>
                      <a:pt x="106078" y="20784"/>
                    </a:cubicBezTo>
                    <a:cubicBezTo>
                      <a:pt x="105521" y="34938"/>
                      <a:pt x="92139" y="24473"/>
                      <a:pt x="76656" y="11177"/>
                    </a:cubicBezTo>
                    <a:cubicBezTo>
                      <a:pt x="68550" y="9376"/>
                      <a:pt x="60401" y="7832"/>
                      <a:pt x="52124" y="6845"/>
                    </a:cubicBezTo>
                    <a:cubicBezTo>
                      <a:pt x="5975" y="1398"/>
                      <a:pt x="-3204" y="51150"/>
                      <a:pt x="15582" y="85762"/>
                    </a:cubicBezTo>
                    <a:cubicBezTo>
                      <a:pt x="18885" y="91852"/>
                      <a:pt x="22316" y="97685"/>
                      <a:pt x="25789" y="103389"/>
                    </a:cubicBezTo>
                    <a:cubicBezTo>
                      <a:pt x="37798" y="101717"/>
                      <a:pt x="53667" y="94597"/>
                      <a:pt x="61602" y="91552"/>
                    </a:cubicBezTo>
                    <a:cubicBezTo>
                      <a:pt x="73440" y="87006"/>
                      <a:pt x="74426" y="112096"/>
                      <a:pt x="93211" y="98414"/>
                    </a:cubicBezTo>
                    <a:cubicBezTo>
                      <a:pt x="111997" y="84689"/>
                      <a:pt x="130739" y="91552"/>
                      <a:pt x="152484" y="91552"/>
                    </a:cubicBezTo>
                    <a:cubicBezTo>
                      <a:pt x="174230" y="91552"/>
                      <a:pt x="148539" y="60714"/>
                      <a:pt x="149525" y="47033"/>
                    </a:cubicBezTo>
                    <a:cubicBezTo>
                      <a:pt x="150512" y="33308"/>
                      <a:pt x="175173" y="42486"/>
                      <a:pt x="167281" y="53895"/>
                    </a:cubicBezTo>
                    <a:cubicBezTo>
                      <a:pt x="159390" y="65303"/>
                      <a:pt x="179119" y="91595"/>
                      <a:pt x="210728" y="89322"/>
                    </a:cubicBezTo>
                    <a:cubicBezTo>
                      <a:pt x="242337" y="87048"/>
                      <a:pt x="218620" y="64188"/>
                      <a:pt x="234446" y="56211"/>
                    </a:cubicBezTo>
                    <a:cubicBezTo>
                      <a:pt x="250315" y="48191"/>
                      <a:pt x="248300" y="39055"/>
                      <a:pt x="225611" y="2305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52" name="Freeform: Shape 332">
                <a:extLst>
                  <a:ext uri="{FF2B5EF4-FFF2-40B4-BE49-F238E27FC236}">
                    <a16:creationId xmlns:a16="http://schemas.microsoft.com/office/drawing/2014/main" id="{BD0C90B5-2244-3CB4-34B3-817410AE7F73}"/>
                  </a:ext>
                </a:extLst>
              </p:cNvPr>
              <p:cNvSpPr/>
              <p:nvPr/>
            </p:nvSpPr>
            <p:spPr>
              <a:xfrm>
                <a:off x="10567918" y="1699786"/>
                <a:ext cx="88569" cy="45925"/>
              </a:xfrm>
              <a:custGeom>
                <a:avLst/>
                <a:gdLst>
                  <a:gd name="connsiteX0" fmla="*/ 105503 w 115801"/>
                  <a:gd name="connsiteY0" fmla="*/ 55120 h 60045"/>
                  <a:gd name="connsiteX1" fmla="*/ 62056 w 115801"/>
                  <a:gd name="connsiteY1" fmla="*/ 7170 h 60045"/>
                  <a:gd name="connsiteX2" fmla="*/ 6771 w 115801"/>
                  <a:gd name="connsiteY2" fmla="*/ 36892 h 60045"/>
                  <a:gd name="connsiteX3" fmla="*/ 105503 w 115801"/>
                  <a:gd name="connsiteY3" fmla="*/ 55120 h 60045"/>
                </a:gdLst>
                <a:ahLst/>
                <a:cxnLst>
                  <a:cxn ang="0">
                    <a:pos x="connsiteX0" y="connsiteY0"/>
                  </a:cxn>
                  <a:cxn ang="0">
                    <a:pos x="connsiteX1" y="connsiteY1"/>
                  </a:cxn>
                  <a:cxn ang="0">
                    <a:pos x="connsiteX2" y="connsiteY2"/>
                  </a:cxn>
                  <a:cxn ang="0">
                    <a:pos x="connsiteX3" y="connsiteY3"/>
                  </a:cxn>
                </a:cxnLst>
                <a:rect l="l" t="t" r="r" b="b"/>
                <a:pathLst>
                  <a:path w="115801" h="60045">
                    <a:moveTo>
                      <a:pt x="105503" y="55120"/>
                    </a:moveTo>
                    <a:cubicBezTo>
                      <a:pt x="123259" y="50574"/>
                      <a:pt x="92679" y="12874"/>
                      <a:pt x="62056" y="7170"/>
                    </a:cubicBezTo>
                    <a:cubicBezTo>
                      <a:pt x="31433" y="1465"/>
                      <a:pt x="2998" y="30587"/>
                      <a:pt x="6771" y="36892"/>
                    </a:cubicBezTo>
                    <a:cubicBezTo>
                      <a:pt x="15650" y="51732"/>
                      <a:pt x="87704" y="59709"/>
                      <a:pt x="105503" y="55120"/>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53" name="Freeform: Shape 333">
                <a:extLst>
                  <a:ext uri="{FF2B5EF4-FFF2-40B4-BE49-F238E27FC236}">
                    <a16:creationId xmlns:a16="http://schemas.microsoft.com/office/drawing/2014/main" id="{4D11150F-D7C6-CF85-C1AB-B4461527E14C}"/>
                  </a:ext>
                </a:extLst>
              </p:cNvPr>
              <p:cNvSpPr/>
              <p:nvPr/>
            </p:nvSpPr>
            <p:spPr>
              <a:xfrm>
                <a:off x="8520980" y="1240333"/>
                <a:ext cx="85289" cy="49205"/>
              </a:xfrm>
              <a:custGeom>
                <a:avLst/>
                <a:gdLst>
                  <a:gd name="connsiteX0" fmla="*/ 103624 w 111512"/>
                  <a:gd name="connsiteY0" fmla="*/ 35745 h 64333"/>
                  <a:gd name="connsiteX1" fmla="*/ 88785 w 111512"/>
                  <a:gd name="connsiteY1" fmla="*/ 15201 h 64333"/>
                  <a:gd name="connsiteX2" fmla="*/ 34487 w 111512"/>
                  <a:gd name="connsiteY2" fmla="*/ 14043 h 64333"/>
                  <a:gd name="connsiteX3" fmla="*/ 8839 w 111512"/>
                  <a:gd name="connsiteY3" fmla="*/ 49427 h 64333"/>
                  <a:gd name="connsiteX4" fmla="*/ 103624 w 111512"/>
                  <a:gd name="connsiteY4" fmla="*/ 35745 h 64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12" h="64333">
                    <a:moveTo>
                      <a:pt x="103624" y="35745"/>
                    </a:moveTo>
                    <a:cubicBezTo>
                      <a:pt x="110529" y="25452"/>
                      <a:pt x="90757" y="25452"/>
                      <a:pt x="88785" y="15201"/>
                    </a:cubicBezTo>
                    <a:cubicBezTo>
                      <a:pt x="86812" y="4908"/>
                      <a:pt x="31485" y="2635"/>
                      <a:pt x="34487" y="14043"/>
                    </a:cubicBezTo>
                    <a:cubicBezTo>
                      <a:pt x="37446" y="25495"/>
                      <a:pt x="-3771" y="37890"/>
                      <a:pt x="8839" y="49427"/>
                    </a:cubicBezTo>
                    <a:cubicBezTo>
                      <a:pt x="32514" y="71129"/>
                      <a:pt x="96719" y="45996"/>
                      <a:pt x="103624" y="3574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54" name="Freeform: Shape 334">
                <a:extLst>
                  <a:ext uri="{FF2B5EF4-FFF2-40B4-BE49-F238E27FC236}">
                    <a16:creationId xmlns:a16="http://schemas.microsoft.com/office/drawing/2014/main" id="{37D7E1A3-0CE7-DA22-9063-62989EE619D9}"/>
                  </a:ext>
                </a:extLst>
              </p:cNvPr>
              <p:cNvSpPr/>
              <p:nvPr/>
            </p:nvSpPr>
            <p:spPr>
              <a:xfrm>
                <a:off x="8224748" y="1936214"/>
                <a:ext cx="62327" cy="45925"/>
              </a:xfrm>
              <a:custGeom>
                <a:avLst/>
                <a:gdLst>
                  <a:gd name="connsiteX0" fmla="*/ 12936 w 81489"/>
                  <a:gd name="connsiteY0" fmla="*/ 47511 h 60045"/>
                  <a:gd name="connsiteX1" fmla="*/ 75168 w 81489"/>
                  <a:gd name="connsiteY1" fmla="*/ 32714 h 60045"/>
                  <a:gd name="connsiteX2" fmla="*/ 45531 w 81489"/>
                  <a:gd name="connsiteY2" fmla="*/ 7581 h 60045"/>
                  <a:gd name="connsiteX3" fmla="*/ 12936 w 81489"/>
                  <a:gd name="connsiteY3" fmla="*/ 47511 h 60045"/>
                </a:gdLst>
                <a:ahLst/>
                <a:cxnLst>
                  <a:cxn ang="0">
                    <a:pos x="connsiteX0" y="connsiteY0"/>
                  </a:cxn>
                  <a:cxn ang="0">
                    <a:pos x="connsiteX1" y="connsiteY1"/>
                  </a:cxn>
                  <a:cxn ang="0">
                    <a:pos x="connsiteX2" y="connsiteY2"/>
                  </a:cxn>
                  <a:cxn ang="0">
                    <a:pos x="connsiteX3" y="connsiteY3"/>
                  </a:cxn>
                </a:cxnLst>
                <a:rect l="l" t="t" r="r" b="b"/>
                <a:pathLst>
                  <a:path w="81489" h="60045">
                    <a:moveTo>
                      <a:pt x="12936" y="47511"/>
                    </a:moveTo>
                    <a:cubicBezTo>
                      <a:pt x="39613" y="76075"/>
                      <a:pt x="62344" y="34944"/>
                      <a:pt x="75168" y="32714"/>
                    </a:cubicBezTo>
                    <a:cubicBezTo>
                      <a:pt x="88035" y="30441"/>
                      <a:pt x="67276" y="14400"/>
                      <a:pt x="45531" y="7581"/>
                    </a:cubicBezTo>
                    <a:cubicBezTo>
                      <a:pt x="23829" y="719"/>
                      <a:pt x="-7180" y="25980"/>
                      <a:pt x="12936" y="4751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55" name="Freeform: Shape 336">
                <a:extLst>
                  <a:ext uri="{FF2B5EF4-FFF2-40B4-BE49-F238E27FC236}">
                    <a16:creationId xmlns:a16="http://schemas.microsoft.com/office/drawing/2014/main" id="{33261453-590A-D22C-C694-FFFD1BEC4EF6}"/>
                  </a:ext>
                </a:extLst>
              </p:cNvPr>
              <p:cNvSpPr/>
              <p:nvPr/>
            </p:nvSpPr>
            <p:spPr>
              <a:xfrm>
                <a:off x="8202740" y="1252091"/>
                <a:ext cx="118092" cy="55766"/>
              </a:xfrm>
              <a:custGeom>
                <a:avLst/>
                <a:gdLst>
                  <a:gd name="connsiteX0" fmla="*/ 141257 w 154401"/>
                  <a:gd name="connsiteY0" fmla="*/ 6433 h 72911"/>
                  <a:gd name="connsiteX1" fmla="*/ 135166 w 154401"/>
                  <a:gd name="connsiteY1" fmla="*/ 7248 h 72911"/>
                  <a:gd name="connsiteX2" fmla="*/ 82069 w 154401"/>
                  <a:gd name="connsiteY2" fmla="*/ 16770 h 72911"/>
                  <a:gd name="connsiteX3" fmla="*/ 84171 w 154401"/>
                  <a:gd name="connsiteY3" fmla="*/ 19172 h 72911"/>
                  <a:gd name="connsiteX4" fmla="*/ 38751 w 154401"/>
                  <a:gd name="connsiteY4" fmla="*/ 38557 h 72911"/>
                  <a:gd name="connsiteX5" fmla="*/ 7142 w 154401"/>
                  <a:gd name="connsiteY5" fmla="*/ 59101 h 72911"/>
                  <a:gd name="connsiteX6" fmla="*/ 62426 w 154401"/>
                  <a:gd name="connsiteY6" fmla="*/ 62533 h 72911"/>
                  <a:gd name="connsiteX7" fmla="*/ 89103 w 154401"/>
                  <a:gd name="connsiteY7" fmla="*/ 51081 h 72911"/>
                  <a:gd name="connsiteX8" fmla="*/ 128605 w 154401"/>
                  <a:gd name="connsiteY8" fmla="*/ 27106 h 72911"/>
                  <a:gd name="connsiteX9" fmla="*/ 141257 w 154401"/>
                  <a:gd name="connsiteY9" fmla="*/ 6433 h 7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01" h="72911">
                    <a:moveTo>
                      <a:pt x="141257" y="6433"/>
                    </a:moveTo>
                    <a:cubicBezTo>
                      <a:pt x="139241" y="6691"/>
                      <a:pt x="137182" y="6991"/>
                      <a:pt x="135166" y="7248"/>
                    </a:cubicBezTo>
                    <a:cubicBezTo>
                      <a:pt x="117368" y="9822"/>
                      <a:pt x="99697" y="13124"/>
                      <a:pt x="82069" y="16770"/>
                    </a:cubicBezTo>
                    <a:cubicBezTo>
                      <a:pt x="82584" y="17628"/>
                      <a:pt x="83270" y="18400"/>
                      <a:pt x="84171" y="19172"/>
                    </a:cubicBezTo>
                    <a:cubicBezTo>
                      <a:pt x="97982" y="30580"/>
                      <a:pt x="45656" y="27149"/>
                      <a:pt x="38751" y="38557"/>
                    </a:cubicBezTo>
                    <a:cubicBezTo>
                      <a:pt x="31846" y="50009"/>
                      <a:pt x="1438" y="45849"/>
                      <a:pt x="7142" y="59101"/>
                    </a:cubicBezTo>
                    <a:cubicBezTo>
                      <a:pt x="13061" y="72826"/>
                      <a:pt x="62426" y="73984"/>
                      <a:pt x="62426" y="62533"/>
                    </a:cubicBezTo>
                    <a:cubicBezTo>
                      <a:pt x="62426" y="51081"/>
                      <a:pt x="88117" y="61375"/>
                      <a:pt x="89103" y="51081"/>
                    </a:cubicBezTo>
                    <a:cubicBezTo>
                      <a:pt x="90090" y="40831"/>
                      <a:pt x="100984" y="29422"/>
                      <a:pt x="128605" y="27106"/>
                    </a:cubicBezTo>
                    <a:cubicBezTo>
                      <a:pt x="151679" y="25305"/>
                      <a:pt x="155453" y="17070"/>
                      <a:pt x="141257" y="643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56" name="Freeform: Shape 338">
                <a:extLst>
                  <a:ext uri="{FF2B5EF4-FFF2-40B4-BE49-F238E27FC236}">
                    <a16:creationId xmlns:a16="http://schemas.microsoft.com/office/drawing/2014/main" id="{0E3044A0-6C89-0F39-03BE-C3317F46D6D1}"/>
                  </a:ext>
                </a:extLst>
              </p:cNvPr>
              <p:cNvSpPr/>
              <p:nvPr/>
            </p:nvSpPr>
            <p:spPr>
              <a:xfrm>
                <a:off x="11296640" y="1922297"/>
                <a:ext cx="26242" cy="29523"/>
              </a:xfrm>
              <a:custGeom>
                <a:avLst/>
                <a:gdLst>
                  <a:gd name="connsiteX0" fmla="*/ 6433 w 34311"/>
                  <a:gd name="connsiteY0" fmla="*/ 29894 h 38600"/>
                  <a:gd name="connsiteX1" fmla="*/ 30151 w 34311"/>
                  <a:gd name="connsiteY1" fmla="*/ 18357 h 38600"/>
                  <a:gd name="connsiteX2" fmla="*/ 21917 w 34311"/>
                  <a:gd name="connsiteY2" fmla="*/ 6433 h 38600"/>
                  <a:gd name="connsiteX3" fmla="*/ 6433 w 34311"/>
                  <a:gd name="connsiteY3" fmla="*/ 29894 h 38600"/>
                </a:gdLst>
                <a:ahLst/>
                <a:cxnLst>
                  <a:cxn ang="0">
                    <a:pos x="connsiteX0" y="connsiteY0"/>
                  </a:cxn>
                  <a:cxn ang="0">
                    <a:pos x="connsiteX1" y="connsiteY1"/>
                  </a:cxn>
                  <a:cxn ang="0">
                    <a:pos x="connsiteX2" y="connsiteY2"/>
                  </a:cxn>
                  <a:cxn ang="0">
                    <a:pos x="connsiteX3" y="connsiteY3"/>
                  </a:cxn>
                </a:cxnLst>
                <a:rect l="l" t="t" r="r" b="b"/>
                <a:pathLst>
                  <a:path w="34311" h="38600">
                    <a:moveTo>
                      <a:pt x="6433" y="29894"/>
                    </a:moveTo>
                    <a:cubicBezTo>
                      <a:pt x="16212" y="38214"/>
                      <a:pt x="28736" y="30494"/>
                      <a:pt x="30151" y="18357"/>
                    </a:cubicBezTo>
                    <a:cubicBezTo>
                      <a:pt x="30708" y="13767"/>
                      <a:pt x="27235" y="9693"/>
                      <a:pt x="21917" y="6433"/>
                    </a:cubicBezTo>
                    <a:cubicBezTo>
                      <a:pt x="19558" y="15483"/>
                      <a:pt x="14068" y="23889"/>
                      <a:pt x="6433" y="2989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57" name="Freeform: Shape 339">
                <a:extLst>
                  <a:ext uri="{FF2B5EF4-FFF2-40B4-BE49-F238E27FC236}">
                    <a16:creationId xmlns:a16="http://schemas.microsoft.com/office/drawing/2014/main" id="{6DDBD18C-5A15-6DB1-B04A-C13312F20167}"/>
                  </a:ext>
                </a:extLst>
              </p:cNvPr>
              <p:cNvSpPr/>
              <p:nvPr/>
            </p:nvSpPr>
            <p:spPr>
              <a:xfrm>
                <a:off x="10689188" y="1781493"/>
                <a:ext cx="36084" cy="13122"/>
              </a:xfrm>
              <a:custGeom>
                <a:avLst/>
                <a:gdLst>
                  <a:gd name="connsiteX0" fmla="*/ 6433 w 47178"/>
                  <a:gd name="connsiteY0" fmla="*/ 8765 h 17155"/>
                  <a:gd name="connsiteX1" fmla="*/ 9135 w 47178"/>
                  <a:gd name="connsiteY1" fmla="*/ 9408 h 17155"/>
                  <a:gd name="connsiteX2" fmla="*/ 42718 w 47178"/>
                  <a:gd name="connsiteY2" fmla="*/ 9408 h 17155"/>
                  <a:gd name="connsiteX3" fmla="*/ 42546 w 47178"/>
                  <a:gd name="connsiteY3" fmla="*/ 8036 h 17155"/>
                  <a:gd name="connsiteX4" fmla="*/ 6433 w 47178"/>
                  <a:gd name="connsiteY4" fmla="*/ 8765 h 17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178" h="17155">
                    <a:moveTo>
                      <a:pt x="6433" y="8765"/>
                    </a:moveTo>
                    <a:cubicBezTo>
                      <a:pt x="7334" y="8979"/>
                      <a:pt x="8234" y="9108"/>
                      <a:pt x="9135" y="9408"/>
                    </a:cubicBezTo>
                    <a:cubicBezTo>
                      <a:pt x="21015" y="13440"/>
                      <a:pt x="41731" y="15713"/>
                      <a:pt x="42718" y="9408"/>
                    </a:cubicBezTo>
                    <a:cubicBezTo>
                      <a:pt x="42803" y="8894"/>
                      <a:pt x="42632" y="8465"/>
                      <a:pt x="42546" y="8036"/>
                    </a:cubicBezTo>
                    <a:cubicBezTo>
                      <a:pt x="30323" y="5891"/>
                      <a:pt x="18271" y="5677"/>
                      <a:pt x="6433" y="876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58" name="Freeform: Shape 340">
                <a:extLst>
                  <a:ext uri="{FF2B5EF4-FFF2-40B4-BE49-F238E27FC236}">
                    <a16:creationId xmlns:a16="http://schemas.microsoft.com/office/drawing/2014/main" id="{E1081179-713B-E5F9-4244-3CE86964EBA0}"/>
                  </a:ext>
                </a:extLst>
              </p:cNvPr>
              <p:cNvSpPr/>
              <p:nvPr/>
            </p:nvSpPr>
            <p:spPr>
              <a:xfrm>
                <a:off x="10599177" y="2681400"/>
                <a:ext cx="52485" cy="295231"/>
              </a:xfrm>
              <a:custGeom>
                <a:avLst/>
                <a:gdLst>
                  <a:gd name="connsiteX0" fmla="*/ 54768 w 68622"/>
                  <a:gd name="connsiteY0" fmla="*/ 347746 h 386003"/>
                  <a:gd name="connsiteX1" fmla="*/ 32036 w 68622"/>
                  <a:gd name="connsiteY1" fmla="*/ 302069 h 386003"/>
                  <a:gd name="connsiteX2" fmla="*/ 41943 w 68622"/>
                  <a:gd name="connsiteY2" fmla="*/ 239237 h 386003"/>
                  <a:gd name="connsiteX3" fmla="*/ 64460 w 68622"/>
                  <a:gd name="connsiteY3" fmla="*/ 223153 h 386003"/>
                  <a:gd name="connsiteX4" fmla="*/ 57383 w 68622"/>
                  <a:gd name="connsiteY4" fmla="*/ 177004 h 386003"/>
                  <a:gd name="connsiteX5" fmla="*/ 37268 w 68622"/>
                  <a:gd name="connsiteY5" fmla="*/ 80117 h 386003"/>
                  <a:gd name="connsiteX6" fmla="*/ 8789 w 68622"/>
                  <a:gd name="connsiteY6" fmla="*/ 6433 h 386003"/>
                  <a:gd name="connsiteX7" fmla="*/ 8361 w 68622"/>
                  <a:gd name="connsiteY7" fmla="*/ 45077 h 386003"/>
                  <a:gd name="connsiteX8" fmla="*/ 19255 w 68622"/>
                  <a:gd name="connsiteY8" fmla="*/ 121548 h 386003"/>
                  <a:gd name="connsiteX9" fmla="*/ 16295 w 68622"/>
                  <a:gd name="connsiteY9" fmla="*/ 270031 h 386003"/>
                  <a:gd name="connsiteX10" fmla="*/ 10377 w 68622"/>
                  <a:gd name="connsiteY10" fmla="*/ 378498 h 386003"/>
                  <a:gd name="connsiteX11" fmla="*/ 32079 w 68622"/>
                  <a:gd name="connsiteY11" fmla="*/ 353408 h 386003"/>
                  <a:gd name="connsiteX12" fmla="*/ 60729 w 68622"/>
                  <a:gd name="connsiteY12" fmla="*/ 381929 h 386003"/>
                  <a:gd name="connsiteX13" fmla="*/ 54768 w 68622"/>
                  <a:gd name="connsiteY13" fmla="*/ 347746 h 38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622" h="386003">
                    <a:moveTo>
                      <a:pt x="54768" y="347746"/>
                    </a:moveTo>
                    <a:cubicBezTo>
                      <a:pt x="44903" y="350020"/>
                      <a:pt x="37011" y="320340"/>
                      <a:pt x="32036" y="302069"/>
                    </a:cubicBezTo>
                    <a:cubicBezTo>
                      <a:pt x="27103" y="283799"/>
                      <a:pt x="41943" y="262097"/>
                      <a:pt x="41943" y="239237"/>
                    </a:cubicBezTo>
                    <a:cubicBezTo>
                      <a:pt x="41943" y="224096"/>
                      <a:pt x="52837" y="219550"/>
                      <a:pt x="64460" y="223153"/>
                    </a:cubicBezTo>
                    <a:cubicBezTo>
                      <a:pt x="61629" y="206726"/>
                      <a:pt x="59656" y="190686"/>
                      <a:pt x="57383" y="177004"/>
                    </a:cubicBezTo>
                    <a:cubicBezTo>
                      <a:pt x="52108" y="144794"/>
                      <a:pt x="45889" y="111512"/>
                      <a:pt x="37268" y="80117"/>
                    </a:cubicBezTo>
                    <a:cubicBezTo>
                      <a:pt x="29806" y="53097"/>
                      <a:pt x="14623" y="32424"/>
                      <a:pt x="8789" y="6433"/>
                    </a:cubicBezTo>
                    <a:cubicBezTo>
                      <a:pt x="5058" y="12953"/>
                      <a:pt x="12992" y="27278"/>
                      <a:pt x="8361" y="45077"/>
                    </a:cubicBezTo>
                    <a:cubicBezTo>
                      <a:pt x="2442" y="67894"/>
                      <a:pt x="11320" y="101047"/>
                      <a:pt x="19255" y="121548"/>
                    </a:cubicBezTo>
                    <a:cubicBezTo>
                      <a:pt x="27146" y="142092"/>
                      <a:pt x="8361" y="251760"/>
                      <a:pt x="16295" y="270031"/>
                    </a:cubicBezTo>
                    <a:cubicBezTo>
                      <a:pt x="24187" y="288302"/>
                      <a:pt x="3428" y="369148"/>
                      <a:pt x="10377" y="378498"/>
                    </a:cubicBezTo>
                    <a:cubicBezTo>
                      <a:pt x="22214" y="394496"/>
                      <a:pt x="14322" y="356796"/>
                      <a:pt x="32079" y="353408"/>
                    </a:cubicBezTo>
                    <a:cubicBezTo>
                      <a:pt x="49835" y="349977"/>
                      <a:pt x="49835" y="376225"/>
                      <a:pt x="60729" y="381929"/>
                    </a:cubicBezTo>
                    <a:cubicBezTo>
                      <a:pt x="71537" y="387719"/>
                      <a:pt x="64631" y="345473"/>
                      <a:pt x="54768" y="34774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59" name="Freeform: Shape 341">
                <a:extLst>
                  <a:ext uri="{FF2B5EF4-FFF2-40B4-BE49-F238E27FC236}">
                    <a16:creationId xmlns:a16="http://schemas.microsoft.com/office/drawing/2014/main" id="{241CAF2B-C9D3-E02D-EE09-444A267344BF}"/>
                  </a:ext>
                </a:extLst>
              </p:cNvPr>
              <p:cNvSpPr/>
              <p:nvPr/>
            </p:nvSpPr>
            <p:spPr>
              <a:xfrm>
                <a:off x="8429049" y="1275953"/>
                <a:ext cx="95130" cy="42644"/>
              </a:xfrm>
              <a:custGeom>
                <a:avLst/>
                <a:gdLst>
                  <a:gd name="connsiteX0" fmla="*/ 54964 w 124378"/>
                  <a:gd name="connsiteY0" fmla="*/ 10875 h 55756"/>
                  <a:gd name="connsiteX1" fmla="*/ 30259 w 124378"/>
                  <a:gd name="connsiteY1" fmla="*/ 21168 h 55756"/>
                  <a:gd name="connsiteX2" fmla="*/ 10487 w 124378"/>
                  <a:gd name="connsiteY2" fmla="*/ 43985 h 55756"/>
                  <a:gd name="connsiteX3" fmla="*/ 83571 w 124378"/>
                  <a:gd name="connsiteY3" fmla="*/ 37123 h 55756"/>
                  <a:gd name="connsiteX4" fmla="*/ 119126 w 124378"/>
                  <a:gd name="connsiteY4" fmla="*/ 21168 h 55756"/>
                  <a:gd name="connsiteX5" fmla="*/ 54964 w 124378"/>
                  <a:gd name="connsiteY5" fmla="*/ 10875 h 5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378" h="55756">
                    <a:moveTo>
                      <a:pt x="54964" y="10875"/>
                    </a:moveTo>
                    <a:cubicBezTo>
                      <a:pt x="57923" y="19967"/>
                      <a:pt x="50031" y="21168"/>
                      <a:pt x="30259" y="21168"/>
                    </a:cubicBezTo>
                    <a:cubicBezTo>
                      <a:pt x="10487" y="21168"/>
                      <a:pt x="194" y="34078"/>
                      <a:pt x="10487" y="43985"/>
                    </a:cubicBezTo>
                    <a:cubicBezTo>
                      <a:pt x="22368" y="55437"/>
                      <a:pt x="74650" y="50848"/>
                      <a:pt x="83571" y="37123"/>
                    </a:cubicBezTo>
                    <a:cubicBezTo>
                      <a:pt x="92449" y="23441"/>
                      <a:pt x="115180" y="34850"/>
                      <a:pt x="119126" y="21168"/>
                    </a:cubicBezTo>
                    <a:cubicBezTo>
                      <a:pt x="123072" y="7444"/>
                      <a:pt x="51962" y="1739"/>
                      <a:pt x="54964" y="1087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60" name="Freeform: Shape 342">
                <a:extLst>
                  <a:ext uri="{FF2B5EF4-FFF2-40B4-BE49-F238E27FC236}">
                    <a16:creationId xmlns:a16="http://schemas.microsoft.com/office/drawing/2014/main" id="{CA7531C5-DC70-D4E7-1386-B2B62474B89F}"/>
                  </a:ext>
                </a:extLst>
              </p:cNvPr>
              <p:cNvSpPr/>
              <p:nvPr/>
            </p:nvSpPr>
            <p:spPr>
              <a:xfrm>
                <a:off x="8429690" y="1215052"/>
                <a:ext cx="88569" cy="26242"/>
              </a:xfrm>
              <a:custGeom>
                <a:avLst/>
                <a:gdLst>
                  <a:gd name="connsiteX0" fmla="*/ 98345 w 115801"/>
                  <a:gd name="connsiteY0" fmla="*/ 9656 h 34311"/>
                  <a:gd name="connsiteX1" fmla="*/ 51510 w 115801"/>
                  <a:gd name="connsiteY1" fmla="*/ 7211 h 34311"/>
                  <a:gd name="connsiteX2" fmla="*/ 17627 w 115801"/>
                  <a:gd name="connsiteY2" fmla="*/ 13259 h 34311"/>
                  <a:gd name="connsiteX3" fmla="*/ 7763 w 115801"/>
                  <a:gd name="connsiteY3" fmla="*/ 15918 h 34311"/>
                  <a:gd name="connsiteX4" fmla="*/ 6433 w 115801"/>
                  <a:gd name="connsiteY4" fmla="*/ 16347 h 34311"/>
                  <a:gd name="connsiteX5" fmla="*/ 49194 w 115801"/>
                  <a:gd name="connsiteY5" fmla="*/ 28827 h 34311"/>
                  <a:gd name="connsiteX6" fmla="*/ 81747 w 115801"/>
                  <a:gd name="connsiteY6" fmla="*/ 13988 h 34311"/>
                  <a:gd name="connsiteX7" fmla="*/ 109454 w 115801"/>
                  <a:gd name="connsiteY7" fmla="*/ 12272 h 34311"/>
                  <a:gd name="connsiteX8" fmla="*/ 98345 w 115801"/>
                  <a:gd name="connsiteY8" fmla="*/ 9656 h 34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801" h="34311">
                    <a:moveTo>
                      <a:pt x="98345" y="9656"/>
                    </a:moveTo>
                    <a:cubicBezTo>
                      <a:pt x="82605" y="6225"/>
                      <a:pt x="66993" y="5753"/>
                      <a:pt x="51510" y="7211"/>
                    </a:cubicBezTo>
                    <a:cubicBezTo>
                      <a:pt x="51768" y="12186"/>
                      <a:pt x="31309" y="12615"/>
                      <a:pt x="17627" y="13259"/>
                    </a:cubicBezTo>
                    <a:cubicBezTo>
                      <a:pt x="14325" y="14116"/>
                      <a:pt x="11023" y="14974"/>
                      <a:pt x="7763" y="15918"/>
                    </a:cubicBezTo>
                    <a:cubicBezTo>
                      <a:pt x="7334" y="16046"/>
                      <a:pt x="6905" y="16218"/>
                      <a:pt x="6433" y="16347"/>
                    </a:cubicBezTo>
                    <a:cubicBezTo>
                      <a:pt x="10079" y="22780"/>
                      <a:pt x="26935" y="28827"/>
                      <a:pt x="49194" y="28827"/>
                    </a:cubicBezTo>
                    <a:cubicBezTo>
                      <a:pt x="72869" y="28827"/>
                      <a:pt x="65964" y="11672"/>
                      <a:pt x="81747" y="13988"/>
                    </a:cubicBezTo>
                    <a:cubicBezTo>
                      <a:pt x="91955" y="15489"/>
                      <a:pt x="104135" y="15489"/>
                      <a:pt x="109454" y="12272"/>
                    </a:cubicBezTo>
                    <a:cubicBezTo>
                      <a:pt x="105808" y="11372"/>
                      <a:pt x="102120" y="10471"/>
                      <a:pt x="98345" y="965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61" name="Freeform: Shape 343">
                <a:extLst>
                  <a:ext uri="{FF2B5EF4-FFF2-40B4-BE49-F238E27FC236}">
                    <a16:creationId xmlns:a16="http://schemas.microsoft.com/office/drawing/2014/main" id="{FCC2EE8F-714B-2A62-4298-89D2475CD016}"/>
                  </a:ext>
                </a:extLst>
              </p:cNvPr>
              <p:cNvSpPr/>
              <p:nvPr/>
            </p:nvSpPr>
            <p:spPr>
              <a:xfrm>
                <a:off x="9821954" y="1658382"/>
                <a:ext cx="55766" cy="32803"/>
              </a:xfrm>
              <a:custGeom>
                <a:avLst/>
                <a:gdLst>
                  <a:gd name="connsiteX0" fmla="*/ 27120 w 72911"/>
                  <a:gd name="connsiteY0" fmla="*/ 13353 h 42889"/>
                  <a:gd name="connsiteX1" fmla="*/ 7390 w 72911"/>
                  <a:gd name="connsiteY1" fmla="*/ 31624 h 42889"/>
                  <a:gd name="connsiteX2" fmla="*/ 67607 w 72911"/>
                  <a:gd name="connsiteY2" fmla="*/ 20215 h 42889"/>
                  <a:gd name="connsiteX3" fmla="*/ 27120 w 72911"/>
                  <a:gd name="connsiteY3" fmla="*/ 13353 h 42889"/>
                </a:gdLst>
                <a:ahLst/>
                <a:cxnLst>
                  <a:cxn ang="0">
                    <a:pos x="connsiteX0" y="connsiteY0"/>
                  </a:cxn>
                  <a:cxn ang="0">
                    <a:pos x="connsiteX1" y="connsiteY1"/>
                  </a:cxn>
                  <a:cxn ang="0">
                    <a:pos x="connsiteX2" y="connsiteY2"/>
                  </a:cxn>
                  <a:cxn ang="0">
                    <a:pos x="connsiteX3" y="connsiteY3"/>
                  </a:cxn>
                </a:cxnLst>
                <a:rect l="l" t="t" r="r" b="b"/>
                <a:pathLst>
                  <a:path w="72911" h="42889">
                    <a:moveTo>
                      <a:pt x="27120" y="13353"/>
                    </a:moveTo>
                    <a:cubicBezTo>
                      <a:pt x="23174" y="22488"/>
                      <a:pt x="1687" y="23089"/>
                      <a:pt x="7390" y="31624"/>
                    </a:cubicBezTo>
                    <a:cubicBezTo>
                      <a:pt x="17255" y="46463"/>
                      <a:pt x="66621" y="38486"/>
                      <a:pt x="67607" y="20215"/>
                    </a:cubicBezTo>
                    <a:cubicBezTo>
                      <a:pt x="68594" y="1944"/>
                      <a:pt x="31108" y="4217"/>
                      <a:pt x="27120" y="1335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62" name="Freeform: Shape 344">
                <a:extLst>
                  <a:ext uri="{FF2B5EF4-FFF2-40B4-BE49-F238E27FC236}">
                    <a16:creationId xmlns:a16="http://schemas.microsoft.com/office/drawing/2014/main" id="{35BAC0A2-424C-B1FD-9605-6B7B5533FAB0}"/>
                  </a:ext>
                </a:extLst>
              </p:cNvPr>
              <p:cNvSpPr/>
              <p:nvPr/>
            </p:nvSpPr>
            <p:spPr>
              <a:xfrm>
                <a:off x="8385388" y="1229157"/>
                <a:ext cx="98410" cy="45925"/>
              </a:xfrm>
              <a:custGeom>
                <a:avLst/>
                <a:gdLst>
                  <a:gd name="connsiteX0" fmla="*/ 123888 w 128667"/>
                  <a:gd name="connsiteY0" fmla="*/ 32086 h 60045"/>
                  <a:gd name="connsiteX1" fmla="*/ 66631 w 128667"/>
                  <a:gd name="connsiteY1" fmla="*/ 14931 h 60045"/>
                  <a:gd name="connsiteX2" fmla="*/ 42913 w 128667"/>
                  <a:gd name="connsiteY2" fmla="*/ 20635 h 60045"/>
                  <a:gd name="connsiteX3" fmla="*/ 7358 w 128667"/>
                  <a:gd name="connsiteY3" fmla="*/ 44610 h 60045"/>
                  <a:gd name="connsiteX4" fmla="*/ 123888 w 128667"/>
                  <a:gd name="connsiteY4" fmla="*/ 32086 h 60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667" h="60045">
                    <a:moveTo>
                      <a:pt x="123888" y="32086"/>
                    </a:moveTo>
                    <a:cubicBezTo>
                      <a:pt x="126848" y="8111"/>
                      <a:pt x="92322" y="27497"/>
                      <a:pt x="66631" y="14931"/>
                    </a:cubicBezTo>
                    <a:cubicBezTo>
                      <a:pt x="40941" y="2364"/>
                      <a:pt x="25843" y="3308"/>
                      <a:pt x="42913" y="20635"/>
                    </a:cubicBezTo>
                    <a:cubicBezTo>
                      <a:pt x="50848" y="28655"/>
                      <a:pt x="-1048" y="34874"/>
                      <a:pt x="7358" y="44610"/>
                    </a:cubicBezTo>
                    <a:cubicBezTo>
                      <a:pt x="26100" y="66355"/>
                      <a:pt x="120929" y="56061"/>
                      <a:pt x="123888" y="3208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63" name="Freeform: Shape 345">
                <a:extLst>
                  <a:ext uri="{FF2B5EF4-FFF2-40B4-BE49-F238E27FC236}">
                    <a16:creationId xmlns:a16="http://schemas.microsoft.com/office/drawing/2014/main" id="{2D2781F4-5C49-235D-618D-E3DD94F5327D}"/>
                  </a:ext>
                </a:extLst>
              </p:cNvPr>
              <p:cNvSpPr/>
              <p:nvPr/>
            </p:nvSpPr>
            <p:spPr>
              <a:xfrm>
                <a:off x="8311303" y="1511421"/>
                <a:ext cx="462528" cy="373959"/>
              </a:xfrm>
              <a:custGeom>
                <a:avLst/>
                <a:gdLst>
                  <a:gd name="connsiteX0" fmla="*/ 593073 w 604739"/>
                  <a:gd name="connsiteY0" fmla="*/ 13615 h 488938"/>
                  <a:gd name="connsiteX1" fmla="*/ 490353 w 604739"/>
                  <a:gd name="connsiteY1" fmla="*/ 36475 h 488938"/>
                  <a:gd name="connsiteX2" fmla="*/ 436055 w 604739"/>
                  <a:gd name="connsiteY2" fmla="*/ 51315 h 488938"/>
                  <a:gd name="connsiteX3" fmla="*/ 386304 w 604739"/>
                  <a:gd name="connsiteY3" fmla="*/ 63968 h 488938"/>
                  <a:gd name="connsiteX4" fmla="*/ 365674 w 604739"/>
                  <a:gd name="connsiteY4" fmla="*/ 66026 h 488938"/>
                  <a:gd name="connsiteX5" fmla="*/ 360527 w 604739"/>
                  <a:gd name="connsiteY5" fmla="*/ 65383 h 488938"/>
                  <a:gd name="connsiteX6" fmla="*/ 334279 w 604739"/>
                  <a:gd name="connsiteY6" fmla="*/ 69329 h 488938"/>
                  <a:gd name="connsiteX7" fmla="*/ 307387 w 604739"/>
                  <a:gd name="connsiteY7" fmla="*/ 79879 h 488938"/>
                  <a:gd name="connsiteX8" fmla="*/ 306058 w 604739"/>
                  <a:gd name="connsiteY8" fmla="*/ 79837 h 488938"/>
                  <a:gd name="connsiteX9" fmla="*/ 285514 w 604739"/>
                  <a:gd name="connsiteY9" fmla="*/ 86056 h 488938"/>
                  <a:gd name="connsiteX10" fmla="*/ 278652 w 604739"/>
                  <a:gd name="connsiteY10" fmla="*/ 86999 h 488938"/>
                  <a:gd name="connsiteX11" fmla="*/ 219035 w 604739"/>
                  <a:gd name="connsiteY11" fmla="*/ 133920 h 488938"/>
                  <a:gd name="connsiteX12" fmla="*/ 182622 w 604739"/>
                  <a:gd name="connsiteY12" fmla="*/ 140482 h 488938"/>
                  <a:gd name="connsiteX13" fmla="*/ 168341 w 604739"/>
                  <a:gd name="connsiteY13" fmla="*/ 154893 h 488938"/>
                  <a:gd name="connsiteX14" fmla="*/ 173401 w 604739"/>
                  <a:gd name="connsiteY14" fmla="*/ 163256 h 488938"/>
                  <a:gd name="connsiteX15" fmla="*/ 154616 w 604739"/>
                  <a:gd name="connsiteY15" fmla="*/ 188347 h 488938"/>
                  <a:gd name="connsiteX16" fmla="*/ 144751 w 604739"/>
                  <a:gd name="connsiteY16" fmla="*/ 213480 h 488938"/>
                  <a:gd name="connsiteX17" fmla="*/ 117388 w 604739"/>
                  <a:gd name="connsiteY17" fmla="*/ 230335 h 488938"/>
                  <a:gd name="connsiteX18" fmla="*/ 113013 w 604739"/>
                  <a:gd name="connsiteY18" fmla="*/ 243888 h 488938"/>
                  <a:gd name="connsiteX19" fmla="*/ 105379 w 604739"/>
                  <a:gd name="connsiteY19" fmla="*/ 256112 h 488938"/>
                  <a:gd name="connsiteX20" fmla="*/ 112156 w 604739"/>
                  <a:gd name="connsiteY20" fmla="*/ 258085 h 488938"/>
                  <a:gd name="connsiteX21" fmla="*/ 103277 w 604739"/>
                  <a:gd name="connsiteY21" fmla="*/ 279787 h 488938"/>
                  <a:gd name="connsiteX22" fmla="*/ 73641 w 604739"/>
                  <a:gd name="connsiteY22" fmla="*/ 296899 h 488938"/>
                  <a:gd name="connsiteX23" fmla="*/ 49923 w 604739"/>
                  <a:gd name="connsiteY23" fmla="*/ 316328 h 488938"/>
                  <a:gd name="connsiteX24" fmla="*/ 44776 w 604739"/>
                  <a:gd name="connsiteY24" fmla="*/ 317014 h 488938"/>
                  <a:gd name="connsiteX25" fmla="*/ 44433 w 604739"/>
                  <a:gd name="connsiteY25" fmla="*/ 321046 h 488938"/>
                  <a:gd name="connsiteX26" fmla="*/ 60774 w 604739"/>
                  <a:gd name="connsiteY26" fmla="*/ 342534 h 488938"/>
                  <a:gd name="connsiteX27" fmla="*/ 41045 w 604739"/>
                  <a:gd name="connsiteY27" fmla="*/ 365394 h 488938"/>
                  <a:gd name="connsiteX28" fmla="*/ 18957 w 604739"/>
                  <a:gd name="connsiteY28" fmla="*/ 376073 h 488938"/>
                  <a:gd name="connsiteX29" fmla="*/ 14668 w 604739"/>
                  <a:gd name="connsiteY29" fmla="*/ 394987 h 488938"/>
                  <a:gd name="connsiteX30" fmla="*/ 6433 w 604739"/>
                  <a:gd name="connsiteY30" fmla="*/ 409998 h 488938"/>
                  <a:gd name="connsiteX31" fmla="*/ 33153 w 604739"/>
                  <a:gd name="connsiteY31" fmla="*/ 413344 h 488938"/>
                  <a:gd name="connsiteX32" fmla="*/ 39072 w 604739"/>
                  <a:gd name="connsiteY32" fmla="*/ 441865 h 488938"/>
                  <a:gd name="connsiteX33" fmla="*/ 51939 w 604739"/>
                  <a:gd name="connsiteY33" fmla="*/ 429299 h 488938"/>
                  <a:gd name="connsiteX34" fmla="*/ 78573 w 604739"/>
                  <a:gd name="connsiteY34" fmla="*/ 451001 h 488938"/>
                  <a:gd name="connsiteX35" fmla="*/ 121076 w 604739"/>
                  <a:gd name="connsiteY35" fmla="*/ 478407 h 488938"/>
                  <a:gd name="connsiteX36" fmla="*/ 207927 w 604739"/>
                  <a:gd name="connsiteY36" fmla="*/ 478407 h 488938"/>
                  <a:gd name="connsiteX37" fmla="*/ 162508 w 604739"/>
                  <a:gd name="connsiteY37" fmla="*/ 431572 h 488938"/>
                  <a:gd name="connsiteX38" fmla="*/ 150670 w 604739"/>
                  <a:gd name="connsiteY38" fmla="*/ 348238 h 488938"/>
                  <a:gd name="connsiteX39" fmla="*/ 177304 w 604739"/>
                  <a:gd name="connsiteY39" fmla="*/ 303676 h 488938"/>
                  <a:gd name="connsiteX40" fmla="*/ 193259 w 604739"/>
                  <a:gd name="connsiteY40" fmla="*/ 278543 h 488938"/>
                  <a:gd name="connsiteX41" fmla="*/ 194203 w 604739"/>
                  <a:gd name="connsiteY41" fmla="*/ 228362 h 488938"/>
                  <a:gd name="connsiteX42" fmla="*/ 245541 w 604739"/>
                  <a:gd name="connsiteY42" fmla="*/ 199970 h 488938"/>
                  <a:gd name="connsiteX43" fmla="*/ 245498 w 604739"/>
                  <a:gd name="connsiteY43" fmla="*/ 199755 h 488938"/>
                  <a:gd name="connsiteX44" fmla="*/ 267072 w 604739"/>
                  <a:gd name="connsiteY44" fmla="*/ 193708 h 488938"/>
                  <a:gd name="connsiteX45" fmla="*/ 270503 w 604739"/>
                  <a:gd name="connsiteY45" fmla="*/ 192378 h 488938"/>
                  <a:gd name="connsiteX46" fmla="*/ 277065 w 604739"/>
                  <a:gd name="connsiteY46" fmla="*/ 187231 h 488938"/>
                  <a:gd name="connsiteX47" fmla="*/ 287015 w 604739"/>
                  <a:gd name="connsiteY47" fmla="*/ 180626 h 488938"/>
                  <a:gd name="connsiteX48" fmla="*/ 313478 w 604739"/>
                  <a:gd name="connsiteY48" fmla="*/ 172778 h 488938"/>
                  <a:gd name="connsiteX49" fmla="*/ 321498 w 604739"/>
                  <a:gd name="connsiteY49" fmla="*/ 163256 h 488938"/>
                  <a:gd name="connsiteX50" fmla="*/ 507166 w 604739"/>
                  <a:gd name="connsiteY50" fmla="*/ 82153 h 488938"/>
                  <a:gd name="connsiteX51" fmla="*/ 593073 w 604739"/>
                  <a:gd name="connsiteY51" fmla="*/ 13615 h 488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4739" h="488938">
                    <a:moveTo>
                      <a:pt x="593073" y="13615"/>
                    </a:moveTo>
                    <a:cubicBezTo>
                      <a:pt x="570342" y="-6928"/>
                      <a:pt x="506180" y="21636"/>
                      <a:pt x="490353" y="36475"/>
                    </a:cubicBezTo>
                    <a:cubicBezTo>
                      <a:pt x="474527" y="51315"/>
                      <a:pt x="451839" y="41022"/>
                      <a:pt x="436055" y="51315"/>
                    </a:cubicBezTo>
                    <a:cubicBezTo>
                      <a:pt x="424475" y="58864"/>
                      <a:pt x="403374" y="65726"/>
                      <a:pt x="386304" y="63968"/>
                    </a:cubicBezTo>
                    <a:cubicBezTo>
                      <a:pt x="380257" y="66455"/>
                      <a:pt x="373351" y="67399"/>
                      <a:pt x="365674" y="66026"/>
                    </a:cubicBezTo>
                    <a:cubicBezTo>
                      <a:pt x="363916" y="65726"/>
                      <a:pt x="362243" y="65597"/>
                      <a:pt x="360527" y="65383"/>
                    </a:cubicBezTo>
                    <a:cubicBezTo>
                      <a:pt x="351906" y="64782"/>
                      <a:pt x="343114" y="66584"/>
                      <a:pt x="334279" y="69329"/>
                    </a:cubicBezTo>
                    <a:cubicBezTo>
                      <a:pt x="328489" y="76405"/>
                      <a:pt x="319525" y="80823"/>
                      <a:pt x="307387" y="79879"/>
                    </a:cubicBezTo>
                    <a:cubicBezTo>
                      <a:pt x="306959" y="79837"/>
                      <a:pt x="306530" y="79879"/>
                      <a:pt x="306058" y="79837"/>
                    </a:cubicBezTo>
                    <a:cubicBezTo>
                      <a:pt x="299067" y="82453"/>
                      <a:pt x="292205" y="84769"/>
                      <a:pt x="285514" y="86056"/>
                    </a:cubicBezTo>
                    <a:cubicBezTo>
                      <a:pt x="283326" y="86484"/>
                      <a:pt x="281011" y="86742"/>
                      <a:pt x="278652" y="86999"/>
                    </a:cubicBezTo>
                    <a:cubicBezTo>
                      <a:pt x="258022" y="100381"/>
                      <a:pt x="238807" y="117751"/>
                      <a:pt x="219035" y="133920"/>
                    </a:cubicBezTo>
                    <a:cubicBezTo>
                      <a:pt x="207327" y="143484"/>
                      <a:pt x="194031" y="144514"/>
                      <a:pt x="182622" y="140482"/>
                    </a:cubicBezTo>
                    <a:cubicBezTo>
                      <a:pt x="177776" y="145200"/>
                      <a:pt x="173015" y="150004"/>
                      <a:pt x="168341" y="154893"/>
                    </a:cubicBezTo>
                    <a:cubicBezTo>
                      <a:pt x="169327" y="157766"/>
                      <a:pt x="170957" y="160640"/>
                      <a:pt x="173401" y="163256"/>
                    </a:cubicBezTo>
                    <a:cubicBezTo>
                      <a:pt x="187212" y="178096"/>
                      <a:pt x="147753" y="179211"/>
                      <a:pt x="154616" y="188347"/>
                    </a:cubicBezTo>
                    <a:cubicBezTo>
                      <a:pt x="161564" y="197482"/>
                      <a:pt x="139819" y="203229"/>
                      <a:pt x="144751" y="213480"/>
                    </a:cubicBezTo>
                    <a:cubicBezTo>
                      <a:pt x="149555" y="223473"/>
                      <a:pt x="131970" y="226990"/>
                      <a:pt x="117388" y="230335"/>
                    </a:cubicBezTo>
                    <a:cubicBezTo>
                      <a:pt x="116659" y="234967"/>
                      <a:pt x="115115" y="239513"/>
                      <a:pt x="113013" y="243888"/>
                    </a:cubicBezTo>
                    <a:cubicBezTo>
                      <a:pt x="110912" y="248220"/>
                      <a:pt x="108295" y="252295"/>
                      <a:pt x="105379" y="256112"/>
                    </a:cubicBezTo>
                    <a:cubicBezTo>
                      <a:pt x="107094" y="257141"/>
                      <a:pt x="109239" y="257913"/>
                      <a:pt x="112156" y="258085"/>
                    </a:cubicBezTo>
                    <a:cubicBezTo>
                      <a:pt x="130941" y="259243"/>
                      <a:pt x="101262" y="262674"/>
                      <a:pt x="103277" y="279787"/>
                    </a:cubicBezTo>
                    <a:cubicBezTo>
                      <a:pt x="105250" y="296899"/>
                      <a:pt x="72654" y="285491"/>
                      <a:pt x="73641" y="296899"/>
                    </a:cubicBezTo>
                    <a:cubicBezTo>
                      <a:pt x="74627" y="308351"/>
                      <a:pt x="68666" y="316328"/>
                      <a:pt x="49923" y="316328"/>
                    </a:cubicBezTo>
                    <a:cubicBezTo>
                      <a:pt x="47435" y="316328"/>
                      <a:pt x="45805" y="316586"/>
                      <a:pt x="44776" y="317014"/>
                    </a:cubicBezTo>
                    <a:cubicBezTo>
                      <a:pt x="44733" y="318344"/>
                      <a:pt x="44648" y="319716"/>
                      <a:pt x="44433" y="321046"/>
                    </a:cubicBezTo>
                    <a:cubicBezTo>
                      <a:pt x="47907" y="326150"/>
                      <a:pt x="59530" y="334556"/>
                      <a:pt x="60774" y="342534"/>
                    </a:cubicBezTo>
                    <a:cubicBezTo>
                      <a:pt x="62747" y="355100"/>
                      <a:pt x="42031" y="345965"/>
                      <a:pt x="41045" y="365394"/>
                    </a:cubicBezTo>
                    <a:cubicBezTo>
                      <a:pt x="40487" y="376030"/>
                      <a:pt x="29551" y="375001"/>
                      <a:pt x="18957" y="376073"/>
                    </a:cubicBezTo>
                    <a:cubicBezTo>
                      <a:pt x="17585" y="382378"/>
                      <a:pt x="16255" y="388725"/>
                      <a:pt x="14668" y="394987"/>
                    </a:cubicBezTo>
                    <a:cubicBezTo>
                      <a:pt x="13210" y="400820"/>
                      <a:pt x="10208" y="405795"/>
                      <a:pt x="6433" y="409998"/>
                    </a:cubicBezTo>
                    <a:cubicBezTo>
                      <a:pt x="13553" y="413472"/>
                      <a:pt x="24404" y="412701"/>
                      <a:pt x="33153" y="413344"/>
                    </a:cubicBezTo>
                    <a:cubicBezTo>
                      <a:pt x="48937" y="414502"/>
                      <a:pt x="27235" y="431572"/>
                      <a:pt x="39072" y="441865"/>
                    </a:cubicBezTo>
                    <a:cubicBezTo>
                      <a:pt x="50910" y="452159"/>
                      <a:pt x="59787" y="448727"/>
                      <a:pt x="51939" y="429299"/>
                    </a:cubicBezTo>
                    <a:cubicBezTo>
                      <a:pt x="44047" y="409913"/>
                      <a:pt x="93413" y="436161"/>
                      <a:pt x="78573" y="451001"/>
                    </a:cubicBezTo>
                    <a:cubicBezTo>
                      <a:pt x="63776" y="465840"/>
                      <a:pt x="102291" y="477249"/>
                      <a:pt x="121076" y="478407"/>
                    </a:cubicBezTo>
                    <a:cubicBezTo>
                      <a:pt x="139862" y="479565"/>
                      <a:pt x="206426" y="496378"/>
                      <a:pt x="207927" y="478407"/>
                    </a:cubicBezTo>
                    <a:cubicBezTo>
                      <a:pt x="208957" y="466998"/>
                      <a:pt x="183266" y="456705"/>
                      <a:pt x="162508" y="431572"/>
                    </a:cubicBezTo>
                    <a:cubicBezTo>
                      <a:pt x="141792" y="406482"/>
                      <a:pt x="126952" y="365351"/>
                      <a:pt x="150670" y="348238"/>
                    </a:cubicBezTo>
                    <a:cubicBezTo>
                      <a:pt x="174345" y="331082"/>
                      <a:pt x="153629" y="323105"/>
                      <a:pt x="177304" y="303676"/>
                    </a:cubicBezTo>
                    <a:cubicBezTo>
                      <a:pt x="188498" y="294498"/>
                      <a:pt x="191286" y="285619"/>
                      <a:pt x="193259" y="278543"/>
                    </a:cubicBezTo>
                    <a:cubicBezTo>
                      <a:pt x="180907" y="265247"/>
                      <a:pt x="177133" y="244360"/>
                      <a:pt x="194203" y="228362"/>
                    </a:cubicBezTo>
                    <a:cubicBezTo>
                      <a:pt x="209214" y="214295"/>
                      <a:pt x="226198" y="205888"/>
                      <a:pt x="245541" y="199970"/>
                    </a:cubicBezTo>
                    <a:cubicBezTo>
                      <a:pt x="245541" y="199884"/>
                      <a:pt x="245498" y="199798"/>
                      <a:pt x="245498" y="199755"/>
                    </a:cubicBezTo>
                    <a:cubicBezTo>
                      <a:pt x="243268" y="192936"/>
                      <a:pt x="256006" y="196967"/>
                      <a:pt x="267072" y="193708"/>
                    </a:cubicBezTo>
                    <a:cubicBezTo>
                      <a:pt x="268229" y="193279"/>
                      <a:pt x="269387" y="192850"/>
                      <a:pt x="270503" y="192378"/>
                    </a:cubicBezTo>
                    <a:cubicBezTo>
                      <a:pt x="272948" y="191220"/>
                      <a:pt x="275178" y="189590"/>
                      <a:pt x="277065" y="187231"/>
                    </a:cubicBezTo>
                    <a:cubicBezTo>
                      <a:pt x="279681" y="183929"/>
                      <a:pt x="283155" y="181999"/>
                      <a:pt x="287015" y="180626"/>
                    </a:cubicBezTo>
                    <a:cubicBezTo>
                      <a:pt x="295422" y="173421"/>
                      <a:pt x="304771" y="171362"/>
                      <a:pt x="313478" y="172778"/>
                    </a:cubicBezTo>
                    <a:cubicBezTo>
                      <a:pt x="316823" y="170719"/>
                      <a:pt x="319654" y="167760"/>
                      <a:pt x="321498" y="163256"/>
                    </a:cubicBezTo>
                    <a:cubicBezTo>
                      <a:pt x="329390" y="143827"/>
                      <a:pt x="442961" y="99265"/>
                      <a:pt x="507166" y="82153"/>
                    </a:cubicBezTo>
                    <a:cubicBezTo>
                      <a:pt x="571328" y="65040"/>
                      <a:pt x="615762" y="34160"/>
                      <a:pt x="593073" y="1361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64" name="Freeform: Shape 346">
                <a:extLst>
                  <a:ext uri="{FF2B5EF4-FFF2-40B4-BE49-F238E27FC236}">
                    <a16:creationId xmlns:a16="http://schemas.microsoft.com/office/drawing/2014/main" id="{54A6D57C-55C7-5F2A-552B-239E3E87AFBF}"/>
                  </a:ext>
                </a:extLst>
              </p:cNvPr>
              <p:cNvSpPr/>
              <p:nvPr/>
            </p:nvSpPr>
            <p:spPr>
              <a:xfrm>
                <a:off x="8336011" y="1284929"/>
                <a:ext cx="39364" cy="22963"/>
              </a:xfrm>
              <a:custGeom>
                <a:avLst/>
                <a:gdLst>
                  <a:gd name="connsiteX0" fmla="*/ 49185 w 51467"/>
                  <a:gd name="connsiteY0" fmla="*/ 13981 h 30022"/>
                  <a:gd name="connsiteX1" fmla="*/ 7711 w 51467"/>
                  <a:gd name="connsiteY1" fmla="*/ 19685 h 30022"/>
                  <a:gd name="connsiteX2" fmla="*/ 49185 w 51467"/>
                  <a:gd name="connsiteY2" fmla="*/ 13981 h 30022"/>
                </a:gdLst>
                <a:ahLst/>
                <a:cxnLst>
                  <a:cxn ang="0">
                    <a:pos x="connsiteX0" y="connsiteY0"/>
                  </a:cxn>
                  <a:cxn ang="0">
                    <a:pos x="connsiteX1" y="connsiteY1"/>
                  </a:cxn>
                  <a:cxn ang="0">
                    <a:pos x="connsiteX2" y="connsiteY2"/>
                  </a:cxn>
                </a:cxnLst>
                <a:rect l="l" t="t" r="r" b="b"/>
                <a:pathLst>
                  <a:path w="51467" h="30022">
                    <a:moveTo>
                      <a:pt x="49185" y="13981"/>
                    </a:moveTo>
                    <a:cubicBezTo>
                      <a:pt x="49185" y="-4290"/>
                      <a:pt x="-2239" y="15868"/>
                      <a:pt x="7711" y="19685"/>
                    </a:cubicBezTo>
                    <a:cubicBezTo>
                      <a:pt x="16590" y="23116"/>
                      <a:pt x="49185" y="32252"/>
                      <a:pt x="49185" y="1398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65" name="Freeform: Shape 353">
                <a:extLst>
                  <a:ext uri="{FF2B5EF4-FFF2-40B4-BE49-F238E27FC236}">
                    <a16:creationId xmlns:a16="http://schemas.microsoft.com/office/drawing/2014/main" id="{B4F71B94-2C80-0E93-BC5D-ADB88061B2B1}"/>
                  </a:ext>
                </a:extLst>
              </p:cNvPr>
              <p:cNvSpPr/>
              <p:nvPr/>
            </p:nvSpPr>
            <p:spPr>
              <a:xfrm>
                <a:off x="8722867" y="3150970"/>
                <a:ext cx="203381" cy="157456"/>
              </a:xfrm>
              <a:custGeom>
                <a:avLst/>
                <a:gdLst>
                  <a:gd name="connsiteX0" fmla="*/ 213958 w 265913"/>
                  <a:gd name="connsiteY0" fmla="*/ 165267 h 205868"/>
                  <a:gd name="connsiteX1" fmla="*/ 226782 w 265913"/>
                  <a:gd name="connsiteY1" fmla="*/ 176117 h 205868"/>
                  <a:gd name="connsiteX2" fmla="*/ 250114 w 265913"/>
                  <a:gd name="connsiteY2" fmla="*/ 184609 h 205868"/>
                  <a:gd name="connsiteX3" fmla="*/ 261223 w 265913"/>
                  <a:gd name="connsiteY3" fmla="*/ 182251 h 205868"/>
                  <a:gd name="connsiteX4" fmla="*/ 254617 w 265913"/>
                  <a:gd name="connsiteY4" fmla="*/ 130398 h 205868"/>
                  <a:gd name="connsiteX5" fmla="*/ 221636 w 265913"/>
                  <a:gd name="connsiteY5" fmla="*/ 105951 h 205868"/>
                  <a:gd name="connsiteX6" fmla="*/ 216361 w 265913"/>
                  <a:gd name="connsiteY6" fmla="*/ 72411 h 205868"/>
                  <a:gd name="connsiteX7" fmla="*/ 172871 w 265913"/>
                  <a:gd name="connsiteY7" fmla="*/ 75456 h 205868"/>
                  <a:gd name="connsiteX8" fmla="*/ 145207 w 265913"/>
                  <a:gd name="connsiteY8" fmla="*/ 69323 h 205868"/>
                  <a:gd name="connsiteX9" fmla="*/ 114884 w 265913"/>
                  <a:gd name="connsiteY9" fmla="*/ 67822 h 205868"/>
                  <a:gd name="connsiteX10" fmla="*/ 67406 w 265913"/>
                  <a:gd name="connsiteY10" fmla="*/ 63233 h 205868"/>
                  <a:gd name="connsiteX11" fmla="*/ 91123 w 265913"/>
                  <a:gd name="connsiteY11" fmla="*/ 40373 h 205868"/>
                  <a:gd name="connsiteX12" fmla="*/ 101417 w 265913"/>
                  <a:gd name="connsiteY12" fmla="*/ 40716 h 205868"/>
                  <a:gd name="connsiteX13" fmla="*/ 113212 w 265913"/>
                  <a:gd name="connsiteY13" fmla="*/ 9021 h 205868"/>
                  <a:gd name="connsiteX14" fmla="*/ 90480 w 265913"/>
                  <a:gd name="connsiteY14" fmla="*/ 14725 h 205868"/>
                  <a:gd name="connsiteX15" fmla="*/ 64789 w 265913"/>
                  <a:gd name="connsiteY15" fmla="*/ 21587 h 205868"/>
                  <a:gd name="connsiteX16" fmla="*/ 49006 w 265913"/>
                  <a:gd name="connsiteY16" fmla="*/ 42131 h 205868"/>
                  <a:gd name="connsiteX17" fmla="*/ 38155 w 265913"/>
                  <a:gd name="connsiteY17" fmla="*/ 63833 h 205868"/>
                  <a:gd name="connsiteX18" fmla="*/ 6546 w 265913"/>
                  <a:gd name="connsiteY18" fmla="*/ 77558 h 205868"/>
                  <a:gd name="connsiteX19" fmla="*/ 27304 w 265913"/>
                  <a:gd name="connsiteY19" fmla="*/ 107237 h 205868"/>
                  <a:gd name="connsiteX20" fmla="*/ 31250 w 265913"/>
                  <a:gd name="connsiteY20" fmla="*/ 141506 h 205868"/>
                  <a:gd name="connsiteX21" fmla="*/ 17440 w 265913"/>
                  <a:gd name="connsiteY21" fmla="*/ 181822 h 205868"/>
                  <a:gd name="connsiteX22" fmla="*/ 33094 w 265913"/>
                  <a:gd name="connsiteY22" fmla="*/ 183752 h 205868"/>
                  <a:gd name="connsiteX23" fmla="*/ 67363 w 265913"/>
                  <a:gd name="connsiteY23" fmla="*/ 173072 h 205868"/>
                  <a:gd name="connsiteX24" fmla="*/ 99015 w 265913"/>
                  <a:gd name="connsiteY24" fmla="*/ 154759 h 205868"/>
                  <a:gd name="connsiteX25" fmla="*/ 129295 w 265913"/>
                  <a:gd name="connsiteY25" fmla="*/ 121176 h 205868"/>
                  <a:gd name="connsiteX26" fmla="*/ 142505 w 265913"/>
                  <a:gd name="connsiteY26" fmla="*/ 153215 h 205868"/>
                  <a:gd name="connsiteX27" fmla="*/ 143835 w 265913"/>
                  <a:gd name="connsiteY27" fmla="*/ 198978 h 205868"/>
                  <a:gd name="connsiteX28" fmla="*/ 159618 w 265913"/>
                  <a:gd name="connsiteY28" fmla="*/ 199878 h 205868"/>
                  <a:gd name="connsiteX29" fmla="*/ 177417 w 265913"/>
                  <a:gd name="connsiteY29" fmla="*/ 192973 h 205868"/>
                  <a:gd name="connsiteX30" fmla="*/ 213958 w 265913"/>
                  <a:gd name="connsiteY30" fmla="*/ 165267 h 205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65913" h="205868">
                    <a:moveTo>
                      <a:pt x="213958" y="165267"/>
                    </a:moveTo>
                    <a:cubicBezTo>
                      <a:pt x="221378" y="170413"/>
                      <a:pt x="219877" y="177276"/>
                      <a:pt x="226782" y="176117"/>
                    </a:cubicBezTo>
                    <a:cubicBezTo>
                      <a:pt x="232444" y="175217"/>
                      <a:pt x="244367" y="178176"/>
                      <a:pt x="250114" y="184609"/>
                    </a:cubicBezTo>
                    <a:cubicBezTo>
                      <a:pt x="256161" y="182894"/>
                      <a:pt x="261223" y="182251"/>
                      <a:pt x="261223" y="182251"/>
                    </a:cubicBezTo>
                    <a:cubicBezTo>
                      <a:pt x="261223" y="182251"/>
                      <a:pt x="255947" y="142578"/>
                      <a:pt x="254617" y="130398"/>
                    </a:cubicBezTo>
                    <a:cubicBezTo>
                      <a:pt x="253288" y="118174"/>
                      <a:pt x="221636" y="105951"/>
                      <a:pt x="221636" y="105951"/>
                    </a:cubicBezTo>
                    <a:lnTo>
                      <a:pt x="216361" y="72411"/>
                    </a:lnTo>
                    <a:cubicBezTo>
                      <a:pt x="216361" y="72411"/>
                      <a:pt x="179432" y="78501"/>
                      <a:pt x="172871" y="75456"/>
                    </a:cubicBezTo>
                    <a:cubicBezTo>
                      <a:pt x="166266" y="72411"/>
                      <a:pt x="151769" y="80045"/>
                      <a:pt x="145207" y="69323"/>
                    </a:cubicBezTo>
                    <a:cubicBezTo>
                      <a:pt x="138602" y="58644"/>
                      <a:pt x="126722" y="76957"/>
                      <a:pt x="114884" y="67822"/>
                    </a:cubicBezTo>
                    <a:cubicBezTo>
                      <a:pt x="103047" y="58686"/>
                      <a:pt x="68735" y="70867"/>
                      <a:pt x="67406" y="63233"/>
                    </a:cubicBezTo>
                    <a:cubicBezTo>
                      <a:pt x="66076" y="55599"/>
                      <a:pt x="81902" y="38829"/>
                      <a:pt x="91123" y="40373"/>
                    </a:cubicBezTo>
                    <a:cubicBezTo>
                      <a:pt x="93354" y="40716"/>
                      <a:pt x="97042" y="40845"/>
                      <a:pt x="101417" y="40716"/>
                    </a:cubicBezTo>
                    <a:cubicBezTo>
                      <a:pt x="105749" y="32653"/>
                      <a:pt x="115528" y="13524"/>
                      <a:pt x="113212" y="9021"/>
                    </a:cubicBezTo>
                    <a:cubicBezTo>
                      <a:pt x="110252" y="3317"/>
                      <a:pt x="98372" y="7863"/>
                      <a:pt x="90480" y="14725"/>
                    </a:cubicBezTo>
                    <a:cubicBezTo>
                      <a:pt x="82589" y="21587"/>
                      <a:pt x="67792" y="11294"/>
                      <a:pt x="64789" y="21587"/>
                    </a:cubicBezTo>
                    <a:cubicBezTo>
                      <a:pt x="61830" y="31838"/>
                      <a:pt x="57884" y="42131"/>
                      <a:pt x="49006" y="42131"/>
                    </a:cubicBezTo>
                    <a:cubicBezTo>
                      <a:pt x="40128" y="42131"/>
                      <a:pt x="46990" y="59287"/>
                      <a:pt x="38155" y="63833"/>
                    </a:cubicBezTo>
                    <a:cubicBezTo>
                      <a:pt x="29234" y="68422"/>
                      <a:pt x="8519" y="67264"/>
                      <a:pt x="6546" y="77558"/>
                    </a:cubicBezTo>
                    <a:cubicBezTo>
                      <a:pt x="4573" y="87808"/>
                      <a:pt x="29234" y="94671"/>
                      <a:pt x="27304" y="107237"/>
                    </a:cubicBezTo>
                    <a:cubicBezTo>
                      <a:pt x="25331" y="119804"/>
                      <a:pt x="40128" y="133528"/>
                      <a:pt x="31250" y="141506"/>
                    </a:cubicBezTo>
                    <a:cubicBezTo>
                      <a:pt x="23659" y="148368"/>
                      <a:pt x="16796" y="159433"/>
                      <a:pt x="17440" y="181822"/>
                    </a:cubicBezTo>
                    <a:cubicBezTo>
                      <a:pt x="23873" y="186582"/>
                      <a:pt x="30049" y="190828"/>
                      <a:pt x="33094" y="183752"/>
                    </a:cubicBezTo>
                    <a:cubicBezTo>
                      <a:pt x="38370" y="171528"/>
                      <a:pt x="67363" y="183752"/>
                      <a:pt x="67363" y="173072"/>
                    </a:cubicBezTo>
                    <a:cubicBezTo>
                      <a:pt x="67363" y="162393"/>
                      <a:pt x="99015" y="165438"/>
                      <a:pt x="99015" y="154759"/>
                    </a:cubicBezTo>
                    <a:cubicBezTo>
                      <a:pt x="99015" y="144079"/>
                      <a:pt x="117458" y="119675"/>
                      <a:pt x="129295" y="121176"/>
                    </a:cubicBezTo>
                    <a:cubicBezTo>
                      <a:pt x="141175" y="122720"/>
                      <a:pt x="128008" y="145580"/>
                      <a:pt x="142505" y="153215"/>
                    </a:cubicBezTo>
                    <a:cubicBezTo>
                      <a:pt x="157001" y="160849"/>
                      <a:pt x="135900" y="188298"/>
                      <a:pt x="143835" y="198978"/>
                    </a:cubicBezTo>
                    <a:cubicBezTo>
                      <a:pt x="146794" y="202966"/>
                      <a:pt x="152584" y="202280"/>
                      <a:pt x="159618" y="199878"/>
                    </a:cubicBezTo>
                    <a:cubicBezTo>
                      <a:pt x="164979" y="198077"/>
                      <a:pt x="171155" y="195332"/>
                      <a:pt x="177417" y="192973"/>
                    </a:cubicBezTo>
                    <a:cubicBezTo>
                      <a:pt x="190412" y="179720"/>
                      <a:pt x="208083" y="161192"/>
                      <a:pt x="213958" y="165267"/>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66" name="Freeform: Shape 355">
                <a:extLst>
                  <a:ext uri="{FF2B5EF4-FFF2-40B4-BE49-F238E27FC236}">
                    <a16:creationId xmlns:a16="http://schemas.microsoft.com/office/drawing/2014/main" id="{12C9ECEC-00DE-3CAA-8802-D075B30F81AB}"/>
                  </a:ext>
                </a:extLst>
              </p:cNvPr>
              <p:cNvSpPr/>
              <p:nvPr/>
            </p:nvSpPr>
            <p:spPr>
              <a:xfrm>
                <a:off x="8092603" y="3133768"/>
                <a:ext cx="95130" cy="91849"/>
              </a:xfrm>
              <a:custGeom>
                <a:avLst/>
                <a:gdLst>
                  <a:gd name="connsiteX0" fmla="*/ 111684 w 124378"/>
                  <a:gd name="connsiteY0" fmla="*/ 92071 h 120090"/>
                  <a:gd name="connsiteX1" fmla="*/ 90968 w 124378"/>
                  <a:gd name="connsiteY1" fmla="*/ 63550 h 120090"/>
                  <a:gd name="connsiteX2" fmla="*/ 79088 w 124378"/>
                  <a:gd name="connsiteY2" fmla="*/ 32712 h 120090"/>
                  <a:gd name="connsiteX3" fmla="*/ 69910 w 124378"/>
                  <a:gd name="connsiteY3" fmla="*/ 10281 h 120090"/>
                  <a:gd name="connsiteX4" fmla="*/ 40273 w 124378"/>
                  <a:gd name="connsiteY4" fmla="*/ 6764 h 120090"/>
                  <a:gd name="connsiteX5" fmla="*/ 6433 w 124378"/>
                  <a:gd name="connsiteY5" fmla="*/ 14699 h 120090"/>
                  <a:gd name="connsiteX6" fmla="*/ 13896 w 124378"/>
                  <a:gd name="connsiteY6" fmla="*/ 45279 h 120090"/>
                  <a:gd name="connsiteX7" fmla="*/ 39544 w 124378"/>
                  <a:gd name="connsiteY7" fmla="*/ 57845 h 120090"/>
                  <a:gd name="connsiteX8" fmla="*/ 45677 w 124378"/>
                  <a:gd name="connsiteY8" fmla="*/ 72042 h 120090"/>
                  <a:gd name="connsiteX9" fmla="*/ 48808 w 124378"/>
                  <a:gd name="connsiteY9" fmla="*/ 72085 h 120090"/>
                  <a:gd name="connsiteX10" fmla="*/ 57644 w 124378"/>
                  <a:gd name="connsiteY10" fmla="*/ 80620 h 120090"/>
                  <a:gd name="connsiteX11" fmla="*/ 73941 w 124378"/>
                  <a:gd name="connsiteY11" fmla="*/ 89498 h 120090"/>
                  <a:gd name="connsiteX12" fmla="*/ 89596 w 124378"/>
                  <a:gd name="connsiteY12" fmla="*/ 96103 h 120090"/>
                  <a:gd name="connsiteX13" fmla="*/ 96716 w 124378"/>
                  <a:gd name="connsiteY13" fmla="*/ 116690 h 120090"/>
                  <a:gd name="connsiteX14" fmla="*/ 118246 w 124378"/>
                  <a:gd name="connsiteY14" fmla="*/ 111414 h 120090"/>
                  <a:gd name="connsiteX15" fmla="*/ 111684 w 124378"/>
                  <a:gd name="connsiteY15" fmla="*/ 92071 h 120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4378" h="120090">
                    <a:moveTo>
                      <a:pt x="111684" y="92071"/>
                    </a:moveTo>
                    <a:cubicBezTo>
                      <a:pt x="111684" y="82936"/>
                      <a:pt x="90968" y="74958"/>
                      <a:pt x="90968" y="63550"/>
                    </a:cubicBezTo>
                    <a:cubicBezTo>
                      <a:pt x="90968" y="52141"/>
                      <a:pt x="77115" y="41848"/>
                      <a:pt x="79088" y="32712"/>
                    </a:cubicBezTo>
                    <a:cubicBezTo>
                      <a:pt x="80460" y="26407"/>
                      <a:pt x="73512" y="17487"/>
                      <a:pt x="69910" y="10281"/>
                    </a:cubicBezTo>
                    <a:cubicBezTo>
                      <a:pt x="60817" y="7837"/>
                      <a:pt x="49194" y="5563"/>
                      <a:pt x="40273" y="6764"/>
                    </a:cubicBezTo>
                    <a:cubicBezTo>
                      <a:pt x="27878" y="8437"/>
                      <a:pt x="18614" y="12511"/>
                      <a:pt x="6433" y="14699"/>
                    </a:cubicBezTo>
                    <a:cubicBezTo>
                      <a:pt x="12953" y="26150"/>
                      <a:pt x="8364" y="29324"/>
                      <a:pt x="13896" y="45279"/>
                    </a:cubicBezTo>
                    <a:cubicBezTo>
                      <a:pt x="19815" y="62392"/>
                      <a:pt x="34655" y="53299"/>
                      <a:pt x="39544" y="57845"/>
                    </a:cubicBezTo>
                    <a:cubicBezTo>
                      <a:pt x="41474" y="59604"/>
                      <a:pt x="43662" y="65523"/>
                      <a:pt x="45677" y="72042"/>
                    </a:cubicBezTo>
                    <a:cubicBezTo>
                      <a:pt x="46621" y="71956"/>
                      <a:pt x="47479" y="71827"/>
                      <a:pt x="48808" y="72085"/>
                    </a:cubicBezTo>
                    <a:cubicBezTo>
                      <a:pt x="54255" y="73243"/>
                      <a:pt x="56357" y="76545"/>
                      <a:pt x="57644" y="80620"/>
                    </a:cubicBezTo>
                    <a:cubicBezTo>
                      <a:pt x="64549" y="82464"/>
                      <a:pt x="70724" y="87868"/>
                      <a:pt x="73941" y="89498"/>
                    </a:cubicBezTo>
                    <a:cubicBezTo>
                      <a:pt x="78230" y="91685"/>
                      <a:pt x="81061" y="85080"/>
                      <a:pt x="89596" y="96103"/>
                    </a:cubicBezTo>
                    <a:cubicBezTo>
                      <a:pt x="97059" y="105710"/>
                      <a:pt x="97616" y="108155"/>
                      <a:pt x="96716" y="116690"/>
                    </a:cubicBezTo>
                    <a:cubicBezTo>
                      <a:pt x="104350" y="116775"/>
                      <a:pt x="111555" y="114717"/>
                      <a:pt x="118246" y="111414"/>
                    </a:cubicBezTo>
                    <a:cubicBezTo>
                      <a:pt x="114944" y="104380"/>
                      <a:pt x="111684" y="96489"/>
                      <a:pt x="111684" y="9207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67" name="Freeform: Shape 356">
                <a:extLst>
                  <a:ext uri="{FF2B5EF4-FFF2-40B4-BE49-F238E27FC236}">
                    <a16:creationId xmlns:a16="http://schemas.microsoft.com/office/drawing/2014/main" id="{C007F007-052F-1941-60CE-1F9B152299C4}"/>
                  </a:ext>
                </a:extLst>
              </p:cNvPr>
              <p:cNvSpPr/>
              <p:nvPr/>
            </p:nvSpPr>
            <p:spPr>
              <a:xfrm>
                <a:off x="8131771" y="3114241"/>
                <a:ext cx="131213" cy="127933"/>
              </a:xfrm>
              <a:custGeom>
                <a:avLst/>
                <a:gdLst>
                  <a:gd name="connsiteX0" fmla="*/ 163151 w 171557"/>
                  <a:gd name="connsiteY0" fmla="*/ 58201 h 167268"/>
                  <a:gd name="connsiteX1" fmla="*/ 133343 w 171557"/>
                  <a:gd name="connsiteY1" fmla="*/ 13639 h 167268"/>
                  <a:gd name="connsiteX2" fmla="*/ 111812 w 171557"/>
                  <a:gd name="connsiteY2" fmla="*/ 31910 h 167268"/>
                  <a:gd name="connsiteX3" fmla="*/ 97016 w 171557"/>
                  <a:gd name="connsiteY3" fmla="*/ 31910 h 167268"/>
                  <a:gd name="connsiteX4" fmla="*/ 71840 w 171557"/>
                  <a:gd name="connsiteY4" fmla="*/ 11366 h 167268"/>
                  <a:gd name="connsiteX5" fmla="*/ 61288 w 171557"/>
                  <a:gd name="connsiteY5" fmla="*/ 6433 h 167268"/>
                  <a:gd name="connsiteX6" fmla="*/ 54598 w 171557"/>
                  <a:gd name="connsiteY6" fmla="*/ 20501 h 167268"/>
                  <a:gd name="connsiteX7" fmla="*/ 65449 w 171557"/>
                  <a:gd name="connsiteY7" fmla="*/ 37614 h 167268"/>
                  <a:gd name="connsiteX8" fmla="*/ 39801 w 171557"/>
                  <a:gd name="connsiteY8" fmla="*/ 35341 h 167268"/>
                  <a:gd name="connsiteX9" fmla="*/ 17070 w 171557"/>
                  <a:gd name="connsiteY9" fmla="*/ 27363 h 167268"/>
                  <a:gd name="connsiteX10" fmla="*/ 27963 w 171557"/>
                  <a:gd name="connsiteY10" fmla="*/ 58201 h 167268"/>
                  <a:gd name="connsiteX11" fmla="*/ 39844 w 171557"/>
                  <a:gd name="connsiteY11" fmla="*/ 89038 h 167268"/>
                  <a:gd name="connsiteX12" fmla="*/ 60560 w 171557"/>
                  <a:gd name="connsiteY12" fmla="*/ 117560 h 167268"/>
                  <a:gd name="connsiteX13" fmla="*/ 67164 w 171557"/>
                  <a:gd name="connsiteY13" fmla="*/ 136860 h 167268"/>
                  <a:gd name="connsiteX14" fmla="*/ 107137 w 171557"/>
                  <a:gd name="connsiteY14" fmla="*/ 108210 h 167268"/>
                  <a:gd name="connsiteX15" fmla="*/ 113742 w 171557"/>
                  <a:gd name="connsiteY15" fmla="*/ 143293 h 167268"/>
                  <a:gd name="connsiteX16" fmla="*/ 137675 w 171557"/>
                  <a:gd name="connsiteY16" fmla="*/ 163323 h 167268"/>
                  <a:gd name="connsiteX17" fmla="*/ 143550 w 171557"/>
                  <a:gd name="connsiteY17" fmla="*/ 140420 h 167268"/>
                  <a:gd name="connsiteX18" fmla="*/ 163151 w 171557"/>
                  <a:gd name="connsiteY18" fmla="*/ 58201 h 167268"/>
                  <a:gd name="connsiteX19" fmla="*/ 22731 w 171557"/>
                  <a:gd name="connsiteY19" fmla="*/ 114986 h 167268"/>
                  <a:gd name="connsiteX20" fmla="*/ 6433 w 171557"/>
                  <a:gd name="connsiteY20" fmla="*/ 106108 h 167268"/>
                  <a:gd name="connsiteX21" fmla="*/ 17413 w 171557"/>
                  <a:gd name="connsiteY21" fmla="*/ 126566 h 167268"/>
                  <a:gd name="connsiteX22" fmla="*/ 39844 w 171557"/>
                  <a:gd name="connsiteY22" fmla="*/ 141792 h 167268"/>
                  <a:gd name="connsiteX23" fmla="*/ 45548 w 171557"/>
                  <a:gd name="connsiteY23" fmla="*/ 142178 h 167268"/>
                  <a:gd name="connsiteX24" fmla="*/ 38429 w 171557"/>
                  <a:gd name="connsiteY24" fmla="*/ 121591 h 167268"/>
                  <a:gd name="connsiteX25" fmla="*/ 22731 w 171557"/>
                  <a:gd name="connsiteY25" fmla="*/ 114986 h 167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1557" h="167268">
                    <a:moveTo>
                      <a:pt x="163151" y="58201"/>
                    </a:moveTo>
                    <a:cubicBezTo>
                      <a:pt x="159119" y="49666"/>
                      <a:pt x="146552" y="32381"/>
                      <a:pt x="133343" y="13639"/>
                    </a:cubicBezTo>
                    <a:cubicBezTo>
                      <a:pt x="129268" y="27750"/>
                      <a:pt x="114643" y="23804"/>
                      <a:pt x="111812" y="31910"/>
                    </a:cubicBezTo>
                    <a:cubicBezTo>
                      <a:pt x="108853" y="40445"/>
                      <a:pt x="101433" y="30194"/>
                      <a:pt x="97016" y="31910"/>
                    </a:cubicBezTo>
                    <a:cubicBezTo>
                      <a:pt x="92555" y="33582"/>
                      <a:pt x="82218" y="13039"/>
                      <a:pt x="71840" y="11366"/>
                    </a:cubicBezTo>
                    <a:cubicBezTo>
                      <a:pt x="68708" y="10851"/>
                      <a:pt x="65020" y="8878"/>
                      <a:pt x="61288" y="6433"/>
                    </a:cubicBezTo>
                    <a:cubicBezTo>
                      <a:pt x="57000" y="11709"/>
                      <a:pt x="53097" y="17627"/>
                      <a:pt x="54598" y="20501"/>
                    </a:cubicBezTo>
                    <a:cubicBezTo>
                      <a:pt x="57557" y="26205"/>
                      <a:pt x="70381" y="31910"/>
                      <a:pt x="65449" y="37614"/>
                    </a:cubicBezTo>
                    <a:cubicBezTo>
                      <a:pt x="60517" y="43318"/>
                      <a:pt x="44690" y="41045"/>
                      <a:pt x="39801" y="35341"/>
                    </a:cubicBezTo>
                    <a:cubicBezTo>
                      <a:pt x="34826" y="29637"/>
                      <a:pt x="20029" y="20501"/>
                      <a:pt x="17070" y="27363"/>
                    </a:cubicBezTo>
                    <a:cubicBezTo>
                      <a:pt x="14110" y="34183"/>
                      <a:pt x="29937" y="49065"/>
                      <a:pt x="27963" y="58201"/>
                    </a:cubicBezTo>
                    <a:cubicBezTo>
                      <a:pt x="25991" y="67336"/>
                      <a:pt x="39844" y="77587"/>
                      <a:pt x="39844" y="89038"/>
                    </a:cubicBezTo>
                    <a:cubicBezTo>
                      <a:pt x="39844" y="100447"/>
                      <a:pt x="60560" y="108467"/>
                      <a:pt x="60560" y="117560"/>
                    </a:cubicBezTo>
                    <a:cubicBezTo>
                      <a:pt x="60560" y="122020"/>
                      <a:pt x="63819" y="129912"/>
                      <a:pt x="67164" y="136860"/>
                    </a:cubicBezTo>
                    <a:cubicBezTo>
                      <a:pt x="83377" y="128925"/>
                      <a:pt x="96672" y="114257"/>
                      <a:pt x="107137" y="108210"/>
                    </a:cubicBezTo>
                    <a:cubicBezTo>
                      <a:pt x="122963" y="99032"/>
                      <a:pt x="116359" y="137203"/>
                      <a:pt x="113742" y="143293"/>
                    </a:cubicBezTo>
                    <a:cubicBezTo>
                      <a:pt x="111898" y="147496"/>
                      <a:pt x="124464" y="157490"/>
                      <a:pt x="137675" y="163323"/>
                    </a:cubicBezTo>
                    <a:cubicBezTo>
                      <a:pt x="137203" y="155045"/>
                      <a:pt x="138961" y="146982"/>
                      <a:pt x="143550" y="140420"/>
                    </a:cubicBezTo>
                    <a:cubicBezTo>
                      <a:pt x="160234" y="116445"/>
                      <a:pt x="173058" y="78788"/>
                      <a:pt x="163151" y="58201"/>
                    </a:cubicBezTo>
                    <a:close/>
                    <a:moveTo>
                      <a:pt x="22731" y="114986"/>
                    </a:moveTo>
                    <a:cubicBezTo>
                      <a:pt x="19514" y="113314"/>
                      <a:pt x="13339" y="107953"/>
                      <a:pt x="6433" y="106108"/>
                    </a:cubicBezTo>
                    <a:cubicBezTo>
                      <a:pt x="8535" y="112885"/>
                      <a:pt x="8363" y="121806"/>
                      <a:pt x="17413" y="126566"/>
                    </a:cubicBezTo>
                    <a:cubicBezTo>
                      <a:pt x="31909" y="134201"/>
                      <a:pt x="10808" y="137246"/>
                      <a:pt x="39844" y="141792"/>
                    </a:cubicBezTo>
                    <a:cubicBezTo>
                      <a:pt x="41774" y="142092"/>
                      <a:pt x="43661" y="142135"/>
                      <a:pt x="45548" y="142178"/>
                    </a:cubicBezTo>
                    <a:cubicBezTo>
                      <a:pt x="46449" y="133643"/>
                      <a:pt x="45891" y="131199"/>
                      <a:pt x="38429" y="121591"/>
                    </a:cubicBezTo>
                    <a:cubicBezTo>
                      <a:pt x="29851" y="110569"/>
                      <a:pt x="27020" y="117174"/>
                      <a:pt x="22731" y="11498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68" name="Freeform: Shape 357">
                <a:extLst>
                  <a:ext uri="{FF2B5EF4-FFF2-40B4-BE49-F238E27FC236}">
                    <a16:creationId xmlns:a16="http://schemas.microsoft.com/office/drawing/2014/main" id="{4E7FC170-FAC9-559A-9B79-30CAC94C1CD9}"/>
                  </a:ext>
                </a:extLst>
              </p:cNvPr>
              <p:cNvSpPr/>
              <p:nvPr/>
            </p:nvSpPr>
            <p:spPr>
              <a:xfrm>
                <a:off x="8541027" y="3238711"/>
                <a:ext cx="370678" cy="308351"/>
              </a:xfrm>
              <a:custGeom>
                <a:avLst/>
                <a:gdLst>
                  <a:gd name="connsiteX0" fmla="*/ 464533 w 484649"/>
                  <a:gd name="connsiteY0" fmla="*/ 61398 h 403159"/>
                  <a:gd name="connsiteX1" fmla="*/ 451709 w 484649"/>
                  <a:gd name="connsiteY1" fmla="*/ 50547 h 403159"/>
                  <a:gd name="connsiteX2" fmla="*/ 415210 w 484649"/>
                  <a:gd name="connsiteY2" fmla="*/ 78211 h 403159"/>
                  <a:gd name="connsiteX3" fmla="*/ 397840 w 484649"/>
                  <a:gd name="connsiteY3" fmla="*/ 85030 h 403159"/>
                  <a:gd name="connsiteX4" fmla="*/ 381628 w 484649"/>
                  <a:gd name="connsiteY4" fmla="*/ 84301 h 403159"/>
                  <a:gd name="connsiteX5" fmla="*/ 380298 w 484649"/>
                  <a:gd name="connsiteY5" fmla="*/ 38538 h 403159"/>
                  <a:gd name="connsiteX6" fmla="*/ 367088 w 484649"/>
                  <a:gd name="connsiteY6" fmla="*/ 6500 h 403159"/>
                  <a:gd name="connsiteX7" fmla="*/ 336808 w 484649"/>
                  <a:gd name="connsiteY7" fmla="*/ 40082 h 403159"/>
                  <a:gd name="connsiteX8" fmla="*/ 305156 w 484649"/>
                  <a:gd name="connsiteY8" fmla="*/ 58396 h 403159"/>
                  <a:gd name="connsiteX9" fmla="*/ 270887 w 484649"/>
                  <a:gd name="connsiteY9" fmla="*/ 69075 h 403159"/>
                  <a:gd name="connsiteX10" fmla="*/ 241894 w 484649"/>
                  <a:gd name="connsiteY10" fmla="*/ 59940 h 403159"/>
                  <a:gd name="connsiteX11" fmla="*/ 214188 w 484649"/>
                  <a:gd name="connsiteY11" fmla="*/ 49218 h 403159"/>
                  <a:gd name="connsiteX12" fmla="*/ 186482 w 484649"/>
                  <a:gd name="connsiteY12" fmla="*/ 43127 h 403159"/>
                  <a:gd name="connsiteX13" fmla="*/ 160147 w 484649"/>
                  <a:gd name="connsiteY13" fmla="*/ 61441 h 403159"/>
                  <a:gd name="connsiteX14" fmla="*/ 140333 w 484649"/>
                  <a:gd name="connsiteY14" fmla="*/ 99570 h 403159"/>
                  <a:gd name="connsiteX15" fmla="*/ 92854 w 484649"/>
                  <a:gd name="connsiteY15" fmla="*/ 131565 h 403159"/>
                  <a:gd name="connsiteX16" fmla="*/ 63861 w 484649"/>
                  <a:gd name="connsiteY16" fmla="*/ 143788 h 403159"/>
                  <a:gd name="connsiteX17" fmla="*/ 40100 w 484649"/>
                  <a:gd name="connsiteY17" fmla="*/ 136154 h 403159"/>
                  <a:gd name="connsiteX18" fmla="*/ 25604 w 484649"/>
                  <a:gd name="connsiteY18" fmla="*/ 154468 h 403159"/>
                  <a:gd name="connsiteX19" fmla="*/ 12436 w 484649"/>
                  <a:gd name="connsiteY19" fmla="*/ 184919 h 403159"/>
                  <a:gd name="connsiteX20" fmla="*/ 8491 w 484649"/>
                  <a:gd name="connsiteY20" fmla="*/ 218459 h 403159"/>
                  <a:gd name="connsiteX21" fmla="*/ 8491 w 484649"/>
                  <a:gd name="connsiteY21" fmla="*/ 259633 h 403159"/>
                  <a:gd name="connsiteX22" fmla="*/ 13766 w 484649"/>
                  <a:gd name="connsiteY22" fmla="*/ 303851 h 403159"/>
                  <a:gd name="connsiteX23" fmla="*/ 46748 w 484649"/>
                  <a:gd name="connsiteY23" fmla="*/ 323666 h 403159"/>
                  <a:gd name="connsiteX24" fmla="*/ 12479 w 484649"/>
                  <a:gd name="connsiteY24" fmla="*/ 378564 h 403159"/>
                  <a:gd name="connsiteX25" fmla="*/ 19213 w 484649"/>
                  <a:gd name="connsiteY25" fmla="*/ 391388 h 403159"/>
                  <a:gd name="connsiteX26" fmla="*/ 70552 w 484649"/>
                  <a:gd name="connsiteY26" fmla="*/ 397908 h 403159"/>
                  <a:gd name="connsiteX27" fmla="*/ 204838 w 484649"/>
                  <a:gd name="connsiteY27" fmla="*/ 378522 h 403159"/>
                  <a:gd name="connsiteX28" fmla="*/ 201879 w 484649"/>
                  <a:gd name="connsiteY28" fmla="*/ 339707 h 403159"/>
                  <a:gd name="connsiteX29" fmla="*/ 228556 w 484649"/>
                  <a:gd name="connsiteY29" fmla="*/ 321393 h 403159"/>
                  <a:gd name="connsiteX30" fmla="*/ 251244 w 484649"/>
                  <a:gd name="connsiteY30" fmla="*/ 314531 h 403159"/>
                  <a:gd name="connsiteX31" fmla="*/ 286800 w 484649"/>
                  <a:gd name="connsiteY31" fmla="*/ 300806 h 403159"/>
                  <a:gd name="connsiteX32" fmla="*/ 302583 w 484649"/>
                  <a:gd name="connsiteY32" fmla="*/ 283693 h 403159"/>
                  <a:gd name="connsiteX33" fmla="*/ 313434 w 484649"/>
                  <a:gd name="connsiteY33" fmla="*/ 242605 h 403159"/>
                  <a:gd name="connsiteX34" fmla="*/ 336122 w 484649"/>
                  <a:gd name="connsiteY34" fmla="*/ 226608 h 403159"/>
                  <a:gd name="connsiteX35" fmla="*/ 325271 w 484649"/>
                  <a:gd name="connsiteY35" fmla="*/ 201475 h 403159"/>
                  <a:gd name="connsiteX36" fmla="*/ 362799 w 484649"/>
                  <a:gd name="connsiteY36" fmla="*/ 202632 h 403159"/>
                  <a:gd name="connsiteX37" fmla="*/ 365759 w 484649"/>
                  <a:gd name="connsiteY37" fmla="*/ 171795 h 403159"/>
                  <a:gd name="connsiteX38" fmla="*/ 381585 w 484649"/>
                  <a:gd name="connsiteY38" fmla="*/ 144389 h 403159"/>
                  <a:gd name="connsiteX39" fmla="*/ 375623 w 484649"/>
                  <a:gd name="connsiteY39" fmla="*/ 121572 h 403159"/>
                  <a:gd name="connsiteX40" fmla="*/ 380556 w 484649"/>
                  <a:gd name="connsiteY40" fmla="*/ 102143 h 403159"/>
                  <a:gd name="connsiteX41" fmla="*/ 385530 w 484649"/>
                  <a:gd name="connsiteY41" fmla="*/ 99698 h 403159"/>
                  <a:gd name="connsiteX42" fmla="*/ 402772 w 484649"/>
                  <a:gd name="connsiteY42" fmla="*/ 92707 h 403159"/>
                  <a:gd name="connsiteX43" fmla="*/ 447849 w 484649"/>
                  <a:gd name="connsiteY43" fmla="*/ 77181 h 403159"/>
                  <a:gd name="connsiteX44" fmla="*/ 481731 w 484649"/>
                  <a:gd name="connsiteY44" fmla="*/ 65344 h 403159"/>
                  <a:gd name="connsiteX45" fmla="*/ 464533 w 484649"/>
                  <a:gd name="connsiteY45" fmla="*/ 61398 h 40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84649" h="403159">
                    <a:moveTo>
                      <a:pt x="464533" y="61398"/>
                    </a:moveTo>
                    <a:cubicBezTo>
                      <a:pt x="457628" y="62556"/>
                      <a:pt x="459129" y="55694"/>
                      <a:pt x="451709" y="50547"/>
                    </a:cubicBezTo>
                    <a:cubicBezTo>
                      <a:pt x="445833" y="46473"/>
                      <a:pt x="428206" y="65001"/>
                      <a:pt x="415210" y="78211"/>
                    </a:cubicBezTo>
                    <a:cubicBezTo>
                      <a:pt x="409120" y="80570"/>
                      <a:pt x="403115" y="83186"/>
                      <a:pt x="397840" y="85030"/>
                    </a:cubicBezTo>
                    <a:cubicBezTo>
                      <a:pt x="390592" y="87518"/>
                      <a:pt x="384630" y="88333"/>
                      <a:pt x="381628" y="84301"/>
                    </a:cubicBezTo>
                    <a:cubicBezTo>
                      <a:pt x="373693" y="73621"/>
                      <a:pt x="394838" y="46172"/>
                      <a:pt x="380298" y="38538"/>
                    </a:cubicBezTo>
                    <a:cubicBezTo>
                      <a:pt x="365801" y="30904"/>
                      <a:pt x="378969" y="8044"/>
                      <a:pt x="367088" y="6500"/>
                    </a:cubicBezTo>
                    <a:cubicBezTo>
                      <a:pt x="355251" y="4998"/>
                      <a:pt x="336808" y="29360"/>
                      <a:pt x="336808" y="40082"/>
                    </a:cubicBezTo>
                    <a:cubicBezTo>
                      <a:pt x="336808" y="50762"/>
                      <a:pt x="305156" y="47673"/>
                      <a:pt x="305156" y="58396"/>
                    </a:cubicBezTo>
                    <a:cubicBezTo>
                      <a:pt x="305156" y="69075"/>
                      <a:pt x="276163" y="56852"/>
                      <a:pt x="270887" y="69075"/>
                    </a:cubicBezTo>
                    <a:cubicBezTo>
                      <a:pt x="265612" y="81256"/>
                      <a:pt x="251116" y="59940"/>
                      <a:pt x="241894" y="59940"/>
                    </a:cubicBezTo>
                    <a:cubicBezTo>
                      <a:pt x="232630" y="59940"/>
                      <a:pt x="226025" y="44714"/>
                      <a:pt x="214188" y="49218"/>
                    </a:cubicBezTo>
                    <a:cubicBezTo>
                      <a:pt x="202350" y="53807"/>
                      <a:pt x="195745" y="44671"/>
                      <a:pt x="186482" y="43127"/>
                    </a:cubicBezTo>
                    <a:cubicBezTo>
                      <a:pt x="177260" y="41626"/>
                      <a:pt x="170655" y="65987"/>
                      <a:pt x="160147" y="61441"/>
                    </a:cubicBezTo>
                    <a:cubicBezTo>
                      <a:pt x="149597" y="56852"/>
                      <a:pt x="144278" y="84344"/>
                      <a:pt x="140333" y="99570"/>
                    </a:cubicBezTo>
                    <a:cubicBezTo>
                      <a:pt x="136387" y="114795"/>
                      <a:pt x="91525" y="114795"/>
                      <a:pt x="92854" y="131565"/>
                    </a:cubicBezTo>
                    <a:cubicBezTo>
                      <a:pt x="94184" y="148335"/>
                      <a:pt x="66477" y="154468"/>
                      <a:pt x="63861" y="143788"/>
                    </a:cubicBezTo>
                    <a:cubicBezTo>
                      <a:pt x="61244" y="133109"/>
                      <a:pt x="44046" y="139199"/>
                      <a:pt x="40100" y="136154"/>
                    </a:cubicBezTo>
                    <a:cubicBezTo>
                      <a:pt x="36154" y="133109"/>
                      <a:pt x="24274" y="139199"/>
                      <a:pt x="25604" y="154468"/>
                    </a:cubicBezTo>
                    <a:cubicBezTo>
                      <a:pt x="26933" y="169694"/>
                      <a:pt x="13723" y="178829"/>
                      <a:pt x="12436" y="184919"/>
                    </a:cubicBezTo>
                    <a:cubicBezTo>
                      <a:pt x="11107" y="191052"/>
                      <a:pt x="3216" y="209323"/>
                      <a:pt x="8491" y="218459"/>
                    </a:cubicBezTo>
                    <a:cubicBezTo>
                      <a:pt x="13766" y="227594"/>
                      <a:pt x="1886" y="242863"/>
                      <a:pt x="8491" y="259633"/>
                    </a:cubicBezTo>
                    <a:cubicBezTo>
                      <a:pt x="15096" y="276402"/>
                      <a:pt x="11150" y="297761"/>
                      <a:pt x="13766" y="303851"/>
                    </a:cubicBezTo>
                    <a:cubicBezTo>
                      <a:pt x="16382" y="309942"/>
                      <a:pt x="41430" y="306896"/>
                      <a:pt x="46748" y="323666"/>
                    </a:cubicBezTo>
                    <a:cubicBezTo>
                      <a:pt x="52024" y="340436"/>
                      <a:pt x="13766" y="369429"/>
                      <a:pt x="12479" y="378564"/>
                    </a:cubicBezTo>
                    <a:cubicBezTo>
                      <a:pt x="11922" y="382382"/>
                      <a:pt x="15096" y="386756"/>
                      <a:pt x="19213" y="391388"/>
                    </a:cubicBezTo>
                    <a:cubicBezTo>
                      <a:pt x="34267" y="392117"/>
                      <a:pt x="53310" y="394262"/>
                      <a:pt x="70552" y="397908"/>
                    </a:cubicBezTo>
                    <a:cubicBezTo>
                      <a:pt x="92253" y="402497"/>
                      <a:pt x="202865" y="383068"/>
                      <a:pt x="204838" y="378522"/>
                    </a:cubicBezTo>
                    <a:cubicBezTo>
                      <a:pt x="206854" y="373932"/>
                      <a:pt x="200892" y="345368"/>
                      <a:pt x="201879" y="339707"/>
                    </a:cubicBezTo>
                    <a:cubicBezTo>
                      <a:pt x="202908" y="334002"/>
                      <a:pt x="216675" y="320278"/>
                      <a:pt x="228556" y="321393"/>
                    </a:cubicBezTo>
                    <a:cubicBezTo>
                      <a:pt x="240393" y="322551"/>
                      <a:pt x="251244" y="324824"/>
                      <a:pt x="251244" y="314531"/>
                    </a:cubicBezTo>
                    <a:cubicBezTo>
                      <a:pt x="251244" y="304237"/>
                      <a:pt x="283840" y="291714"/>
                      <a:pt x="286800" y="300806"/>
                    </a:cubicBezTo>
                    <a:cubicBezTo>
                      <a:pt x="289759" y="309985"/>
                      <a:pt x="301596" y="306553"/>
                      <a:pt x="302583" y="283693"/>
                    </a:cubicBezTo>
                    <a:cubicBezTo>
                      <a:pt x="303569" y="260876"/>
                      <a:pt x="301596" y="243721"/>
                      <a:pt x="313434" y="242605"/>
                    </a:cubicBezTo>
                    <a:cubicBezTo>
                      <a:pt x="325314" y="241490"/>
                      <a:pt x="337152" y="233470"/>
                      <a:pt x="336122" y="226608"/>
                    </a:cubicBezTo>
                    <a:cubicBezTo>
                      <a:pt x="335136" y="219788"/>
                      <a:pt x="321325" y="206064"/>
                      <a:pt x="325271" y="201475"/>
                    </a:cubicBezTo>
                    <a:cubicBezTo>
                      <a:pt x="329217" y="196928"/>
                      <a:pt x="358853" y="212926"/>
                      <a:pt x="362799" y="202632"/>
                    </a:cubicBezTo>
                    <a:cubicBezTo>
                      <a:pt x="366745" y="192339"/>
                      <a:pt x="360827" y="180930"/>
                      <a:pt x="365759" y="171795"/>
                    </a:cubicBezTo>
                    <a:cubicBezTo>
                      <a:pt x="370691" y="162660"/>
                      <a:pt x="382571" y="153524"/>
                      <a:pt x="381585" y="144389"/>
                    </a:cubicBezTo>
                    <a:cubicBezTo>
                      <a:pt x="380599" y="135254"/>
                      <a:pt x="382571" y="129549"/>
                      <a:pt x="375623" y="121572"/>
                    </a:cubicBezTo>
                    <a:cubicBezTo>
                      <a:pt x="368718" y="113552"/>
                      <a:pt x="371677" y="103258"/>
                      <a:pt x="380556" y="102143"/>
                    </a:cubicBezTo>
                    <a:cubicBezTo>
                      <a:pt x="382100" y="101928"/>
                      <a:pt x="383815" y="101028"/>
                      <a:pt x="385530" y="99698"/>
                    </a:cubicBezTo>
                    <a:cubicBezTo>
                      <a:pt x="392393" y="98111"/>
                      <a:pt x="398269" y="96567"/>
                      <a:pt x="402772" y="92707"/>
                    </a:cubicBezTo>
                    <a:cubicBezTo>
                      <a:pt x="415124" y="82114"/>
                      <a:pt x="438756" y="73364"/>
                      <a:pt x="447849" y="77181"/>
                    </a:cubicBezTo>
                    <a:cubicBezTo>
                      <a:pt x="455269" y="80312"/>
                      <a:pt x="471695" y="77696"/>
                      <a:pt x="481731" y="65344"/>
                    </a:cubicBezTo>
                    <a:cubicBezTo>
                      <a:pt x="475899" y="62127"/>
                      <a:pt x="468607" y="60712"/>
                      <a:pt x="464533" y="61398"/>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69" name="Freeform: Shape 358">
                <a:extLst>
                  <a:ext uri="{FF2B5EF4-FFF2-40B4-BE49-F238E27FC236}">
                    <a16:creationId xmlns:a16="http://schemas.microsoft.com/office/drawing/2014/main" id="{6EB20645-5E88-5085-27D7-62585A2D79BC}"/>
                  </a:ext>
                </a:extLst>
              </p:cNvPr>
              <p:cNvSpPr/>
              <p:nvPr/>
            </p:nvSpPr>
            <p:spPr>
              <a:xfrm>
                <a:off x="8550801" y="3283769"/>
                <a:ext cx="429724" cy="449406"/>
              </a:xfrm>
              <a:custGeom>
                <a:avLst/>
                <a:gdLst>
                  <a:gd name="connsiteX0" fmla="*/ 532728 w 561849"/>
                  <a:gd name="connsiteY0" fmla="*/ 66393 h 587583"/>
                  <a:gd name="connsiteX1" fmla="*/ 515701 w 561849"/>
                  <a:gd name="connsiteY1" fmla="*/ 37271 h 587583"/>
                  <a:gd name="connsiteX2" fmla="*/ 485250 w 561849"/>
                  <a:gd name="connsiteY2" fmla="*/ 8707 h 587583"/>
                  <a:gd name="connsiteX3" fmla="*/ 475127 w 561849"/>
                  <a:gd name="connsiteY3" fmla="*/ 10980 h 587583"/>
                  <a:gd name="connsiteX4" fmla="*/ 469037 w 561849"/>
                  <a:gd name="connsiteY4" fmla="*/ 6433 h 587583"/>
                  <a:gd name="connsiteX5" fmla="*/ 435155 w 561849"/>
                  <a:gd name="connsiteY5" fmla="*/ 18271 h 587583"/>
                  <a:gd name="connsiteX6" fmla="*/ 390078 w 561849"/>
                  <a:gd name="connsiteY6" fmla="*/ 33797 h 587583"/>
                  <a:gd name="connsiteX7" fmla="*/ 372836 w 561849"/>
                  <a:gd name="connsiteY7" fmla="*/ 40788 h 587583"/>
                  <a:gd name="connsiteX8" fmla="*/ 367862 w 561849"/>
                  <a:gd name="connsiteY8" fmla="*/ 43232 h 587583"/>
                  <a:gd name="connsiteX9" fmla="*/ 362929 w 561849"/>
                  <a:gd name="connsiteY9" fmla="*/ 62661 h 587583"/>
                  <a:gd name="connsiteX10" fmla="*/ 368848 w 561849"/>
                  <a:gd name="connsiteY10" fmla="*/ 85478 h 587583"/>
                  <a:gd name="connsiteX11" fmla="*/ 353022 w 561849"/>
                  <a:gd name="connsiteY11" fmla="*/ 112885 h 587583"/>
                  <a:gd name="connsiteX12" fmla="*/ 350063 w 561849"/>
                  <a:gd name="connsiteY12" fmla="*/ 143722 h 587583"/>
                  <a:gd name="connsiteX13" fmla="*/ 312534 w 561849"/>
                  <a:gd name="connsiteY13" fmla="*/ 142564 h 587583"/>
                  <a:gd name="connsiteX14" fmla="*/ 323385 w 561849"/>
                  <a:gd name="connsiteY14" fmla="*/ 167697 h 587583"/>
                  <a:gd name="connsiteX15" fmla="*/ 300654 w 561849"/>
                  <a:gd name="connsiteY15" fmla="*/ 183695 h 587583"/>
                  <a:gd name="connsiteX16" fmla="*/ 289803 w 561849"/>
                  <a:gd name="connsiteY16" fmla="*/ 224783 h 587583"/>
                  <a:gd name="connsiteX17" fmla="*/ 274020 w 561849"/>
                  <a:gd name="connsiteY17" fmla="*/ 241896 h 587583"/>
                  <a:gd name="connsiteX18" fmla="*/ 238464 w 561849"/>
                  <a:gd name="connsiteY18" fmla="*/ 255620 h 587583"/>
                  <a:gd name="connsiteX19" fmla="*/ 215776 w 561849"/>
                  <a:gd name="connsiteY19" fmla="*/ 262483 h 587583"/>
                  <a:gd name="connsiteX20" fmla="*/ 189099 w 561849"/>
                  <a:gd name="connsiteY20" fmla="*/ 280796 h 587583"/>
                  <a:gd name="connsiteX21" fmla="*/ 192058 w 561849"/>
                  <a:gd name="connsiteY21" fmla="*/ 319611 h 587583"/>
                  <a:gd name="connsiteX22" fmla="*/ 57772 w 561849"/>
                  <a:gd name="connsiteY22" fmla="*/ 338997 h 587583"/>
                  <a:gd name="connsiteX23" fmla="*/ 6433 w 561849"/>
                  <a:gd name="connsiteY23" fmla="*/ 332478 h 587583"/>
                  <a:gd name="connsiteX24" fmla="*/ 22088 w 561849"/>
                  <a:gd name="connsiteY24" fmla="*/ 353194 h 587583"/>
                  <a:gd name="connsiteX25" fmla="*/ 56357 w 561849"/>
                  <a:gd name="connsiteY25" fmla="*/ 386733 h 587583"/>
                  <a:gd name="connsiteX26" fmla="*/ 72140 w 561849"/>
                  <a:gd name="connsiteY26" fmla="*/ 429451 h 587583"/>
                  <a:gd name="connsiteX27" fmla="*/ 80031 w 561849"/>
                  <a:gd name="connsiteY27" fmla="*/ 458401 h 587583"/>
                  <a:gd name="connsiteX28" fmla="*/ 49709 w 561849"/>
                  <a:gd name="connsiteY28" fmla="*/ 469080 h 587583"/>
                  <a:gd name="connsiteX29" fmla="*/ 28650 w 561849"/>
                  <a:gd name="connsiteY29" fmla="*/ 505879 h 587583"/>
                  <a:gd name="connsiteX30" fmla="*/ 39072 w 561849"/>
                  <a:gd name="connsiteY30" fmla="*/ 506480 h 587583"/>
                  <a:gd name="connsiteX31" fmla="*/ 59787 w 561849"/>
                  <a:gd name="connsiteY31" fmla="*/ 514114 h 587583"/>
                  <a:gd name="connsiteX32" fmla="*/ 181164 w 561849"/>
                  <a:gd name="connsiteY32" fmla="*/ 498888 h 587583"/>
                  <a:gd name="connsiteX33" fmla="*/ 216033 w 561849"/>
                  <a:gd name="connsiteY33" fmla="*/ 542636 h 587583"/>
                  <a:gd name="connsiteX34" fmla="*/ 220194 w 561849"/>
                  <a:gd name="connsiteY34" fmla="*/ 564509 h 587583"/>
                  <a:gd name="connsiteX35" fmla="*/ 249316 w 561849"/>
                  <a:gd name="connsiteY35" fmla="*/ 579306 h 587583"/>
                  <a:gd name="connsiteX36" fmla="*/ 254677 w 561849"/>
                  <a:gd name="connsiteY36" fmla="*/ 583123 h 587583"/>
                  <a:gd name="connsiteX37" fmla="*/ 256778 w 561849"/>
                  <a:gd name="connsiteY37" fmla="*/ 580293 h 587583"/>
                  <a:gd name="connsiteX38" fmla="*/ 287101 w 561849"/>
                  <a:gd name="connsiteY38" fmla="*/ 555889 h 587583"/>
                  <a:gd name="connsiteX39" fmla="*/ 318753 w 561849"/>
                  <a:gd name="connsiteY39" fmla="*/ 554387 h 587583"/>
                  <a:gd name="connsiteX40" fmla="*/ 343800 w 561849"/>
                  <a:gd name="connsiteY40" fmla="*/ 546796 h 587583"/>
                  <a:gd name="connsiteX41" fmla="*/ 331963 w 561849"/>
                  <a:gd name="connsiteY41" fmla="*/ 511712 h 587583"/>
                  <a:gd name="connsiteX42" fmla="*/ 317424 w 561849"/>
                  <a:gd name="connsiteY42" fmla="*/ 472083 h 587583"/>
                  <a:gd name="connsiteX43" fmla="*/ 296322 w 561849"/>
                  <a:gd name="connsiteY43" fmla="*/ 444591 h 587583"/>
                  <a:gd name="connsiteX44" fmla="*/ 321412 w 561849"/>
                  <a:gd name="connsiteY44" fmla="*/ 408006 h 587583"/>
                  <a:gd name="connsiteX45" fmla="*/ 346459 w 561849"/>
                  <a:gd name="connsiteY45" fmla="*/ 411051 h 587583"/>
                  <a:gd name="connsiteX46" fmla="*/ 368891 w 561849"/>
                  <a:gd name="connsiteY46" fmla="*/ 409507 h 587583"/>
                  <a:gd name="connsiteX47" fmla="*/ 387333 w 561849"/>
                  <a:gd name="connsiteY47" fmla="*/ 380557 h 587583"/>
                  <a:gd name="connsiteX48" fmla="*/ 415040 w 561849"/>
                  <a:gd name="connsiteY48" fmla="*/ 360699 h 587583"/>
                  <a:gd name="connsiteX49" fmla="*/ 428250 w 561849"/>
                  <a:gd name="connsiteY49" fmla="*/ 319525 h 587583"/>
                  <a:gd name="connsiteX50" fmla="*/ 448022 w 561849"/>
                  <a:gd name="connsiteY50" fmla="*/ 301255 h 587583"/>
                  <a:gd name="connsiteX51" fmla="*/ 463848 w 561849"/>
                  <a:gd name="connsiteY51" fmla="*/ 279896 h 587583"/>
                  <a:gd name="connsiteX52" fmla="*/ 470453 w 561849"/>
                  <a:gd name="connsiteY52" fmla="*/ 250945 h 587583"/>
                  <a:gd name="connsiteX53" fmla="*/ 487565 w 561849"/>
                  <a:gd name="connsiteY53" fmla="*/ 221952 h 587583"/>
                  <a:gd name="connsiteX54" fmla="*/ 471739 w 561849"/>
                  <a:gd name="connsiteY54" fmla="*/ 205183 h 587583"/>
                  <a:gd name="connsiteX55" fmla="*/ 451968 w 561849"/>
                  <a:gd name="connsiteY55" fmla="*/ 168555 h 587583"/>
                  <a:gd name="connsiteX56" fmla="*/ 446692 w 561849"/>
                  <a:gd name="connsiteY56" fmla="*/ 131970 h 587583"/>
                  <a:gd name="connsiteX57" fmla="*/ 463848 w 561849"/>
                  <a:gd name="connsiteY57" fmla="*/ 110612 h 587583"/>
                  <a:gd name="connsiteX58" fmla="*/ 513942 w 561849"/>
                  <a:gd name="connsiteY58" fmla="*/ 121291 h 587583"/>
                  <a:gd name="connsiteX59" fmla="*/ 546925 w 561849"/>
                  <a:gd name="connsiteY59" fmla="*/ 106065 h 587583"/>
                  <a:gd name="connsiteX60" fmla="*/ 558847 w 561849"/>
                  <a:gd name="connsiteY60" fmla="*/ 82262 h 587583"/>
                  <a:gd name="connsiteX61" fmla="*/ 532728 w 561849"/>
                  <a:gd name="connsiteY61" fmla="*/ 66393 h 58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61849" h="587583">
                    <a:moveTo>
                      <a:pt x="532728" y="66393"/>
                    </a:moveTo>
                    <a:cubicBezTo>
                      <a:pt x="517202" y="57815"/>
                      <a:pt x="515701" y="42418"/>
                      <a:pt x="515701" y="37271"/>
                    </a:cubicBezTo>
                    <a:cubicBezTo>
                      <a:pt x="515701" y="32767"/>
                      <a:pt x="498116" y="20372"/>
                      <a:pt x="485250" y="8707"/>
                    </a:cubicBezTo>
                    <a:cubicBezTo>
                      <a:pt x="483577" y="8964"/>
                      <a:pt x="479588" y="9693"/>
                      <a:pt x="475127" y="10980"/>
                    </a:cubicBezTo>
                    <a:cubicBezTo>
                      <a:pt x="473498" y="9135"/>
                      <a:pt x="471354" y="7677"/>
                      <a:pt x="469037" y="6433"/>
                    </a:cubicBezTo>
                    <a:cubicBezTo>
                      <a:pt x="459001" y="18786"/>
                      <a:pt x="442575" y="21402"/>
                      <a:pt x="435155" y="18271"/>
                    </a:cubicBezTo>
                    <a:cubicBezTo>
                      <a:pt x="426062" y="14454"/>
                      <a:pt x="402430" y="23203"/>
                      <a:pt x="390078" y="33797"/>
                    </a:cubicBezTo>
                    <a:cubicBezTo>
                      <a:pt x="385575" y="37657"/>
                      <a:pt x="379656" y="39201"/>
                      <a:pt x="372836" y="40788"/>
                    </a:cubicBezTo>
                    <a:cubicBezTo>
                      <a:pt x="371121" y="42117"/>
                      <a:pt x="369406" y="43061"/>
                      <a:pt x="367862" y="43232"/>
                    </a:cubicBezTo>
                    <a:cubicBezTo>
                      <a:pt x="358940" y="44391"/>
                      <a:pt x="356024" y="54641"/>
                      <a:pt x="362929" y="62661"/>
                    </a:cubicBezTo>
                    <a:cubicBezTo>
                      <a:pt x="369834" y="70639"/>
                      <a:pt x="367862" y="76343"/>
                      <a:pt x="368848" y="85478"/>
                    </a:cubicBezTo>
                    <a:cubicBezTo>
                      <a:pt x="369834" y="94614"/>
                      <a:pt x="357997" y="103749"/>
                      <a:pt x="353022" y="112885"/>
                    </a:cubicBezTo>
                    <a:cubicBezTo>
                      <a:pt x="348089" y="122020"/>
                      <a:pt x="354051" y="133429"/>
                      <a:pt x="350063" y="143722"/>
                    </a:cubicBezTo>
                    <a:cubicBezTo>
                      <a:pt x="346117" y="154016"/>
                      <a:pt x="316480" y="138018"/>
                      <a:pt x="312534" y="142564"/>
                    </a:cubicBezTo>
                    <a:cubicBezTo>
                      <a:pt x="308588" y="147153"/>
                      <a:pt x="322399" y="160835"/>
                      <a:pt x="323385" y="167697"/>
                    </a:cubicBezTo>
                    <a:cubicBezTo>
                      <a:pt x="324415" y="174560"/>
                      <a:pt x="312534" y="182580"/>
                      <a:pt x="300654" y="183695"/>
                    </a:cubicBezTo>
                    <a:cubicBezTo>
                      <a:pt x="288816" y="184853"/>
                      <a:pt x="290789" y="201966"/>
                      <a:pt x="289803" y="224783"/>
                    </a:cubicBezTo>
                    <a:cubicBezTo>
                      <a:pt x="288816" y="247643"/>
                      <a:pt x="276979" y="251074"/>
                      <a:pt x="274020" y="241896"/>
                    </a:cubicBezTo>
                    <a:cubicBezTo>
                      <a:pt x="271060" y="232760"/>
                      <a:pt x="238464" y="245327"/>
                      <a:pt x="238464" y="255620"/>
                    </a:cubicBezTo>
                    <a:cubicBezTo>
                      <a:pt x="238464" y="265871"/>
                      <a:pt x="227613" y="263641"/>
                      <a:pt x="215776" y="262483"/>
                    </a:cubicBezTo>
                    <a:cubicBezTo>
                      <a:pt x="203938" y="261367"/>
                      <a:pt x="190128" y="275092"/>
                      <a:pt x="189099" y="280796"/>
                    </a:cubicBezTo>
                    <a:cubicBezTo>
                      <a:pt x="188112" y="286458"/>
                      <a:pt x="194031" y="315022"/>
                      <a:pt x="192058" y="319611"/>
                    </a:cubicBezTo>
                    <a:cubicBezTo>
                      <a:pt x="190128" y="324200"/>
                      <a:pt x="79473" y="343586"/>
                      <a:pt x="57772" y="338997"/>
                    </a:cubicBezTo>
                    <a:cubicBezTo>
                      <a:pt x="40487" y="335352"/>
                      <a:pt x="21445" y="333207"/>
                      <a:pt x="6433" y="332478"/>
                    </a:cubicBezTo>
                    <a:cubicBezTo>
                      <a:pt x="12137" y="338997"/>
                      <a:pt x="19815" y="346074"/>
                      <a:pt x="22088" y="353194"/>
                    </a:cubicBezTo>
                    <a:cubicBezTo>
                      <a:pt x="26462" y="366747"/>
                      <a:pt x="40530" y="379099"/>
                      <a:pt x="56357" y="386733"/>
                    </a:cubicBezTo>
                    <a:cubicBezTo>
                      <a:pt x="72140" y="394367"/>
                      <a:pt x="64248" y="426406"/>
                      <a:pt x="72140" y="429451"/>
                    </a:cubicBezTo>
                    <a:cubicBezTo>
                      <a:pt x="80031" y="432496"/>
                      <a:pt x="90625" y="456900"/>
                      <a:pt x="80031" y="458401"/>
                    </a:cubicBezTo>
                    <a:cubicBezTo>
                      <a:pt x="69480" y="459945"/>
                      <a:pt x="60259" y="462990"/>
                      <a:pt x="49709" y="469080"/>
                    </a:cubicBezTo>
                    <a:cubicBezTo>
                      <a:pt x="39716" y="474828"/>
                      <a:pt x="28650" y="488853"/>
                      <a:pt x="28650" y="505879"/>
                    </a:cubicBezTo>
                    <a:cubicBezTo>
                      <a:pt x="32167" y="505708"/>
                      <a:pt x="35641" y="505794"/>
                      <a:pt x="39072" y="506480"/>
                    </a:cubicBezTo>
                    <a:cubicBezTo>
                      <a:pt x="46535" y="507981"/>
                      <a:pt x="53397" y="510640"/>
                      <a:pt x="59787" y="514114"/>
                    </a:cubicBezTo>
                    <a:cubicBezTo>
                      <a:pt x="99503" y="502577"/>
                      <a:pt x="141449" y="495801"/>
                      <a:pt x="181164" y="498888"/>
                    </a:cubicBezTo>
                    <a:cubicBezTo>
                      <a:pt x="205912" y="500819"/>
                      <a:pt x="217534" y="522907"/>
                      <a:pt x="216033" y="542636"/>
                    </a:cubicBezTo>
                    <a:cubicBezTo>
                      <a:pt x="218950" y="549498"/>
                      <a:pt x="216119" y="557003"/>
                      <a:pt x="220194" y="564509"/>
                    </a:cubicBezTo>
                    <a:cubicBezTo>
                      <a:pt x="225126" y="573602"/>
                      <a:pt x="234990" y="571929"/>
                      <a:pt x="249316" y="579306"/>
                    </a:cubicBezTo>
                    <a:cubicBezTo>
                      <a:pt x="251331" y="580335"/>
                      <a:pt x="253047" y="581665"/>
                      <a:pt x="254677" y="583123"/>
                    </a:cubicBezTo>
                    <a:cubicBezTo>
                      <a:pt x="255577" y="581922"/>
                      <a:pt x="256307" y="580979"/>
                      <a:pt x="256778" y="580293"/>
                    </a:cubicBezTo>
                    <a:cubicBezTo>
                      <a:pt x="264713" y="569613"/>
                      <a:pt x="266000" y="551299"/>
                      <a:pt x="287101" y="555889"/>
                    </a:cubicBezTo>
                    <a:cubicBezTo>
                      <a:pt x="308203" y="560477"/>
                      <a:pt x="306873" y="551299"/>
                      <a:pt x="318753" y="554387"/>
                    </a:cubicBezTo>
                    <a:cubicBezTo>
                      <a:pt x="330634" y="557432"/>
                      <a:pt x="338525" y="555889"/>
                      <a:pt x="343800" y="546796"/>
                    </a:cubicBezTo>
                    <a:cubicBezTo>
                      <a:pt x="349076" y="537618"/>
                      <a:pt x="338525" y="519347"/>
                      <a:pt x="331963" y="511712"/>
                    </a:cubicBezTo>
                    <a:cubicBezTo>
                      <a:pt x="325358" y="504121"/>
                      <a:pt x="316094" y="487308"/>
                      <a:pt x="317424" y="472083"/>
                    </a:cubicBezTo>
                    <a:cubicBezTo>
                      <a:pt x="318753" y="456814"/>
                      <a:pt x="296322" y="456814"/>
                      <a:pt x="296322" y="444591"/>
                    </a:cubicBezTo>
                    <a:cubicBezTo>
                      <a:pt x="296322" y="432410"/>
                      <a:pt x="317424" y="412595"/>
                      <a:pt x="321412" y="408006"/>
                    </a:cubicBezTo>
                    <a:cubicBezTo>
                      <a:pt x="325358" y="403417"/>
                      <a:pt x="342471" y="420230"/>
                      <a:pt x="346459" y="411051"/>
                    </a:cubicBezTo>
                    <a:cubicBezTo>
                      <a:pt x="350405" y="401873"/>
                      <a:pt x="362286" y="408006"/>
                      <a:pt x="368891" y="409507"/>
                    </a:cubicBezTo>
                    <a:cubicBezTo>
                      <a:pt x="375496" y="411051"/>
                      <a:pt x="386004" y="394239"/>
                      <a:pt x="387333" y="380557"/>
                    </a:cubicBezTo>
                    <a:cubicBezTo>
                      <a:pt x="388663" y="366832"/>
                      <a:pt x="411094" y="365288"/>
                      <a:pt x="415040" y="360699"/>
                    </a:cubicBezTo>
                    <a:cubicBezTo>
                      <a:pt x="418985" y="356110"/>
                      <a:pt x="425591" y="325658"/>
                      <a:pt x="428250" y="319525"/>
                    </a:cubicBezTo>
                    <a:cubicBezTo>
                      <a:pt x="430909" y="313435"/>
                      <a:pt x="448022" y="318024"/>
                      <a:pt x="448022" y="301255"/>
                    </a:cubicBezTo>
                    <a:cubicBezTo>
                      <a:pt x="448022" y="284442"/>
                      <a:pt x="455956" y="281397"/>
                      <a:pt x="463848" y="279896"/>
                    </a:cubicBezTo>
                    <a:cubicBezTo>
                      <a:pt x="471739" y="278395"/>
                      <a:pt x="469123" y="263126"/>
                      <a:pt x="470453" y="250945"/>
                    </a:cubicBezTo>
                    <a:cubicBezTo>
                      <a:pt x="471782" y="238722"/>
                      <a:pt x="477058" y="224997"/>
                      <a:pt x="487565" y="221952"/>
                    </a:cubicBezTo>
                    <a:cubicBezTo>
                      <a:pt x="498116" y="218907"/>
                      <a:pt x="483620" y="202137"/>
                      <a:pt x="471739" y="205183"/>
                    </a:cubicBezTo>
                    <a:cubicBezTo>
                      <a:pt x="459902" y="208228"/>
                      <a:pt x="451968" y="168555"/>
                      <a:pt x="451968" y="168555"/>
                    </a:cubicBezTo>
                    <a:cubicBezTo>
                      <a:pt x="451968" y="168555"/>
                      <a:pt x="453297" y="136560"/>
                      <a:pt x="446692" y="131970"/>
                    </a:cubicBezTo>
                    <a:cubicBezTo>
                      <a:pt x="440087" y="127381"/>
                      <a:pt x="449351" y="110612"/>
                      <a:pt x="463848" y="110612"/>
                    </a:cubicBezTo>
                    <a:cubicBezTo>
                      <a:pt x="478344" y="110612"/>
                      <a:pt x="504721" y="128925"/>
                      <a:pt x="513942" y="121291"/>
                    </a:cubicBezTo>
                    <a:cubicBezTo>
                      <a:pt x="523164" y="113657"/>
                      <a:pt x="541649" y="109110"/>
                      <a:pt x="546925" y="106065"/>
                    </a:cubicBezTo>
                    <a:cubicBezTo>
                      <a:pt x="550913" y="103749"/>
                      <a:pt x="556446" y="89124"/>
                      <a:pt x="558847" y="82262"/>
                    </a:cubicBezTo>
                    <a:cubicBezTo>
                      <a:pt x="552672" y="77587"/>
                      <a:pt x="542593" y="71797"/>
                      <a:pt x="532728" y="6639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70" name="Freeform: Shape 359">
                <a:extLst>
                  <a:ext uri="{FF2B5EF4-FFF2-40B4-BE49-F238E27FC236}">
                    <a16:creationId xmlns:a16="http://schemas.microsoft.com/office/drawing/2014/main" id="{E2775A38-B783-EDE6-6138-CE1ECE559EE8}"/>
                  </a:ext>
                </a:extLst>
              </p:cNvPr>
              <p:cNvSpPr/>
              <p:nvPr/>
            </p:nvSpPr>
            <p:spPr>
              <a:xfrm>
                <a:off x="9401093" y="4275680"/>
                <a:ext cx="298511" cy="350997"/>
              </a:xfrm>
              <a:custGeom>
                <a:avLst/>
                <a:gdLst>
                  <a:gd name="connsiteX0" fmla="*/ 53017 w 390292"/>
                  <a:gd name="connsiteY0" fmla="*/ 84874 h 458915"/>
                  <a:gd name="connsiteX1" fmla="*/ 98438 w 390292"/>
                  <a:gd name="connsiteY1" fmla="*/ 139687 h 458915"/>
                  <a:gd name="connsiteX2" fmla="*/ 134979 w 390292"/>
                  <a:gd name="connsiteY2" fmla="*/ 217316 h 458915"/>
                  <a:gd name="connsiteX3" fmla="*/ 181342 w 390292"/>
                  <a:gd name="connsiteY3" fmla="*/ 288384 h 458915"/>
                  <a:gd name="connsiteX4" fmla="*/ 217327 w 390292"/>
                  <a:gd name="connsiteY4" fmla="*/ 351345 h 458915"/>
                  <a:gd name="connsiteX5" fmla="*/ 234697 w 390292"/>
                  <a:gd name="connsiteY5" fmla="*/ 372619 h 458915"/>
                  <a:gd name="connsiteX6" fmla="*/ 294913 w 390292"/>
                  <a:gd name="connsiteY6" fmla="*/ 433135 h 458915"/>
                  <a:gd name="connsiteX7" fmla="*/ 311726 w 390292"/>
                  <a:gd name="connsiteY7" fmla="*/ 452521 h 458915"/>
                  <a:gd name="connsiteX8" fmla="*/ 347281 w 390292"/>
                  <a:gd name="connsiteY8" fmla="*/ 453679 h 458915"/>
                  <a:gd name="connsiteX9" fmla="*/ 359119 w 390292"/>
                  <a:gd name="connsiteY9" fmla="*/ 396594 h 458915"/>
                  <a:gd name="connsiteX10" fmla="*/ 364051 w 390292"/>
                  <a:gd name="connsiteY10" fmla="*/ 356621 h 458915"/>
                  <a:gd name="connsiteX11" fmla="*/ 377861 w 390292"/>
                  <a:gd name="connsiteY11" fmla="*/ 347485 h 458915"/>
                  <a:gd name="connsiteX12" fmla="*/ 378890 w 390292"/>
                  <a:gd name="connsiteY12" fmla="*/ 323510 h 458915"/>
                  <a:gd name="connsiteX13" fmla="*/ 351227 w 390292"/>
                  <a:gd name="connsiteY13" fmla="*/ 292673 h 458915"/>
                  <a:gd name="connsiteX14" fmla="*/ 347281 w 390292"/>
                  <a:gd name="connsiteY14" fmla="*/ 309786 h 458915"/>
                  <a:gd name="connsiteX15" fmla="*/ 360105 w 390292"/>
                  <a:gd name="connsiteY15" fmla="*/ 328100 h 458915"/>
                  <a:gd name="connsiteX16" fmla="*/ 339389 w 390292"/>
                  <a:gd name="connsiteY16" fmla="*/ 321280 h 458915"/>
                  <a:gd name="connsiteX17" fmla="*/ 318631 w 390292"/>
                  <a:gd name="connsiteY17" fmla="*/ 300693 h 458915"/>
                  <a:gd name="connsiteX18" fmla="*/ 288994 w 390292"/>
                  <a:gd name="connsiteY18" fmla="*/ 266425 h 458915"/>
                  <a:gd name="connsiteX19" fmla="*/ 282089 w 390292"/>
                  <a:gd name="connsiteY19" fmla="*/ 239018 h 458915"/>
                  <a:gd name="connsiteX20" fmla="*/ 265277 w 390292"/>
                  <a:gd name="connsiteY20" fmla="*/ 203592 h 458915"/>
                  <a:gd name="connsiteX21" fmla="*/ 247478 w 390292"/>
                  <a:gd name="connsiteY21" fmla="*/ 186479 h 458915"/>
                  <a:gd name="connsiteX22" fmla="*/ 230708 w 390292"/>
                  <a:gd name="connsiteY22" fmla="*/ 167093 h 458915"/>
                  <a:gd name="connsiteX23" fmla="*/ 209993 w 390292"/>
                  <a:gd name="connsiteY23" fmla="*/ 155684 h 458915"/>
                  <a:gd name="connsiteX24" fmla="*/ 184345 w 390292"/>
                  <a:gd name="connsiteY24" fmla="*/ 143118 h 458915"/>
                  <a:gd name="connsiteX25" fmla="*/ 155694 w 390292"/>
                  <a:gd name="connsiteY25" fmla="*/ 110007 h 458915"/>
                  <a:gd name="connsiteX26" fmla="*/ 99381 w 390292"/>
                  <a:gd name="connsiteY26" fmla="*/ 51764 h 458915"/>
                  <a:gd name="connsiteX27" fmla="*/ 51002 w 390292"/>
                  <a:gd name="connsiteY27" fmla="*/ 25515 h 458915"/>
                  <a:gd name="connsiteX28" fmla="*/ 7512 w 390292"/>
                  <a:gd name="connsiteY28" fmla="*/ 10676 h 458915"/>
                  <a:gd name="connsiteX29" fmla="*/ 53017 w 390292"/>
                  <a:gd name="connsiteY29" fmla="*/ 84874 h 45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90292" h="458915">
                    <a:moveTo>
                      <a:pt x="53017" y="84874"/>
                    </a:moveTo>
                    <a:cubicBezTo>
                      <a:pt x="69787" y="96326"/>
                      <a:pt x="78665" y="137371"/>
                      <a:pt x="98438" y="139687"/>
                    </a:cubicBezTo>
                    <a:cubicBezTo>
                      <a:pt x="118209" y="141960"/>
                      <a:pt x="120139" y="213928"/>
                      <a:pt x="134979" y="217316"/>
                    </a:cubicBezTo>
                    <a:cubicBezTo>
                      <a:pt x="147159" y="220147"/>
                      <a:pt x="170620" y="258362"/>
                      <a:pt x="181342" y="288384"/>
                    </a:cubicBezTo>
                    <a:cubicBezTo>
                      <a:pt x="196697" y="306955"/>
                      <a:pt x="209435" y="327327"/>
                      <a:pt x="217327" y="351345"/>
                    </a:cubicBezTo>
                    <a:cubicBezTo>
                      <a:pt x="224360" y="358207"/>
                      <a:pt x="230879" y="364984"/>
                      <a:pt x="234697" y="372619"/>
                    </a:cubicBezTo>
                    <a:cubicBezTo>
                      <a:pt x="245548" y="394320"/>
                      <a:pt x="288994" y="424043"/>
                      <a:pt x="294913" y="433135"/>
                    </a:cubicBezTo>
                    <a:cubicBezTo>
                      <a:pt x="300832" y="442271"/>
                      <a:pt x="306750" y="462857"/>
                      <a:pt x="311726" y="452521"/>
                    </a:cubicBezTo>
                    <a:cubicBezTo>
                      <a:pt x="316658" y="442271"/>
                      <a:pt x="337374" y="452521"/>
                      <a:pt x="347281" y="453679"/>
                    </a:cubicBezTo>
                    <a:cubicBezTo>
                      <a:pt x="357188" y="454837"/>
                      <a:pt x="360105" y="412548"/>
                      <a:pt x="359119" y="396594"/>
                    </a:cubicBezTo>
                    <a:cubicBezTo>
                      <a:pt x="358133" y="380596"/>
                      <a:pt x="364051" y="364598"/>
                      <a:pt x="364051" y="356621"/>
                    </a:cubicBezTo>
                    <a:cubicBezTo>
                      <a:pt x="364051" y="348643"/>
                      <a:pt x="368983" y="345212"/>
                      <a:pt x="377861" y="347485"/>
                    </a:cubicBezTo>
                    <a:cubicBezTo>
                      <a:pt x="386782" y="349758"/>
                      <a:pt x="385796" y="325783"/>
                      <a:pt x="378890" y="323510"/>
                    </a:cubicBezTo>
                    <a:cubicBezTo>
                      <a:pt x="371943" y="321280"/>
                      <a:pt x="368039" y="292673"/>
                      <a:pt x="351227" y="292673"/>
                    </a:cubicBezTo>
                    <a:cubicBezTo>
                      <a:pt x="334458" y="292673"/>
                      <a:pt x="337417" y="308628"/>
                      <a:pt x="347281" y="309786"/>
                    </a:cubicBezTo>
                    <a:cubicBezTo>
                      <a:pt x="357188" y="310944"/>
                      <a:pt x="363064" y="320079"/>
                      <a:pt x="360105" y="328100"/>
                    </a:cubicBezTo>
                    <a:cubicBezTo>
                      <a:pt x="357145" y="336077"/>
                      <a:pt x="353200" y="320079"/>
                      <a:pt x="339389" y="321280"/>
                    </a:cubicBezTo>
                    <a:cubicBezTo>
                      <a:pt x="325536" y="322395"/>
                      <a:pt x="334458" y="301808"/>
                      <a:pt x="318631" y="300693"/>
                    </a:cubicBezTo>
                    <a:cubicBezTo>
                      <a:pt x="302848" y="299535"/>
                      <a:pt x="305807" y="266425"/>
                      <a:pt x="288994" y="266425"/>
                    </a:cubicBezTo>
                    <a:cubicBezTo>
                      <a:pt x="272225" y="266425"/>
                      <a:pt x="271239" y="250427"/>
                      <a:pt x="282089" y="239018"/>
                    </a:cubicBezTo>
                    <a:cubicBezTo>
                      <a:pt x="292940" y="227567"/>
                      <a:pt x="265277" y="217316"/>
                      <a:pt x="265277" y="203592"/>
                    </a:cubicBezTo>
                    <a:cubicBezTo>
                      <a:pt x="265277" y="189867"/>
                      <a:pt x="247478" y="197888"/>
                      <a:pt x="247478" y="186479"/>
                    </a:cubicBezTo>
                    <a:cubicBezTo>
                      <a:pt x="247478" y="175070"/>
                      <a:pt x="239586" y="180774"/>
                      <a:pt x="230708" y="167093"/>
                    </a:cubicBezTo>
                    <a:cubicBezTo>
                      <a:pt x="221830" y="153368"/>
                      <a:pt x="217884" y="165935"/>
                      <a:pt x="209993" y="155684"/>
                    </a:cubicBezTo>
                    <a:cubicBezTo>
                      <a:pt x="202101" y="145391"/>
                      <a:pt x="191207" y="139687"/>
                      <a:pt x="184345" y="143118"/>
                    </a:cubicBezTo>
                    <a:cubicBezTo>
                      <a:pt x="177439" y="146549"/>
                      <a:pt x="161613" y="128278"/>
                      <a:pt x="155694" y="110007"/>
                    </a:cubicBezTo>
                    <a:cubicBezTo>
                      <a:pt x="150977" y="95468"/>
                      <a:pt x="105342" y="71193"/>
                      <a:pt x="99381" y="51764"/>
                    </a:cubicBezTo>
                    <a:cubicBezTo>
                      <a:pt x="93462" y="32377"/>
                      <a:pt x="77679" y="24357"/>
                      <a:pt x="51002" y="25515"/>
                    </a:cubicBezTo>
                    <a:cubicBezTo>
                      <a:pt x="24368" y="26673"/>
                      <a:pt x="13817" y="-4679"/>
                      <a:pt x="7512" y="10676"/>
                    </a:cubicBezTo>
                    <a:cubicBezTo>
                      <a:pt x="-294" y="30062"/>
                      <a:pt x="36248" y="73423"/>
                      <a:pt x="53017" y="84874"/>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71" name="Freeform: Shape 360">
                <a:extLst>
                  <a:ext uri="{FF2B5EF4-FFF2-40B4-BE49-F238E27FC236}">
                    <a16:creationId xmlns:a16="http://schemas.microsoft.com/office/drawing/2014/main" id="{1B08B5AA-1D7B-92D3-7CF8-46C6964D4536}"/>
                  </a:ext>
                </a:extLst>
              </p:cNvPr>
              <p:cNvSpPr/>
              <p:nvPr/>
            </p:nvSpPr>
            <p:spPr>
              <a:xfrm>
                <a:off x="9741321" y="4314485"/>
                <a:ext cx="268987" cy="259147"/>
              </a:xfrm>
              <a:custGeom>
                <a:avLst/>
                <a:gdLst>
                  <a:gd name="connsiteX0" fmla="*/ 275752 w 351692"/>
                  <a:gd name="connsiteY0" fmla="*/ 232845 h 338825"/>
                  <a:gd name="connsiteX1" fmla="*/ 295482 w 351692"/>
                  <a:gd name="connsiteY1" fmla="*/ 173443 h 338825"/>
                  <a:gd name="connsiteX2" fmla="*/ 345834 w 351692"/>
                  <a:gd name="connsiteY2" fmla="*/ 140332 h 338825"/>
                  <a:gd name="connsiteX3" fmla="*/ 323145 w 351692"/>
                  <a:gd name="connsiteY3" fmla="*/ 109495 h 338825"/>
                  <a:gd name="connsiteX4" fmla="*/ 312294 w 351692"/>
                  <a:gd name="connsiteY4" fmla="*/ 78658 h 338825"/>
                  <a:gd name="connsiteX5" fmla="*/ 301444 w 351692"/>
                  <a:gd name="connsiteY5" fmla="*/ 44389 h 338825"/>
                  <a:gd name="connsiteX6" fmla="*/ 303417 w 351692"/>
                  <a:gd name="connsiteY6" fmla="*/ 15825 h 338825"/>
                  <a:gd name="connsiteX7" fmla="*/ 308349 w 351692"/>
                  <a:gd name="connsiteY7" fmla="*/ 12908 h 338825"/>
                  <a:gd name="connsiteX8" fmla="*/ 292523 w 351692"/>
                  <a:gd name="connsiteY8" fmla="*/ 6689 h 338825"/>
                  <a:gd name="connsiteX9" fmla="*/ 241185 w 351692"/>
                  <a:gd name="connsiteY9" fmla="*/ 31780 h 338825"/>
                  <a:gd name="connsiteX10" fmla="*/ 221455 w 351692"/>
                  <a:gd name="connsiteY10" fmla="*/ 66048 h 338825"/>
                  <a:gd name="connsiteX11" fmla="*/ 211590 w 351692"/>
                  <a:gd name="connsiteY11" fmla="*/ 102590 h 338825"/>
                  <a:gd name="connsiteX12" fmla="*/ 181954 w 351692"/>
                  <a:gd name="connsiteY12" fmla="*/ 125450 h 338825"/>
                  <a:gd name="connsiteX13" fmla="*/ 150387 w 351692"/>
                  <a:gd name="connsiteY13" fmla="*/ 118588 h 338825"/>
                  <a:gd name="connsiteX14" fmla="*/ 116806 w 351692"/>
                  <a:gd name="connsiteY14" fmla="*/ 134585 h 338825"/>
                  <a:gd name="connsiteX15" fmla="*/ 73358 w 351692"/>
                  <a:gd name="connsiteY15" fmla="*/ 139131 h 338825"/>
                  <a:gd name="connsiteX16" fmla="*/ 45695 w 351692"/>
                  <a:gd name="connsiteY16" fmla="*/ 123177 h 338825"/>
                  <a:gd name="connsiteX17" fmla="*/ 35701 w 351692"/>
                  <a:gd name="connsiteY17" fmla="*/ 98473 h 338825"/>
                  <a:gd name="connsiteX18" fmla="*/ 31884 w 351692"/>
                  <a:gd name="connsiteY18" fmla="*/ 98044 h 338825"/>
                  <a:gd name="connsiteX19" fmla="*/ 10139 w 351692"/>
                  <a:gd name="connsiteY19" fmla="*/ 151741 h 338825"/>
                  <a:gd name="connsiteX20" fmla="*/ 27896 w 351692"/>
                  <a:gd name="connsiteY20" fmla="*/ 205439 h 338825"/>
                  <a:gd name="connsiteX21" fmla="*/ 56589 w 351692"/>
                  <a:gd name="connsiteY21" fmla="*/ 244253 h 338825"/>
                  <a:gd name="connsiteX22" fmla="*/ 88198 w 351692"/>
                  <a:gd name="connsiteY22" fmla="*/ 295635 h 338825"/>
                  <a:gd name="connsiteX23" fmla="*/ 114833 w 351692"/>
                  <a:gd name="connsiteY23" fmla="*/ 310474 h 338825"/>
                  <a:gd name="connsiteX24" fmla="*/ 159266 w 351692"/>
                  <a:gd name="connsiteY24" fmla="*/ 304770 h 338825"/>
                  <a:gd name="connsiteX25" fmla="*/ 201727 w 351692"/>
                  <a:gd name="connsiteY25" fmla="*/ 327587 h 338825"/>
                  <a:gd name="connsiteX26" fmla="*/ 250105 w 351692"/>
                  <a:gd name="connsiteY26" fmla="*/ 318452 h 338825"/>
                  <a:gd name="connsiteX27" fmla="*/ 275752 w 351692"/>
                  <a:gd name="connsiteY27" fmla="*/ 232845 h 33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1692" h="338825">
                    <a:moveTo>
                      <a:pt x="275752" y="232845"/>
                    </a:moveTo>
                    <a:cubicBezTo>
                      <a:pt x="293509" y="220278"/>
                      <a:pt x="297455" y="196303"/>
                      <a:pt x="295482" y="173443"/>
                    </a:cubicBezTo>
                    <a:cubicBezTo>
                      <a:pt x="293509" y="150626"/>
                      <a:pt x="338929" y="149468"/>
                      <a:pt x="345834" y="140332"/>
                    </a:cubicBezTo>
                    <a:cubicBezTo>
                      <a:pt x="352783" y="131197"/>
                      <a:pt x="335926" y="116357"/>
                      <a:pt x="323145" y="109495"/>
                    </a:cubicBezTo>
                    <a:cubicBezTo>
                      <a:pt x="310279" y="102633"/>
                      <a:pt x="321130" y="87836"/>
                      <a:pt x="312294" y="78658"/>
                    </a:cubicBezTo>
                    <a:cubicBezTo>
                      <a:pt x="303417" y="69522"/>
                      <a:pt x="288577" y="45547"/>
                      <a:pt x="301444" y="44389"/>
                    </a:cubicBezTo>
                    <a:cubicBezTo>
                      <a:pt x="314268" y="43231"/>
                      <a:pt x="292523" y="22687"/>
                      <a:pt x="303417" y="15825"/>
                    </a:cubicBezTo>
                    <a:cubicBezTo>
                      <a:pt x="304875" y="14924"/>
                      <a:pt x="306548" y="13895"/>
                      <a:pt x="308349" y="12908"/>
                    </a:cubicBezTo>
                    <a:cubicBezTo>
                      <a:pt x="301872" y="9177"/>
                      <a:pt x="296168" y="6689"/>
                      <a:pt x="292523" y="6689"/>
                    </a:cubicBezTo>
                    <a:cubicBezTo>
                      <a:pt x="276740" y="6689"/>
                      <a:pt x="239212" y="2100"/>
                      <a:pt x="241185" y="31780"/>
                    </a:cubicBezTo>
                    <a:cubicBezTo>
                      <a:pt x="243200" y="61502"/>
                      <a:pt x="219482" y="50050"/>
                      <a:pt x="221455" y="66048"/>
                    </a:cubicBezTo>
                    <a:cubicBezTo>
                      <a:pt x="223428" y="82046"/>
                      <a:pt x="209618" y="82046"/>
                      <a:pt x="211590" y="102590"/>
                    </a:cubicBezTo>
                    <a:cubicBezTo>
                      <a:pt x="213606" y="123134"/>
                      <a:pt x="201727" y="113999"/>
                      <a:pt x="181954" y="125450"/>
                    </a:cubicBezTo>
                    <a:cubicBezTo>
                      <a:pt x="162225" y="136859"/>
                      <a:pt x="170117" y="118588"/>
                      <a:pt x="150387" y="118588"/>
                    </a:cubicBezTo>
                    <a:cubicBezTo>
                      <a:pt x="130616" y="118588"/>
                      <a:pt x="128643" y="130039"/>
                      <a:pt x="116806" y="134585"/>
                    </a:cubicBezTo>
                    <a:cubicBezTo>
                      <a:pt x="104968" y="139131"/>
                      <a:pt x="81250" y="132312"/>
                      <a:pt x="73358" y="139131"/>
                    </a:cubicBezTo>
                    <a:cubicBezTo>
                      <a:pt x="65467" y="145994"/>
                      <a:pt x="53630" y="123177"/>
                      <a:pt x="45695" y="123177"/>
                    </a:cubicBezTo>
                    <a:cubicBezTo>
                      <a:pt x="41663" y="123177"/>
                      <a:pt x="38189" y="110696"/>
                      <a:pt x="35701" y="98473"/>
                    </a:cubicBezTo>
                    <a:cubicBezTo>
                      <a:pt x="34287" y="98172"/>
                      <a:pt x="33000" y="97915"/>
                      <a:pt x="31884" y="98044"/>
                    </a:cubicBezTo>
                    <a:cubicBezTo>
                      <a:pt x="19061" y="99202"/>
                      <a:pt x="-2169" y="138446"/>
                      <a:pt x="10139" y="151741"/>
                    </a:cubicBezTo>
                    <a:cubicBezTo>
                      <a:pt x="24936" y="167739"/>
                      <a:pt x="20990" y="192829"/>
                      <a:pt x="27896" y="205439"/>
                    </a:cubicBezTo>
                    <a:cubicBezTo>
                      <a:pt x="34844" y="218005"/>
                      <a:pt x="56589" y="220235"/>
                      <a:pt x="56589" y="244253"/>
                    </a:cubicBezTo>
                    <a:cubicBezTo>
                      <a:pt x="56589" y="268229"/>
                      <a:pt x="75331" y="305928"/>
                      <a:pt x="88198" y="295635"/>
                    </a:cubicBezTo>
                    <a:cubicBezTo>
                      <a:pt x="101022" y="285341"/>
                      <a:pt x="110886" y="300224"/>
                      <a:pt x="114833" y="310474"/>
                    </a:cubicBezTo>
                    <a:cubicBezTo>
                      <a:pt x="118778" y="320768"/>
                      <a:pt x="149401" y="302497"/>
                      <a:pt x="159266" y="304770"/>
                    </a:cubicBezTo>
                    <a:cubicBezTo>
                      <a:pt x="169130" y="307043"/>
                      <a:pt x="199710" y="313905"/>
                      <a:pt x="201727" y="327587"/>
                    </a:cubicBezTo>
                    <a:cubicBezTo>
                      <a:pt x="203699" y="341312"/>
                      <a:pt x="231363" y="326429"/>
                      <a:pt x="250105" y="318452"/>
                    </a:cubicBezTo>
                    <a:cubicBezTo>
                      <a:pt x="268848" y="310474"/>
                      <a:pt x="257997" y="245411"/>
                      <a:pt x="275752" y="23284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72" name="Freeform: Shape 361">
                <a:extLst>
                  <a:ext uri="{FF2B5EF4-FFF2-40B4-BE49-F238E27FC236}">
                    <a16:creationId xmlns:a16="http://schemas.microsoft.com/office/drawing/2014/main" id="{CBA6F366-B497-F6EA-566E-3FFB05089928}"/>
                  </a:ext>
                </a:extLst>
              </p:cNvPr>
              <p:cNvSpPr/>
              <p:nvPr/>
            </p:nvSpPr>
            <p:spPr>
              <a:xfrm>
                <a:off x="9995312" y="4396245"/>
                <a:ext cx="173858" cy="229624"/>
              </a:xfrm>
              <a:custGeom>
                <a:avLst/>
                <a:gdLst>
                  <a:gd name="connsiteX0" fmla="*/ 33521 w 227313"/>
                  <a:gd name="connsiteY0" fmla="*/ 209323 h 300225"/>
                  <a:gd name="connsiteX1" fmla="*/ 43428 w 227313"/>
                  <a:gd name="connsiteY1" fmla="*/ 250411 h 300225"/>
                  <a:gd name="connsiteX2" fmla="*/ 47374 w 227313"/>
                  <a:gd name="connsiteY2" fmla="*/ 294930 h 300225"/>
                  <a:gd name="connsiteX3" fmla="*/ 64143 w 227313"/>
                  <a:gd name="connsiteY3" fmla="*/ 257230 h 300225"/>
                  <a:gd name="connsiteX4" fmla="*/ 60198 w 227313"/>
                  <a:gd name="connsiteY4" fmla="*/ 186420 h 300225"/>
                  <a:gd name="connsiteX5" fmla="*/ 81943 w 227313"/>
                  <a:gd name="connsiteY5" fmla="*/ 202418 h 300225"/>
                  <a:gd name="connsiteX6" fmla="*/ 98713 w 227313"/>
                  <a:gd name="connsiteY6" fmla="*/ 241233 h 300225"/>
                  <a:gd name="connsiteX7" fmla="*/ 129335 w 227313"/>
                  <a:gd name="connsiteY7" fmla="*/ 245822 h 300225"/>
                  <a:gd name="connsiteX8" fmla="*/ 131308 w 227313"/>
                  <a:gd name="connsiteY8" fmla="*/ 216100 h 300225"/>
                  <a:gd name="connsiteX9" fmla="*/ 124403 w 227313"/>
                  <a:gd name="connsiteY9" fmla="*/ 171580 h 300225"/>
                  <a:gd name="connsiteX10" fmla="*/ 113509 w 227313"/>
                  <a:gd name="connsiteY10" fmla="*/ 139628 h 300225"/>
                  <a:gd name="connsiteX11" fmla="*/ 163904 w 227313"/>
                  <a:gd name="connsiteY11" fmla="*/ 97339 h 300225"/>
                  <a:gd name="connsiteX12" fmla="*/ 95753 w 227313"/>
                  <a:gd name="connsiteY12" fmla="*/ 120156 h 300225"/>
                  <a:gd name="connsiteX13" fmla="*/ 54279 w 227313"/>
                  <a:gd name="connsiteY13" fmla="*/ 82456 h 300225"/>
                  <a:gd name="connsiteX14" fmla="*/ 164890 w 227313"/>
                  <a:gd name="connsiteY14" fmla="*/ 53935 h 300225"/>
                  <a:gd name="connsiteX15" fmla="*/ 223134 w 227313"/>
                  <a:gd name="connsiteY15" fmla="*/ 13962 h 300225"/>
                  <a:gd name="connsiteX16" fmla="*/ 187579 w 227313"/>
                  <a:gd name="connsiteY16" fmla="*/ 29960 h 300225"/>
                  <a:gd name="connsiteX17" fmla="*/ 103644 w 227313"/>
                  <a:gd name="connsiteY17" fmla="*/ 19666 h 300225"/>
                  <a:gd name="connsiteX18" fmla="*/ 63114 w 227313"/>
                  <a:gd name="connsiteY18" fmla="*/ 39095 h 300225"/>
                  <a:gd name="connsiteX19" fmla="*/ 39439 w 227313"/>
                  <a:gd name="connsiteY19" fmla="*/ 96181 h 300225"/>
                  <a:gd name="connsiteX20" fmla="*/ 12762 w 227313"/>
                  <a:gd name="connsiteY20" fmla="*/ 170465 h 300225"/>
                  <a:gd name="connsiteX21" fmla="*/ 33521 w 227313"/>
                  <a:gd name="connsiteY21" fmla="*/ 209323 h 30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7313" h="300225">
                    <a:moveTo>
                      <a:pt x="33521" y="209323"/>
                    </a:moveTo>
                    <a:cubicBezTo>
                      <a:pt x="48318" y="210438"/>
                      <a:pt x="46388" y="235571"/>
                      <a:pt x="43428" y="250411"/>
                    </a:cubicBezTo>
                    <a:cubicBezTo>
                      <a:pt x="40426" y="265251"/>
                      <a:pt x="34464" y="300548"/>
                      <a:pt x="47374" y="294930"/>
                    </a:cubicBezTo>
                    <a:cubicBezTo>
                      <a:pt x="63157" y="288067"/>
                      <a:pt x="73022" y="265251"/>
                      <a:pt x="64143" y="257230"/>
                    </a:cubicBezTo>
                    <a:cubicBezTo>
                      <a:pt x="55222" y="249253"/>
                      <a:pt x="56251" y="198986"/>
                      <a:pt x="60198" y="186420"/>
                    </a:cubicBezTo>
                    <a:cubicBezTo>
                      <a:pt x="64143" y="173853"/>
                      <a:pt x="90821" y="182989"/>
                      <a:pt x="81943" y="202418"/>
                    </a:cubicBezTo>
                    <a:cubicBezTo>
                      <a:pt x="73065" y="221847"/>
                      <a:pt x="98713" y="219530"/>
                      <a:pt x="98713" y="241233"/>
                    </a:cubicBezTo>
                    <a:cubicBezTo>
                      <a:pt x="98713" y="262934"/>
                      <a:pt x="113509" y="251526"/>
                      <a:pt x="129335" y="245822"/>
                    </a:cubicBezTo>
                    <a:cubicBezTo>
                      <a:pt x="145162" y="240117"/>
                      <a:pt x="142202" y="229824"/>
                      <a:pt x="131308" y="216100"/>
                    </a:cubicBezTo>
                    <a:cubicBezTo>
                      <a:pt x="120458" y="202418"/>
                      <a:pt x="139200" y="182989"/>
                      <a:pt x="124403" y="171580"/>
                    </a:cubicBezTo>
                    <a:cubicBezTo>
                      <a:pt x="109564" y="160172"/>
                      <a:pt x="99699" y="143016"/>
                      <a:pt x="113509" y="139628"/>
                    </a:cubicBezTo>
                    <a:cubicBezTo>
                      <a:pt x="127362" y="136197"/>
                      <a:pt x="168794" y="108790"/>
                      <a:pt x="163904" y="97339"/>
                    </a:cubicBezTo>
                    <a:cubicBezTo>
                      <a:pt x="158972" y="85930"/>
                      <a:pt x="100728" y="99612"/>
                      <a:pt x="95753" y="120156"/>
                    </a:cubicBezTo>
                    <a:cubicBezTo>
                      <a:pt x="90821" y="140700"/>
                      <a:pt x="49347" y="117883"/>
                      <a:pt x="54279" y="82456"/>
                    </a:cubicBezTo>
                    <a:cubicBezTo>
                      <a:pt x="59212" y="47073"/>
                      <a:pt x="141173" y="41326"/>
                      <a:pt x="164890" y="53935"/>
                    </a:cubicBezTo>
                    <a:cubicBezTo>
                      <a:pt x="188608" y="66502"/>
                      <a:pt x="214256" y="33391"/>
                      <a:pt x="223134" y="13962"/>
                    </a:cubicBezTo>
                    <a:cubicBezTo>
                      <a:pt x="232013" y="-5467"/>
                      <a:pt x="204391" y="17393"/>
                      <a:pt x="187579" y="29960"/>
                    </a:cubicBezTo>
                    <a:cubicBezTo>
                      <a:pt x="170810" y="42526"/>
                      <a:pt x="126376" y="28802"/>
                      <a:pt x="103644" y="19666"/>
                    </a:cubicBezTo>
                    <a:cubicBezTo>
                      <a:pt x="80913" y="10574"/>
                      <a:pt x="81900" y="35664"/>
                      <a:pt x="63114" y="39095"/>
                    </a:cubicBezTo>
                    <a:cubicBezTo>
                      <a:pt x="44372" y="42526"/>
                      <a:pt x="48318" y="90477"/>
                      <a:pt x="39439" y="96181"/>
                    </a:cubicBezTo>
                    <a:cubicBezTo>
                      <a:pt x="30518" y="101928"/>
                      <a:pt x="30518" y="137311"/>
                      <a:pt x="12762" y="170465"/>
                    </a:cubicBezTo>
                    <a:cubicBezTo>
                      <a:pt x="-4994" y="203576"/>
                      <a:pt x="18723" y="208165"/>
                      <a:pt x="33521" y="20932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73" name="Freeform: Shape 362">
                <a:extLst>
                  <a:ext uri="{FF2B5EF4-FFF2-40B4-BE49-F238E27FC236}">
                    <a16:creationId xmlns:a16="http://schemas.microsoft.com/office/drawing/2014/main" id="{497C6BFC-BC61-4169-37C7-967BDF59085C}"/>
                  </a:ext>
                </a:extLst>
              </p:cNvPr>
              <p:cNvSpPr/>
              <p:nvPr/>
            </p:nvSpPr>
            <p:spPr>
              <a:xfrm>
                <a:off x="9446203" y="4400150"/>
                <a:ext cx="26242" cy="26242"/>
              </a:xfrm>
              <a:custGeom>
                <a:avLst/>
                <a:gdLst>
                  <a:gd name="connsiteX0" fmla="*/ 19600 w 34311"/>
                  <a:gd name="connsiteY0" fmla="*/ 18335 h 34311"/>
                  <a:gd name="connsiteX1" fmla="*/ 29121 w 34311"/>
                  <a:gd name="connsiteY1" fmla="*/ 29915 h 34311"/>
                  <a:gd name="connsiteX2" fmla="*/ 6433 w 34311"/>
                  <a:gd name="connsiteY2" fmla="*/ 7656 h 34311"/>
                  <a:gd name="connsiteX3" fmla="*/ 19600 w 34311"/>
                  <a:gd name="connsiteY3" fmla="*/ 18335 h 34311"/>
                </a:gdLst>
                <a:ahLst/>
                <a:cxnLst>
                  <a:cxn ang="0">
                    <a:pos x="connsiteX0" y="connsiteY0"/>
                  </a:cxn>
                  <a:cxn ang="0">
                    <a:pos x="connsiteX1" y="connsiteY1"/>
                  </a:cxn>
                  <a:cxn ang="0">
                    <a:pos x="connsiteX2" y="connsiteY2"/>
                  </a:cxn>
                  <a:cxn ang="0">
                    <a:pos x="connsiteX3" y="connsiteY3"/>
                  </a:cxn>
                </a:cxnLst>
                <a:rect l="l" t="t" r="r" b="b"/>
                <a:pathLst>
                  <a:path w="34311" h="34311">
                    <a:moveTo>
                      <a:pt x="19600" y="18335"/>
                    </a:moveTo>
                    <a:cubicBezTo>
                      <a:pt x="22645" y="22281"/>
                      <a:pt x="25818" y="26141"/>
                      <a:pt x="29121" y="29915"/>
                    </a:cubicBezTo>
                    <a:cubicBezTo>
                      <a:pt x="27191" y="16877"/>
                      <a:pt x="9778" y="2037"/>
                      <a:pt x="6433" y="7656"/>
                    </a:cubicBezTo>
                    <a:cubicBezTo>
                      <a:pt x="11065" y="9672"/>
                      <a:pt x="15525" y="13103"/>
                      <a:pt x="19600" y="18335"/>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74" name="Freeform: Shape 363">
                <a:extLst>
                  <a:ext uri="{FF2B5EF4-FFF2-40B4-BE49-F238E27FC236}">
                    <a16:creationId xmlns:a16="http://schemas.microsoft.com/office/drawing/2014/main" id="{FB3BC367-5662-DD9C-5572-EEBC562F8579}"/>
                  </a:ext>
                </a:extLst>
              </p:cNvPr>
              <p:cNvSpPr/>
              <p:nvPr/>
            </p:nvSpPr>
            <p:spPr>
              <a:xfrm>
                <a:off x="9929385" y="4686689"/>
                <a:ext cx="82008" cy="39364"/>
              </a:xfrm>
              <a:custGeom>
                <a:avLst/>
                <a:gdLst>
                  <a:gd name="connsiteX0" fmla="*/ 54526 w 107223"/>
                  <a:gd name="connsiteY0" fmla="*/ 10012 h 51467"/>
                  <a:gd name="connsiteX1" fmla="*/ 23947 w 107223"/>
                  <a:gd name="connsiteY1" fmla="*/ 14558 h 51467"/>
                  <a:gd name="connsiteX2" fmla="*/ 8164 w 107223"/>
                  <a:gd name="connsiteY2" fmla="*/ 35102 h 51467"/>
                  <a:gd name="connsiteX3" fmla="*/ 56543 w 107223"/>
                  <a:gd name="connsiteY3" fmla="*/ 44238 h 51467"/>
                  <a:gd name="connsiteX4" fmla="*/ 103935 w 107223"/>
                  <a:gd name="connsiteY4" fmla="*/ 28240 h 51467"/>
                  <a:gd name="connsiteX5" fmla="*/ 54526 w 107223"/>
                  <a:gd name="connsiteY5" fmla="*/ 10012 h 51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223" h="51467">
                    <a:moveTo>
                      <a:pt x="54526" y="10012"/>
                    </a:moveTo>
                    <a:cubicBezTo>
                      <a:pt x="50581" y="20305"/>
                      <a:pt x="33811" y="22578"/>
                      <a:pt x="23947" y="14558"/>
                    </a:cubicBezTo>
                    <a:cubicBezTo>
                      <a:pt x="14082" y="6581"/>
                      <a:pt x="1859" y="25409"/>
                      <a:pt x="8164" y="35102"/>
                    </a:cubicBezTo>
                    <a:cubicBezTo>
                      <a:pt x="11123" y="39691"/>
                      <a:pt x="31839" y="57962"/>
                      <a:pt x="56543" y="44238"/>
                    </a:cubicBezTo>
                    <a:cubicBezTo>
                      <a:pt x="81290" y="30513"/>
                      <a:pt x="98017" y="43079"/>
                      <a:pt x="103935" y="28240"/>
                    </a:cubicBezTo>
                    <a:cubicBezTo>
                      <a:pt x="109854" y="13443"/>
                      <a:pt x="58516" y="-282"/>
                      <a:pt x="54526" y="10012"/>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75" name="Freeform: Shape 364">
                <a:extLst>
                  <a:ext uri="{FF2B5EF4-FFF2-40B4-BE49-F238E27FC236}">
                    <a16:creationId xmlns:a16="http://schemas.microsoft.com/office/drawing/2014/main" id="{F68B943B-F5BE-B05D-CD1B-30D10C57CE9B}"/>
                  </a:ext>
                </a:extLst>
              </p:cNvPr>
              <p:cNvSpPr/>
              <p:nvPr/>
            </p:nvSpPr>
            <p:spPr>
              <a:xfrm>
                <a:off x="9894132" y="4686146"/>
                <a:ext cx="32803" cy="26242"/>
              </a:xfrm>
              <a:custGeom>
                <a:avLst/>
                <a:gdLst>
                  <a:gd name="connsiteX0" fmla="*/ 6433 w 42889"/>
                  <a:gd name="connsiteY0" fmla="*/ 6433 h 34311"/>
                  <a:gd name="connsiteX1" fmla="*/ 11538 w 42889"/>
                  <a:gd name="connsiteY1" fmla="*/ 26891 h 34311"/>
                  <a:gd name="connsiteX2" fmla="*/ 34483 w 42889"/>
                  <a:gd name="connsiteY2" fmla="*/ 24447 h 34311"/>
                  <a:gd name="connsiteX3" fmla="*/ 6433 w 42889"/>
                  <a:gd name="connsiteY3" fmla="*/ 6433 h 34311"/>
                </a:gdLst>
                <a:ahLst/>
                <a:cxnLst>
                  <a:cxn ang="0">
                    <a:pos x="connsiteX0" y="connsiteY0"/>
                  </a:cxn>
                  <a:cxn ang="0">
                    <a:pos x="connsiteX1" y="connsiteY1"/>
                  </a:cxn>
                  <a:cxn ang="0">
                    <a:pos x="connsiteX2" y="connsiteY2"/>
                  </a:cxn>
                  <a:cxn ang="0">
                    <a:pos x="connsiteX3" y="connsiteY3"/>
                  </a:cxn>
                </a:cxnLst>
                <a:rect l="l" t="t" r="r" b="b"/>
                <a:pathLst>
                  <a:path w="42889" h="34311">
                    <a:moveTo>
                      <a:pt x="6433" y="6433"/>
                    </a:moveTo>
                    <a:cubicBezTo>
                      <a:pt x="9822" y="12609"/>
                      <a:pt x="11538" y="19772"/>
                      <a:pt x="11538" y="26891"/>
                    </a:cubicBezTo>
                    <a:cubicBezTo>
                      <a:pt x="17800" y="30280"/>
                      <a:pt x="25391" y="32295"/>
                      <a:pt x="34483" y="24447"/>
                    </a:cubicBezTo>
                    <a:cubicBezTo>
                      <a:pt x="50395" y="10636"/>
                      <a:pt x="19601" y="12395"/>
                      <a:pt x="6433" y="643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76" name="Freeform: Shape 365">
                <a:extLst>
                  <a:ext uri="{FF2B5EF4-FFF2-40B4-BE49-F238E27FC236}">
                    <a16:creationId xmlns:a16="http://schemas.microsoft.com/office/drawing/2014/main" id="{BCC605C4-4A59-2331-8CD9-CAC9C6B7E774}"/>
                  </a:ext>
                </a:extLst>
              </p:cNvPr>
              <p:cNvSpPr/>
              <p:nvPr/>
            </p:nvSpPr>
            <p:spPr>
              <a:xfrm>
                <a:off x="9660950" y="4619796"/>
                <a:ext cx="219782" cy="68887"/>
              </a:xfrm>
              <a:custGeom>
                <a:avLst/>
                <a:gdLst>
                  <a:gd name="connsiteX0" fmla="*/ 32230 w 287358"/>
                  <a:gd name="connsiteY0" fmla="*/ 46091 h 90067"/>
                  <a:gd name="connsiteX1" fmla="*/ 50029 w 287358"/>
                  <a:gd name="connsiteY1" fmla="*/ 67750 h 90067"/>
                  <a:gd name="connsiteX2" fmla="*/ 109259 w 287358"/>
                  <a:gd name="connsiteY2" fmla="*/ 73497 h 90067"/>
                  <a:gd name="connsiteX3" fmla="*/ 164930 w 287358"/>
                  <a:gd name="connsiteY3" fmla="*/ 85807 h 90067"/>
                  <a:gd name="connsiteX4" fmla="*/ 246333 w 287358"/>
                  <a:gd name="connsiteY4" fmla="*/ 76199 h 90067"/>
                  <a:gd name="connsiteX5" fmla="*/ 281116 w 287358"/>
                  <a:gd name="connsiteY5" fmla="*/ 50637 h 90067"/>
                  <a:gd name="connsiteX6" fmla="*/ 241615 w 287358"/>
                  <a:gd name="connsiteY6" fmla="*/ 49522 h 90067"/>
                  <a:gd name="connsiteX7" fmla="*/ 172478 w 287358"/>
                  <a:gd name="connsiteY7" fmla="*/ 40387 h 90067"/>
                  <a:gd name="connsiteX8" fmla="*/ 101367 w 287358"/>
                  <a:gd name="connsiteY8" fmla="*/ 22116 h 90067"/>
                  <a:gd name="connsiteX9" fmla="*/ 23352 w 287358"/>
                  <a:gd name="connsiteY9" fmla="*/ 17527 h 90067"/>
                  <a:gd name="connsiteX10" fmla="*/ 7569 w 287358"/>
                  <a:gd name="connsiteY10" fmla="*/ 40344 h 90067"/>
                  <a:gd name="connsiteX11" fmla="*/ 32230 w 287358"/>
                  <a:gd name="connsiteY11" fmla="*/ 46091 h 90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7358" h="90067">
                    <a:moveTo>
                      <a:pt x="32230" y="46091"/>
                    </a:moveTo>
                    <a:cubicBezTo>
                      <a:pt x="41108" y="46091"/>
                      <a:pt x="37162" y="65520"/>
                      <a:pt x="50029" y="67750"/>
                    </a:cubicBezTo>
                    <a:cubicBezTo>
                      <a:pt x="62853" y="70066"/>
                      <a:pt x="105356" y="83791"/>
                      <a:pt x="109259" y="73497"/>
                    </a:cubicBezTo>
                    <a:cubicBezTo>
                      <a:pt x="112775" y="64405"/>
                      <a:pt x="144085" y="71439"/>
                      <a:pt x="164930" y="85807"/>
                    </a:cubicBezTo>
                    <a:cubicBezTo>
                      <a:pt x="191993" y="81732"/>
                      <a:pt x="219098" y="77872"/>
                      <a:pt x="246333" y="76199"/>
                    </a:cubicBezTo>
                    <a:cubicBezTo>
                      <a:pt x="231022" y="67321"/>
                      <a:pt x="268636" y="59558"/>
                      <a:pt x="281116" y="50637"/>
                    </a:cubicBezTo>
                    <a:cubicBezTo>
                      <a:pt x="293983" y="41502"/>
                      <a:pt x="273225" y="38071"/>
                      <a:pt x="241615" y="49522"/>
                    </a:cubicBezTo>
                    <a:cubicBezTo>
                      <a:pt x="209963" y="60931"/>
                      <a:pt x="173464" y="24389"/>
                      <a:pt x="172478" y="40387"/>
                    </a:cubicBezTo>
                    <a:cubicBezTo>
                      <a:pt x="171492" y="56385"/>
                      <a:pt x="115178" y="33525"/>
                      <a:pt x="101367" y="22116"/>
                    </a:cubicBezTo>
                    <a:cubicBezTo>
                      <a:pt x="87557" y="10707"/>
                      <a:pt x="34203" y="-4175"/>
                      <a:pt x="23352" y="17527"/>
                    </a:cubicBezTo>
                    <a:cubicBezTo>
                      <a:pt x="12501" y="39229"/>
                      <a:pt x="3108" y="19757"/>
                      <a:pt x="7569" y="40344"/>
                    </a:cubicBezTo>
                    <a:cubicBezTo>
                      <a:pt x="10528" y="54069"/>
                      <a:pt x="23352" y="46091"/>
                      <a:pt x="32230" y="4609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77" name="Freeform: Shape 366">
                <a:extLst>
                  <a:ext uri="{FF2B5EF4-FFF2-40B4-BE49-F238E27FC236}">
                    <a16:creationId xmlns:a16="http://schemas.microsoft.com/office/drawing/2014/main" id="{B69FBDB8-42BF-124A-9705-180547CBB969}"/>
                  </a:ext>
                </a:extLst>
              </p:cNvPr>
              <p:cNvSpPr/>
              <p:nvPr/>
            </p:nvSpPr>
            <p:spPr>
              <a:xfrm>
                <a:off x="10003611" y="4728726"/>
                <a:ext cx="55766" cy="32803"/>
              </a:xfrm>
              <a:custGeom>
                <a:avLst/>
                <a:gdLst>
                  <a:gd name="connsiteX0" fmla="*/ 6886 w 72911"/>
                  <a:gd name="connsiteY0" fmla="*/ 10976 h 42889"/>
                  <a:gd name="connsiteX1" fmla="*/ 36566 w 72911"/>
                  <a:gd name="connsiteY1" fmla="*/ 28132 h 42889"/>
                  <a:gd name="connsiteX2" fmla="*/ 68132 w 72911"/>
                  <a:gd name="connsiteY2" fmla="*/ 30405 h 42889"/>
                  <a:gd name="connsiteX3" fmla="*/ 6886 w 72911"/>
                  <a:gd name="connsiteY3" fmla="*/ 10976 h 42889"/>
                </a:gdLst>
                <a:ahLst/>
                <a:cxnLst>
                  <a:cxn ang="0">
                    <a:pos x="connsiteX0" y="connsiteY0"/>
                  </a:cxn>
                  <a:cxn ang="0">
                    <a:pos x="connsiteX1" y="connsiteY1"/>
                  </a:cxn>
                  <a:cxn ang="0">
                    <a:pos x="connsiteX2" y="connsiteY2"/>
                  </a:cxn>
                  <a:cxn ang="0">
                    <a:pos x="connsiteX3" y="connsiteY3"/>
                  </a:cxn>
                </a:cxnLst>
                <a:rect l="l" t="t" r="r" b="b"/>
                <a:pathLst>
                  <a:path w="72911" h="42889">
                    <a:moveTo>
                      <a:pt x="6886" y="10976"/>
                    </a:moveTo>
                    <a:cubicBezTo>
                      <a:pt x="12848" y="21270"/>
                      <a:pt x="29618" y="21270"/>
                      <a:pt x="36566" y="28132"/>
                    </a:cubicBezTo>
                    <a:cubicBezTo>
                      <a:pt x="43471" y="34952"/>
                      <a:pt x="68132" y="49834"/>
                      <a:pt x="68132" y="30405"/>
                    </a:cubicBezTo>
                    <a:cubicBezTo>
                      <a:pt x="68132" y="10976"/>
                      <a:pt x="282" y="-432"/>
                      <a:pt x="6886" y="10976"/>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78" name="Freeform: Shape 368">
                <a:extLst>
                  <a:ext uri="{FF2B5EF4-FFF2-40B4-BE49-F238E27FC236}">
                    <a16:creationId xmlns:a16="http://schemas.microsoft.com/office/drawing/2014/main" id="{1EE6EC6F-70A3-A7F1-F0B1-07402CBE8D39}"/>
                  </a:ext>
                </a:extLst>
              </p:cNvPr>
              <p:cNvSpPr/>
              <p:nvPr/>
            </p:nvSpPr>
            <p:spPr>
              <a:xfrm>
                <a:off x="10220161" y="4386073"/>
                <a:ext cx="45925" cy="78728"/>
              </a:xfrm>
              <a:custGeom>
                <a:avLst/>
                <a:gdLst>
                  <a:gd name="connsiteX0" fmla="*/ 42722 w 60045"/>
                  <a:gd name="connsiteY0" fmla="*/ 69593 h 102934"/>
                  <a:gd name="connsiteX1" fmla="*/ 54560 w 60045"/>
                  <a:gd name="connsiteY1" fmla="*/ 41028 h 102934"/>
                  <a:gd name="connsiteX2" fmla="*/ 34830 w 60045"/>
                  <a:gd name="connsiteY2" fmla="*/ 30735 h 102934"/>
                  <a:gd name="connsiteX3" fmla="*/ 12098 w 60045"/>
                  <a:gd name="connsiteY3" fmla="*/ 15895 h 102934"/>
                  <a:gd name="connsiteX4" fmla="*/ 29855 w 60045"/>
                  <a:gd name="connsiteY4" fmla="*/ 100430 h 102934"/>
                  <a:gd name="connsiteX5" fmla="*/ 42722 w 60045"/>
                  <a:gd name="connsiteY5" fmla="*/ 69593 h 102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045" h="102934">
                    <a:moveTo>
                      <a:pt x="42722" y="69593"/>
                    </a:moveTo>
                    <a:cubicBezTo>
                      <a:pt x="64467" y="71866"/>
                      <a:pt x="54560" y="57026"/>
                      <a:pt x="54560" y="41028"/>
                    </a:cubicBezTo>
                    <a:cubicBezTo>
                      <a:pt x="54560" y="25031"/>
                      <a:pt x="34830" y="38755"/>
                      <a:pt x="34830" y="30735"/>
                    </a:cubicBezTo>
                    <a:cubicBezTo>
                      <a:pt x="34830" y="22758"/>
                      <a:pt x="27925" y="-9238"/>
                      <a:pt x="12098" y="15895"/>
                    </a:cubicBezTo>
                    <a:cubicBezTo>
                      <a:pt x="-3685" y="41028"/>
                      <a:pt x="17203" y="103089"/>
                      <a:pt x="29855" y="100430"/>
                    </a:cubicBezTo>
                    <a:cubicBezTo>
                      <a:pt x="40749" y="98157"/>
                      <a:pt x="20977" y="67320"/>
                      <a:pt x="42722" y="6959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79" name="Freeform: Shape 369">
                <a:extLst>
                  <a:ext uri="{FF2B5EF4-FFF2-40B4-BE49-F238E27FC236}">
                    <a16:creationId xmlns:a16="http://schemas.microsoft.com/office/drawing/2014/main" id="{53DBE688-7A9F-D4C5-7CDE-B9B83C8BF480}"/>
                  </a:ext>
                </a:extLst>
              </p:cNvPr>
              <p:cNvSpPr/>
              <p:nvPr/>
            </p:nvSpPr>
            <p:spPr>
              <a:xfrm>
                <a:off x="10237846" y="4528348"/>
                <a:ext cx="78728" cy="39364"/>
              </a:xfrm>
              <a:custGeom>
                <a:avLst/>
                <a:gdLst>
                  <a:gd name="connsiteX0" fmla="*/ 71923 w 102934"/>
                  <a:gd name="connsiteY0" fmla="*/ 10353 h 51467"/>
                  <a:gd name="connsiteX1" fmla="*/ 6732 w 102934"/>
                  <a:gd name="connsiteY1" fmla="*/ 24035 h 51467"/>
                  <a:gd name="connsiteX2" fmla="*/ 52152 w 102934"/>
                  <a:gd name="connsiteY2" fmla="*/ 32055 h 51467"/>
                  <a:gd name="connsiteX3" fmla="*/ 94612 w 102934"/>
                  <a:gd name="connsiteY3" fmla="*/ 49168 h 51467"/>
                  <a:gd name="connsiteX4" fmla="*/ 71923 w 102934"/>
                  <a:gd name="connsiteY4" fmla="*/ 10353 h 51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4" h="51467">
                    <a:moveTo>
                      <a:pt x="71923" y="10353"/>
                    </a:moveTo>
                    <a:cubicBezTo>
                      <a:pt x="46275" y="1218"/>
                      <a:pt x="2400" y="8981"/>
                      <a:pt x="6732" y="24035"/>
                    </a:cubicBezTo>
                    <a:cubicBezTo>
                      <a:pt x="10677" y="37759"/>
                      <a:pt x="31436" y="32055"/>
                      <a:pt x="52152" y="32055"/>
                    </a:cubicBezTo>
                    <a:cubicBezTo>
                      <a:pt x="72867" y="32055"/>
                      <a:pt x="83718" y="49168"/>
                      <a:pt x="94612" y="49168"/>
                    </a:cubicBezTo>
                    <a:cubicBezTo>
                      <a:pt x="105506" y="49168"/>
                      <a:pt x="97614" y="19446"/>
                      <a:pt x="71923" y="1035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80" name="Freeform: Shape 370">
                <a:extLst>
                  <a:ext uri="{FF2B5EF4-FFF2-40B4-BE49-F238E27FC236}">
                    <a16:creationId xmlns:a16="http://schemas.microsoft.com/office/drawing/2014/main" id="{70B67051-4E3D-107D-7F33-230DB8C8EA74}"/>
                  </a:ext>
                </a:extLst>
              </p:cNvPr>
              <p:cNvSpPr/>
              <p:nvPr/>
            </p:nvSpPr>
            <p:spPr>
              <a:xfrm>
                <a:off x="10024078" y="4690700"/>
                <a:ext cx="121372" cy="29523"/>
              </a:xfrm>
              <a:custGeom>
                <a:avLst/>
                <a:gdLst>
                  <a:gd name="connsiteX0" fmla="*/ 140101 w 158690"/>
                  <a:gd name="connsiteY0" fmla="*/ 7041 h 38600"/>
                  <a:gd name="connsiteX1" fmla="*/ 68991 w 158690"/>
                  <a:gd name="connsiteY1" fmla="*/ 13904 h 38600"/>
                  <a:gd name="connsiteX2" fmla="*/ 6759 w 158690"/>
                  <a:gd name="connsiteY2" fmla="*/ 24197 h 38600"/>
                  <a:gd name="connsiteX3" fmla="*/ 61056 w 158690"/>
                  <a:gd name="connsiteY3" fmla="*/ 35606 h 38600"/>
                  <a:gd name="connsiteX4" fmla="*/ 129207 w 158690"/>
                  <a:gd name="connsiteY4" fmla="*/ 18493 h 38600"/>
                  <a:gd name="connsiteX5" fmla="*/ 140101 w 158690"/>
                  <a:gd name="connsiteY5" fmla="*/ 7041 h 3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690" h="38600">
                    <a:moveTo>
                      <a:pt x="140101" y="7041"/>
                    </a:moveTo>
                    <a:cubicBezTo>
                      <a:pt x="113424" y="2495"/>
                      <a:pt x="95668" y="25312"/>
                      <a:pt x="68991" y="13904"/>
                    </a:cubicBezTo>
                    <a:cubicBezTo>
                      <a:pt x="42313" y="2495"/>
                      <a:pt x="2427" y="14118"/>
                      <a:pt x="6759" y="24197"/>
                    </a:cubicBezTo>
                    <a:cubicBezTo>
                      <a:pt x="10704" y="33332"/>
                      <a:pt x="34422" y="34491"/>
                      <a:pt x="61056" y="35606"/>
                    </a:cubicBezTo>
                    <a:cubicBezTo>
                      <a:pt x="87733" y="36721"/>
                      <a:pt x="111408" y="19608"/>
                      <a:pt x="129207" y="18493"/>
                    </a:cubicBezTo>
                    <a:cubicBezTo>
                      <a:pt x="147007" y="17335"/>
                      <a:pt x="166778" y="11631"/>
                      <a:pt x="140101" y="7041"/>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81" name="Freeform: Shape 371">
                <a:extLst>
                  <a:ext uri="{FF2B5EF4-FFF2-40B4-BE49-F238E27FC236}">
                    <a16:creationId xmlns:a16="http://schemas.microsoft.com/office/drawing/2014/main" id="{6A4B2609-16CF-D836-DB6C-1AADA6ACA8DF}"/>
                  </a:ext>
                </a:extLst>
              </p:cNvPr>
              <p:cNvSpPr/>
              <p:nvPr/>
            </p:nvSpPr>
            <p:spPr>
              <a:xfrm>
                <a:off x="10185767" y="4536118"/>
                <a:ext cx="39364" cy="32803"/>
              </a:xfrm>
              <a:custGeom>
                <a:avLst/>
                <a:gdLst>
                  <a:gd name="connsiteX0" fmla="*/ 6716 w 51467"/>
                  <a:gd name="connsiteY0" fmla="*/ 16149 h 42889"/>
                  <a:gd name="connsiteX1" fmla="*/ 47204 w 51467"/>
                  <a:gd name="connsiteY1" fmla="*/ 28716 h 42889"/>
                  <a:gd name="connsiteX2" fmla="*/ 6716 w 51467"/>
                  <a:gd name="connsiteY2" fmla="*/ 16149 h 42889"/>
                </a:gdLst>
                <a:ahLst/>
                <a:cxnLst>
                  <a:cxn ang="0">
                    <a:pos x="connsiteX0" y="connsiteY0"/>
                  </a:cxn>
                  <a:cxn ang="0">
                    <a:pos x="connsiteX1" y="connsiteY1"/>
                  </a:cxn>
                  <a:cxn ang="0">
                    <a:pos x="connsiteX2" y="connsiteY2"/>
                  </a:cxn>
                </a:cxnLst>
                <a:rect l="l" t="t" r="r" b="b"/>
                <a:pathLst>
                  <a:path w="51467" h="42889">
                    <a:moveTo>
                      <a:pt x="6716" y="16149"/>
                    </a:moveTo>
                    <a:cubicBezTo>
                      <a:pt x="10662" y="34420"/>
                      <a:pt x="39312" y="44713"/>
                      <a:pt x="47204" y="28716"/>
                    </a:cubicBezTo>
                    <a:cubicBezTo>
                      <a:pt x="55095" y="12718"/>
                      <a:pt x="2127" y="-5038"/>
                      <a:pt x="6716" y="16149"/>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82" name="Freeform: Shape 372">
                <a:extLst>
                  <a:ext uri="{FF2B5EF4-FFF2-40B4-BE49-F238E27FC236}">
                    <a16:creationId xmlns:a16="http://schemas.microsoft.com/office/drawing/2014/main" id="{84D0378D-F2C1-B212-EE18-025C307C4EDF}"/>
                  </a:ext>
                </a:extLst>
              </p:cNvPr>
              <p:cNvSpPr/>
              <p:nvPr/>
            </p:nvSpPr>
            <p:spPr>
              <a:xfrm>
                <a:off x="10120162" y="4712552"/>
                <a:ext cx="52485" cy="49205"/>
              </a:xfrm>
              <a:custGeom>
                <a:avLst/>
                <a:gdLst>
                  <a:gd name="connsiteX0" fmla="*/ 55049 w 68622"/>
                  <a:gd name="connsiteY0" fmla="*/ 6433 h 64333"/>
                  <a:gd name="connsiteX1" fmla="*/ 44198 w 68622"/>
                  <a:gd name="connsiteY1" fmla="*/ 11752 h 64333"/>
                  <a:gd name="connsiteX2" fmla="*/ 39266 w 68622"/>
                  <a:gd name="connsiteY2" fmla="*/ 22774 h 64333"/>
                  <a:gd name="connsiteX3" fmla="*/ 28372 w 68622"/>
                  <a:gd name="connsiteY3" fmla="*/ 15826 h 64333"/>
                  <a:gd name="connsiteX4" fmla="*/ 12460 w 68622"/>
                  <a:gd name="connsiteY4" fmla="*/ 59573 h 64333"/>
                  <a:gd name="connsiteX5" fmla="*/ 54363 w 68622"/>
                  <a:gd name="connsiteY5" fmla="*/ 31867 h 64333"/>
                  <a:gd name="connsiteX6" fmla="*/ 58866 w 68622"/>
                  <a:gd name="connsiteY6" fmla="*/ 25305 h 64333"/>
                  <a:gd name="connsiteX7" fmla="*/ 62212 w 68622"/>
                  <a:gd name="connsiteY7" fmla="*/ 21831 h 64333"/>
                  <a:gd name="connsiteX8" fmla="*/ 65557 w 68622"/>
                  <a:gd name="connsiteY8" fmla="*/ 19300 h 64333"/>
                  <a:gd name="connsiteX9" fmla="*/ 55049 w 68622"/>
                  <a:gd name="connsiteY9" fmla="*/ 6433 h 64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622" h="64333">
                    <a:moveTo>
                      <a:pt x="55049" y="6433"/>
                    </a:moveTo>
                    <a:cubicBezTo>
                      <a:pt x="52004" y="8793"/>
                      <a:pt x="48487" y="10636"/>
                      <a:pt x="44198" y="11752"/>
                    </a:cubicBezTo>
                    <a:cubicBezTo>
                      <a:pt x="42869" y="15998"/>
                      <a:pt x="41539" y="20716"/>
                      <a:pt x="39266" y="22774"/>
                    </a:cubicBezTo>
                    <a:cubicBezTo>
                      <a:pt x="36478" y="25305"/>
                      <a:pt x="31760" y="20287"/>
                      <a:pt x="28372" y="15826"/>
                    </a:cubicBezTo>
                    <a:cubicBezTo>
                      <a:pt x="9286" y="25005"/>
                      <a:pt x="-793" y="51381"/>
                      <a:pt x="12460" y="59573"/>
                    </a:cubicBezTo>
                    <a:cubicBezTo>
                      <a:pt x="25198" y="67422"/>
                      <a:pt x="43769" y="46578"/>
                      <a:pt x="54363" y="31867"/>
                    </a:cubicBezTo>
                    <a:cubicBezTo>
                      <a:pt x="56078" y="29465"/>
                      <a:pt x="57622" y="27235"/>
                      <a:pt x="58866" y="25305"/>
                    </a:cubicBezTo>
                    <a:cubicBezTo>
                      <a:pt x="59595" y="24190"/>
                      <a:pt x="60796" y="23032"/>
                      <a:pt x="62212" y="21831"/>
                    </a:cubicBezTo>
                    <a:cubicBezTo>
                      <a:pt x="63198" y="20973"/>
                      <a:pt x="64313" y="20158"/>
                      <a:pt x="65557" y="19300"/>
                    </a:cubicBezTo>
                    <a:cubicBezTo>
                      <a:pt x="62468" y="14282"/>
                      <a:pt x="58523" y="9436"/>
                      <a:pt x="55049" y="6433"/>
                    </a:cubicBezTo>
                    <a:close/>
                  </a:path>
                </a:pathLst>
              </a:custGeom>
              <a:grpFill/>
              <a:ln w="1905" cap="flat">
                <a:solidFill>
                  <a:schemeClr val="bg1"/>
                </a:solidFill>
                <a:prstDash val="solid"/>
                <a:miter/>
              </a:ln>
            </p:spPr>
            <p:txBody>
              <a:bodyPr rtlCol="0" anchor="ctr"/>
              <a:lstStyle/>
              <a:p>
                <a:endParaRPr lang="en-US" dirty="0">
                  <a:sym typeface="+mn-lt"/>
                </a:endParaRPr>
              </a:p>
            </p:txBody>
          </p:sp>
          <p:sp>
            <p:nvSpPr>
              <p:cNvPr id="283" name="Freeform: Shape 373">
                <a:extLst>
                  <a:ext uri="{FF2B5EF4-FFF2-40B4-BE49-F238E27FC236}">
                    <a16:creationId xmlns:a16="http://schemas.microsoft.com/office/drawing/2014/main" id="{75790072-F2DC-3882-40E4-E26331A2BC50}"/>
                  </a:ext>
                </a:extLst>
              </p:cNvPr>
              <p:cNvSpPr/>
              <p:nvPr/>
            </p:nvSpPr>
            <p:spPr>
              <a:xfrm>
                <a:off x="10136941" y="4691073"/>
                <a:ext cx="91849" cy="42644"/>
              </a:xfrm>
              <a:custGeom>
                <a:avLst/>
                <a:gdLst>
                  <a:gd name="connsiteX0" fmla="*/ 17199 w 120090"/>
                  <a:gd name="connsiteY0" fmla="*/ 40823 h 55756"/>
                  <a:gd name="connsiteX1" fmla="*/ 6433 w 120090"/>
                  <a:gd name="connsiteY1" fmla="*/ 43911 h 55756"/>
                  <a:gd name="connsiteX2" fmla="*/ 17327 w 120090"/>
                  <a:gd name="connsiteY2" fmla="*/ 50859 h 55756"/>
                  <a:gd name="connsiteX3" fmla="*/ 22259 w 120090"/>
                  <a:gd name="connsiteY3" fmla="*/ 39836 h 55756"/>
                  <a:gd name="connsiteX4" fmla="*/ 17800 w 120090"/>
                  <a:gd name="connsiteY4" fmla="*/ 40737 h 55756"/>
                  <a:gd name="connsiteX5" fmla="*/ 17199 w 120090"/>
                  <a:gd name="connsiteY5" fmla="*/ 40823 h 55756"/>
                  <a:gd name="connsiteX6" fmla="*/ 64592 w 120090"/>
                  <a:gd name="connsiteY6" fmla="*/ 11144 h 55756"/>
                  <a:gd name="connsiteX7" fmla="*/ 35985 w 120090"/>
                  <a:gd name="connsiteY7" fmla="*/ 32160 h 55756"/>
                  <a:gd name="connsiteX8" fmla="*/ 33110 w 120090"/>
                  <a:gd name="connsiteY8" fmla="*/ 34518 h 55756"/>
                  <a:gd name="connsiteX9" fmla="*/ 43662 w 120090"/>
                  <a:gd name="connsiteY9" fmla="*/ 47385 h 55756"/>
                  <a:gd name="connsiteX10" fmla="*/ 114043 w 120090"/>
                  <a:gd name="connsiteY10" fmla="*/ 9986 h 55756"/>
                  <a:gd name="connsiteX11" fmla="*/ 64592 w 120090"/>
                  <a:gd name="connsiteY11" fmla="*/ 11144 h 5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0090" h="55756">
                    <a:moveTo>
                      <a:pt x="17199" y="40823"/>
                    </a:moveTo>
                    <a:cubicBezTo>
                      <a:pt x="13382" y="41166"/>
                      <a:pt x="9779" y="42324"/>
                      <a:pt x="6433" y="43911"/>
                    </a:cubicBezTo>
                    <a:cubicBezTo>
                      <a:pt x="9822" y="48371"/>
                      <a:pt x="14540" y="53347"/>
                      <a:pt x="17327" y="50859"/>
                    </a:cubicBezTo>
                    <a:cubicBezTo>
                      <a:pt x="19601" y="48801"/>
                      <a:pt x="20931" y="44082"/>
                      <a:pt x="22259" y="39836"/>
                    </a:cubicBezTo>
                    <a:cubicBezTo>
                      <a:pt x="20845" y="40180"/>
                      <a:pt x="19429" y="40523"/>
                      <a:pt x="17800" y="40737"/>
                    </a:cubicBezTo>
                    <a:cubicBezTo>
                      <a:pt x="17628" y="40737"/>
                      <a:pt x="17456" y="40823"/>
                      <a:pt x="17199" y="40823"/>
                    </a:cubicBezTo>
                    <a:close/>
                    <a:moveTo>
                      <a:pt x="64592" y="11144"/>
                    </a:moveTo>
                    <a:cubicBezTo>
                      <a:pt x="51253" y="10329"/>
                      <a:pt x="45891" y="23067"/>
                      <a:pt x="35985" y="32160"/>
                    </a:cubicBezTo>
                    <a:cubicBezTo>
                      <a:pt x="35041" y="32974"/>
                      <a:pt x="34097" y="33746"/>
                      <a:pt x="33110" y="34518"/>
                    </a:cubicBezTo>
                    <a:cubicBezTo>
                      <a:pt x="36585" y="37521"/>
                      <a:pt x="40530" y="42367"/>
                      <a:pt x="43662" y="47385"/>
                    </a:cubicBezTo>
                    <a:cubicBezTo>
                      <a:pt x="62791" y="34261"/>
                      <a:pt x="111469" y="17877"/>
                      <a:pt x="114043" y="9986"/>
                    </a:cubicBezTo>
                    <a:cubicBezTo>
                      <a:pt x="116959" y="893"/>
                      <a:pt x="84364" y="12259"/>
                      <a:pt x="64592" y="11144"/>
                    </a:cubicBezTo>
                    <a:close/>
                  </a:path>
                </a:pathLst>
              </a:custGeom>
              <a:grpFill/>
              <a:ln w="1905" cap="flat">
                <a:solidFill>
                  <a:schemeClr val="bg1"/>
                </a:solidFill>
                <a:prstDash val="solid"/>
                <a:miter/>
              </a:ln>
            </p:spPr>
            <p:txBody>
              <a:bodyPr rtlCol="0" anchor="ctr"/>
              <a:lstStyle/>
              <a:p>
                <a:endParaRPr lang="en-US" dirty="0">
                  <a:sym typeface="+mn-lt"/>
                </a:endParaRPr>
              </a:p>
            </p:txBody>
          </p:sp>
        </p:grpSp>
      </p:grpSp>
      <p:sp>
        <p:nvSpPr>
          <p:cNvPr id="308" name="Title 1">
            <a:extLst>
              <a:ext uri="{FF2B5EF4-FFF2-40B4-BE49-F238E27FC236}">
                <a16:creationId xmlns:a16="http://schemas.microsoft.com/office/drawing/2014/main" id="{B5C9B18F-53D3-D184-7C72-5066C9B9F621}"/>
              </a:ext>
            </a:extLst>
          </p:cNvPr>
          <p:cNvSpPr txBox="1">
            <a:spLocks/>
          </p:cNvSpPr>
          <p:nvPr/>
        </p:nvSpPr>
        <p:spPr>
          <a:xfrm>
            <a:off x="304801" y="304799"/>
            <a:ext cx="10991838" cy="381001"/>
          </a:xfrm>
          <a:prstGeom prst="rect">
            <a:avLst/>
          </a:prstGeom>
        </p:spPr>
        <p:txBody>
          <a:bodyPr/>
          <a:lstStyle>
            <a:lvl1pPr lvl="0" algn="l" rtl="0">
              <a:lnSpc>
                <a:spcPct val="90000"/>
              </a:lnSpc>
              <a:spcBef>
                <a:spcPct val="0"/>
              </a:spcBef>
              <a:buNone/>
              <a:defRPr lang="en-US" sz="4400" dirty="0">
                <a:solidFill>
                  <a:schemeClr val="tx1"/>
                </a:solidFill>
                <a:latin typeface="+mj-lt"/>
              </a:defRPr>
            </a:lvl1pPr>
          </a:lstStyle>
          <a:p>
            <a:r>
              <a:rPr lang="pl-PL" altLang="fi-FI" sz="2800" dirty="0">
                <a:solidFill>
                  <a:srgbClr val="C00000"/>
                </a:solidFill>
                <a:sym typeface="+mj-lt"/>
              </a:rPr>
              <a:t>Baza aparatów instalowanych na świecie nieustannie wzrasta</a:t>
            </a:r>
            <a:endParaRPr lang="pl-PL" sz="2800" dirty="0">
              <a:solidFill>
                <a:srgbClr val="C00000"/>
              </a:solidFill>
              <a:sym typeface="+mj-lt"/>
            </a:endParaRPr>
          </a:p>
        </p:txBody>
      </p:sp>
      <p:sp>
        <p:nvSpPr>
          <p:cNvPr id="310" name="Title 1">
            <a:extLst>
              <a:ext uri="{FF2B5EF4-FFF2-40B4-BE49-F238E27FC236}">
                <a16:creationId xmlns:a16="http://schemas.microsoft.com/office/drawing/2014/main" id="{11DC8438-22D6-14FE-0583-168886F2C9D8}"/>
              </a:ext>
            </a:extLst>
          </p:cNvPr>
          <p:cNvSpPr txBox="1">
            <a:spLocks/>
          </p:cNvSpPr>
          <p:nvPr/>
        </p:nvSpPr>
        <p:spPr>
          <a:xfrm>
            <a:off x="304801" y="4667967"/>
            <a:ext cx="4276251" cy="127419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b="1" kern="1200">
                <a:solidFill>
                  <a:schemeClr val="accent4"/>
                </a:solidFill>
                <a:latin typeface="+mj-lt"/>
                <a:ea typeface="+mj-ea"/>
                <a:cs typeface="+mj-cs"/>
              </a:defRPr>
            </a:lvl1pPr>
          </a:lstStyle>
          <a:p>
            <a:r>
              <a:rPr lang="pl-PL" sz="2400" dirty="0">
                <a:solidFill>
                  <a:schemeClr val="tx1"/>
                </a:solidFill>
                <a:latin typeface="+mn-lt"/>
                <a:ea typeface="+mn-ea"/>
                <a:cs typeface="+mn-cs"/>
                <a:sym typeface="+mn-lt"/>
              </a:rPr>
              <a:t>Ponad  </a:t>
            </a:r>
            <a:r>
              <a:rPr lang="en-US" sz="4400" dirty="0">
                <a:solidFill>
                  <a:schemeClr val="tx1"/>
                </a:solidFill>
                <a:latin typeface="+mn-lt"/>
                <a:ea typeface="+mn-ea"/>
                <a:cs typeface="+mn-cs"/>
                <a:sym typeface="+mn-lt"/>
              </a:rPr>
              <a:t>5,000 </a:t>
            </a:r>
            <a:br>
              <a:rPr lang="en-US" sz="4400" dirty="0">
                <a:solidFill>
                  <a:schemeClr val="tx1"/>
                </a:solidFill>
                <a:latin typeface="+mn-lt"/>
                <a:ea typeface="+mn-ea"/>
                <a:cs typeface="+mn-cs"/>
                <a:sym typeface="+mn-lt"/>
              </a:rPr>
            </a:br>
            <a:r>
              <a:rPr lang="pl-PL" sz="2400" dirty="0">
                <a:solidFill>
                  <a:schemeClr val="tx1"/>
                </a:solidFill>
                <a:latin typeface="+mn-lt"/>
                <a:ea typeface="+mn-ea"/>
                <a:cs typeface="+mn-cs"/>
                <a:sym typeface="+mn-lt"/>
              </a:rPr>
              <a:t>analizatorów na całym świecie</a:t>
            </a:r>
            <a:endParaRPr lang="en-US" sz="2400" dirty="0">
              <a:solidFill>
                <a:schemeClr val="tx1"/>
              </a:solidFill>
              <a:latin typeface="+mn-lt"/>
              <a:ea typeface="+mn-ea"/>
              <a:cs typeface="+mn-cs"/>
              <a:sym typeface="+mn-lt"/>
            </a:endParaRPr>
          </a:p>
        </p:txBody>
      </p:sp>
      <p:sp>
        <p:nvSpPr>
          <p:cNvPr id="311" name="Freeform: Shape 284">
            <a:extLst>
              <a:ext uri="{FF2B5EF4-FFF2-40B4-BE49-F238E27FC236}">
                <a16:creationId xmlns:a16="http://schemas.microsoft.com/office/drawing/2014/main" id="{901812B8-8D9F-E6DB-E569-4FE3E474E459}"/>
              </a:ext>
            </a:extLst>
          </p:cNvPr>
          <p:cNvSpPr/>
          <p:nvPr/>
        </p:nvSpPr>
        <p:spPr>
          <a:xfrm>
            <a:off x="8732453" y="6025833"/>
            <a:ext cx="59046" cy="45925"/>
          </a:xfrm>
          <a:custGeom>
            <a:avLst/>
            <a:gdLst>
              <a:gd name="connsiteX0" fmla="*/ 29138 w 77200"/>
              <a:gd name="connsiteY0" fmla="*/ 8539 h 60045"/>
              <a:gd name="connsiteX1" fmla="*/ 17558 w 77200"/>
              <a:gd name="connsiteY1" fmla="*/ 52028 h 60045"/>
              <a:gd name="connsiteX2" fmla="*/ 45051 w 77200"/>
              <a:gd name="connsiteY2" fmla="*/ 52028 h 60045"/>
              <a:gd name="connsiteX3" fmla="*/ 73958 w 77200"/>
              <a:gd name="connsiteY3" fmla="*/ 36974 h 60045"/>
              <a:gd name="connsiteX4" fmla="*/ 29138 w 77200"/>
              <a:gd name="connsiteY4" fmla="*/ 8539 h 60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200" h="60045">
                <a:moveTo>
                  <a:pt x="29138" y="8539"/>
                </a:moveTo>
                <a:cubicBezTo>
                  <a:pt x="24807" y="-3170"/>
                  <a:pt x="-11392" y="37103"/>
                  <a:pt x="17558" y="52028"/>
                </a:cubicBezTo>
                <a:cubicBezTo>
                  <a:pt x="30554" y="58677"/>
                  <a:pt x="36344" y="43665"/>
                  <a:pt x="45051" y="52028"/>
                </a:cubicBezTo>
                <a:cubicBezTo>
                  <a:pt x="53714" y="60392"/>
                  <a:pt x="71041" y="57047"/>
                  <a:pt x="73958" y="36974"/>
                </a:cubicBezTo>
                <a:cubicBezTo>
                  <a:pt x="76788" y="16859"/>
                  <a:pt x="33470" y="20248"/>
                  <a:pt x="29138" y="8539"/>
                </a:cubicBezTo>
                <a:close/>
              </a:path>
            </a:pathLst>
          </a:custGeom>
          <a:solidFill>
            <a:schemeClr val="bg1">
              <a:lumMod val="85000"/>
            </a:schemeClr>
          </a:solidFill>
          <a:ln w="1905" cap="flat">
            <a:solidFill>
              <a:schemeClr val="bg1"/>
            </a:solidFill>
            <a:prstDash val="solid"/>
            <a:miter/>
          </a:ln>
        </p:spPr>
        <p:txBody>
          <a:bodyPr rtlCol="0" anchor="ctr"/>
          <a:lstStyle/>
          <a:p>
            <a:endParaRPr lang="en-US" dirty="0">
              <a:sym typeface="+mn-lt"/>
            </a:endParaRPr>
          </a:p>
        </p:txBody>
      </p:sp>
      <p:grpSp>
        <p:nvGrpSpPr>
          <p:cNvPr id="312" name="Group 10">
            <a:extLst>
              <a:ext uri="{FF2B5EF4-FFF2-40B4-BE49-F238E27FC236}">
                <a16:creationId xmlns:a16="http://schemas.microsoft.com/office/drawing/2014/main" id="{1E3C01A7-DF77-9188-2CC9-AADC59F20517}"/>
              </a:ext>
            </a:extLst>
          </p:cNvPr>
          <p:cNvGrpSpPr/>
          <p:nvPr/>
        </p:nvGrpSpPr>
        <p:grpSpPr>
          <a:xfrm>
            <a:off x="1963809" y="2694069"/>
            <a:ext cx="2362134" cy="1193196"/>
            <a:chOff x="1688232" y="2519833"/>
            <a:chExt cx="2362134" cy="1193196"/>
          </a:xfrm>
        </p:grpSpPr>
        <p:pic>
          <p:nvPicPr>
            <p:cNvPr id="313" name="Graphic 402">
              <a:extLst>
                <a:ext uri="{FF2B5EF4-FFF2-40B4-BE49-F238E27FC236}">
                  <a16:creationId xmlns:a16="http://schemas.microsoft.com/office/drawing/2014/main" id="{FF8DCCF8-BC7A-7713-DB53-321A0CCA83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11288" y="2519833"/>
              <a:ext cx="916023" cy="916023"/>
            </a:xfrm>
            <a:prstGeom prst="rect">
              <a:avLst/>
            </a:prstGeom>
          </p:spPr>
        </p:pic>
        <p:sp>
          <p:nvSpPr>
            <p:cNvPr id="314" name="TextBox 383">
              <a:extLst>
                <a:ext uri="{FF2B5EF4-FFF2-40B4-BE49-F238E27FC236}">
                  <a16:creationId xmlns:a16="http://schemas.microsoft.com/office/drawing/2014/main" id="{2D76D519-CA31-DD78-A036-B1F050CB5B2A}"/>
                </a:ext>
              </a:extLst>
            </p:cNvPr>
            <p:cNvSpPr txBox="1"/>
            <p:nvPr/>
          </p:nvSpPr>
          <p:spPr>
            <a:xfrm>
              <a:off x="1688232" y="3444750"/>
              <a:ext cx="2362134" cy="268279"/>
            </a:xfrm>
            <a:prstGeom prst="rect">
              <a:avLst/>
            </a:prstGeom>
            <a:noFill/>
          </p:spPr>
          <p:txBody>
            <a:bodyPr wrap="square" lIns="0" tIns="0" rIns="0" bIns="0" rtlCol="0" anchor="ctr">
              <a:spAutoFit/>
            </a:bodyPr>
            <a:lstStyle>
              <a:defPPr>
                <a:defRPr lang="en-US"/>
              </a:defPPr>
              <a:lvl1pPr algn="ctr">
                <a:lnSpc>
                  <a:spcPct val="120000"/>
                </a:lnSpc>
                <a:defRPr sz="1600" b="1" kern="0">
                  <a:solidFill>
                    <a:schemeClr val="accent5"/>
                  </a:solidFill>
                </a:defRPr>
              </a:lvl1pPr>
            </a:lstStyle>
            <a:p>
              <a:r>
                <a:rPr lang="en-US" dirty="0">
                  <a:sym typeface="+mn-lt"/>
                </a:rPr>
                <a:t>Americas 910</a:t>
              </a:r>
            </a:p>
          </p:txBody>
        </p:sp>
      </p:grpSp>
      <p:grpSp>
        <p:nvGrpSpPr>
          <p:cNvPr id="315" name="Group 412">
            <a:extLst>
              <a:ext uri="{FF2B5EF4-FFF2-40B4-BE49-F238E27FC236}">
                <a16:creationId xmlns:a16="http://schemas.microsoft.com/office/drawing/2014/main" id="{1F522257-48E6-58E0-A4EC-6ABA2C910209}"/>
              </a:ext>
            </a:extLst>
          </p:cNvPr>
          <p:cNvGrpSpPr/>
          <p:nvPr/>
        </p:nvGrpSpPr>
        <p:grpSpPr>
          <a:xfrm>
            <a:off x="7021673" y="5233107"/>
            <a:ext cx="2362134" cy="1193196"/>
            <a:chOff x="1688232" y="2519833"/>
            <a:chExt cx="2362134" cy="1193196"/>
          </a:xfrm>
        </p:grpSpPr>
        <p:pic>
          <p:nvPicPr>
            <p:cNvPr id="316" name="Graphic 413">
              <a:extLst>
                <a:ext uri="{FF2B5EF4-FFF2-40B4-BE49-F238E27FC236}">
                  <a16:creationId xmlns:a16="http://schemas.microsoft.com/office/drawing/2014/main" id="{BB34AE6D-376C-4110-FDA0-76EA363B98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11288" y="2519833"/>
              <a:ext cx="916023" cy="916023"/>
            </a:xfrm>
            <a:prstGeom prst="rect">
              <a:avLst/>
            </a:prstGeom>
          </p:spPr>
        </p:pic>
        <p:sp>
          <p:nvSpPr>
            <p:cNvPr id="317" name="TextBox 414">
              <a:extLst>
                <a:ext uri="{FF2B5EF4-FFF2-40B4-BE49-F238E27FC236}">
                  <a16:creationId xmlns:a16="http://schemas.microsoft.com/office/drawing/2014/main" id="{43408097-F216-303A-BC7B-20E56276E591}"/>
                </a:ext>
              </a:extLst>
            </p:cNvPr>
            <p:cNvSpPr txBox="1"/>
            <p:nvPr/>
          </p:nvSpPr>
          <p:spPr>
            <a:xfrm>
              <a:off x="1688232" y="3444750"/>
              <a:ext cx="2362134" cy="268279"/>
            </a:xfrm>
            <a:prstGeom prst="rect">
              <a:avLst/>
            </a:prstGeom>
            <a:noFill/>
          </p:spPr>
          <p:txBody>
            <a:bodyPr wrap="square" lIns="0" tIns="0" rIns="0" bIns="0" rtlCol="0" anchor="ctr">
              <a:spAutoFit/>
            </a:bodyPr>
            <a:lstStyle>
              <a:defPPr>
                <a:defRPr lang="en-US"/>
              </a:defPPr>
              <a:lvl1pPr algn="ctr">
                <a:lnSpc>
                  <a:spcPct val="120000"/>
                </a:lnSpc>
                <a:defRPr sz="1600" b="1" kern="0">
                  <a:solidFill>
                    <a:schemeClr val="accent5"/>
                  </a:solidFill>
                </a:defRPr>
              </a:lvl1pPr>
            </a:lstStyle>
            <a:p>
              <a:r>
                <a:rPr lang="en-US" dirty="0">
                  <a:sym typeface="+mn-lt"/>
                </a:rPr>
                <a:t>MENA 560</a:t>
              </a:r>
            </a:p>
          </p:txBody>
        </p:sp>
      </p:grpSp>
      <p:grpSp>
        <p:nvGrpSpPr>
          <p:cNvPr id="318" name="Group 415">
            <a:extLst>
              <a:ext uri="{FF2B5EF4-FFF2-40B4-BE49-F238E27FC236}">
                <a16:creationId xmlns:a16="http://schemas.microsoft.com/office/drawing/2014/main" id="{DBEF59A3-3436-2EDF-C68C-D98076004375}"/>
              </a:ext>
            </a:extLst>
          </p:cNvPr>
          <p:cNvGrpSpPr/>
          <p:nvPr/>
        </p:nvGrpSpPr>
        <p:grpSpPr>
          <a:xfrm>
            <a:off x="10003611" y="3005619"/>
            <a:ext cx="2362134" cy="1193196"/>
            <a:chOff x="1688232" y="2519833"/>
            <a:chExt cx="2362134" cy="1193196"/>
          </a:xfrm>
        </p:grpSpPr>
        <p:pic>
          <p:nvPicPr>
            <p:cNvPr id="319" name="Graphic 416">
              <a:extLst>
                <a:ext uri="{FF2B5EF4-FFF2-40B4-BE49-F238E27FC236}">
                  <a16:creationId xmlns:a16="http://schemas.microsoft.com/office/drawing/2014/main" id="{4C679E9A-2B51-1786-5246-8556181870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11288" y="2519833"/>
              <a:ext cx="916023" cy="916023"/>
            </a:xfrm>
            <a:prstGeom prst="rect">
              <a:avLst/>
            </a:prstGeom>
          </p:spPr>
        </p:pic>
        <p:sp>
          <p:nvSpPr>
            <p:cNvPr id="320" name="TextBox 417">
              <a:extLst>
                <a:ext uri="{FF2B5EF4-FFF2-40B4-BE49-F238E27FC236}">
                  <a16:creationId xmlns:a16="http://schemas.microsoft.com/office/drawing/2014/main" id="{9CFB95AB-9B9A-EC88-0103-34ED9C62536D}"/>
                </a:ext>
              </a:extLst>
            </p:cNvPr>
            <p:cNvSpPr txBox="1"/>
            <p:nvPr/>
          </p:nvSpPr>
          <p:spPr>
            <a:xfrm>
              <a:off x="1688232" y="3444750"/>
              <a:ext cx="2362134" cy="268279"/>
            </a:xfrm>
            <a:prstGeom prst="rect">
              <a:avLst/>
            </a:prstGeom>
            <a:noFill/>
          </p:spPr>
          <p:txBody>
            <a:bodyPr wrap="square" lIns="0" tIns="0" rIns="0" bIns="0" rtlCol="0" anchor="ctr">
              <a:spAutoFit/>
            </a:bodyPr>
            <a:lstStyle>
              <a:defPPr>
                <a:defRPr lang="en-US"/>
              </a:defPPr>
              <a:lvl1pPr algn="ctr">
                <a:lnSpc>
                  <a:spcPct val="120000"/>
                </a:lnSpc>
                <a:defRPr sz="1600" b="1" kern="0">
                  <a:solidFill>
                    <a:schemeClr val="accent5"/>
                  </a:solidFill>
                </a:defRPr>
              </a:lvl1pPr>
            </a:lstStyle>
            <a:p>
              <a:r>
                <a:rPr lang="en-US" dirty="0">
                  <a:sym typeface="+mn-lt"/>
                </a:rPr>
                <a:t>APAC 620</a:t>
              </a:r>
            </a:p>
          </p:txBody>
        </p:sp>
      </p:grpSp>
      <p:grpSp>
        <p:nvGrpSpPr>
          <p:cNvPr id="321" name="Group 418">
            <a:extLst>
              <a:ext uri="{FF2B5EF4-FFF2-40B4-BE49-F238E27FC236}">
                <a16:creationId xmlns:a16="http://schemas.microsoft.com/office/drawing/2014/main" id="{99707310-C9C7-438C-CEC7-0442761ED51D}"/>
              </a:ext>
            </a:extLst>
          </p:cNvPr>
          <p:cNvGrpSpPr/>
          <p:nvPr/>
        </p:nvGrpSpPr>
        <p:grpSpPr>
          <a:xfrm>
            <a:off x="5025736" y="2237349"/>
            <a:ext cx="2362134" cy="1340929"/>
            <a:chOff x="1688232" y="2519833"/>
            <a:chExt cx="2362134" cy="1340929"/>
          </a:xfrm>
        </p:grpSpPr>
        <p:pic>
          <p:nvPicPr>
            <p:cNvPr id="322" name="Graphic 419">
              <a:extLst>
                <a:ext uri="{FF2B5EF4-FFF2-40B4-BE49-F238E27FC236}">
                  <a16:creationId xmlns:a16="http://schemas.microsoft.com/office/drawing/2014/main" id="{680E45DD-E48A-73F5-455D-FF9C2D8E4D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11288" y="2519833"/>
              <a:ext cx="916023" cy="916023"/>
            </a:xfrm>
            <a:prstGeom prst="rect">
              <a:avLst/>
            </a:prstGeom>
          </p:spPr>
        </p:pic>
        <p:sp>
          <p:nvSpPr>
            <p:cNvPr id="323" name="TextBox 420">
              <a:extLst>
                <a:ext uri="{FF2B5EF4-FFF2-40B4-BE49-F238E27FC236}">
                  <a16:creationId xmlns:a16="http://schemas.microsoft.com/office/drawing/2014/main" id="{F74299C2-7494-41B8-0914-3DFA1E5EE7EE}"/>
                </a:ext>
              </a:extLst>
            </p:cNvPr>
            <p:cNvSpPr txBox="1"/>
            <p:nvPr/>
          </p:nvSpPr>
          <p:spPr>
            <a:xfrm>
              <a:off x="1688232" y="3297018"/>
              <a:ext cx="2362134" cy="563744"/>
            </a:xfrm>
            <a:prstGeom prst="rect">
              <a:avLst/>
            </a:prstGeom>
            <a:noFill/>
          </p:spPr>
          <p:txBody>
            <a:bodyPr wrap="square" lIns="0" tIns="0" rIns="0" bIns="0" rtlCol="0" anchor="ctr">
              <a:spAutoFit/>
            </a:bodyPr>
            <a:lstStyle>
              <a:defPPr>
                <a:defRPr lang="en-US"/>
              </a:defPPr>
              <a:lvl1pPr algn="ctr">
                <a:lnSpc>
                  <a:spcPct val="120000"/>
                </a:lnSpc>
                <a:defRPr sz="1600" b="1" kern="0">
                  <a:solidFill>
                    <a:schemeClr val="accent5"/>
                  </a:solidFill>
                </a:defRPr>
              </a:lvl1pPr>
            </a:lstStyle>
            <a:p>
              <a:pPr algn="ctr">
                <a:lnSpc>
                  <a:spcPct val="120000"/>
                </a:lnSpc>
              </a:pPr>
              <a:r>
                <a:rPr lang="en-US" sz="1600" b="1" kern="0" dirty="0">
                  <a:solidFill>
                    <a:schemeClr val="accent5"/>
                  </a:solidFill>
                  <a:sym typeface="+mn-lt"/>
                </a:rPr>
                <a:t>Europe</a:t>
              </a:r>
              <a:br>
                <a:rPr lang="en-US" sz="1600" b="1" kern="0" dirty="0">
                  <a:solidFill>
                    <a:schemeClr val="accent5"/>
                  </a:solidFill>
                  <a:sym typeface="+mn-lt"/>
                </a:rPr>
              </a:br>
              <a:r>
                <a:rPr lang="en-US" sz="1600" b="1" kern="0" dirty="0">
                  <a:solidFill>
                    <a:schemeClr val="accent5"/>
                  </a:solidFill>
                  <a:sym typeface="+mn-lt"/>
                </a:rPr>
                <a:t>1,330</a:t>
              </a:r>
            </a:p>
          </p:txBody>
        </p:sp>
      </p:grpSp>
      <p:sp>
        <p:nvSpPr>
          <p:cNvPr id="324" name="Fußzeilenplatzhalter 4">
            <a:extLst>
              <a:ext uri="{FF2B5EF4-FFF2-40B4-BE49-F238E27FC236}">
                <a16:creationId xmlns:a16="http://schemas.microsoft.com/office/drawing/2014/main" id="{52B9F664-18A8-101D-28A0-B9990A9221B6}"/>
              </a:ext>
            </a:extLst>
          </p:cNvPr>
          <p:cNvSpPr txBox="1">
            <a:spLocks/>
          </p:cNvSpPr>
          <p:nvPr/>
        </p:nvSpPr>
        <p:spPr>
          <a:xfrm>
            <a:off x="217247" y="6494833"/>
            <a:ext cx="11582399" cy="304800"/>
          </a:xfrm>
          <a:prstGeom prst="rect">
            <a:avLst/>
          </a:prstGeom>
        </p:spPr>
        <p:txBody>
          <a:bodyPr/>
          <a:lstStyle>
            <a:defPPr>
              <a:defRPr lang="en-US"/>
            </a:defPPr>
            <a:lvl1pPr lvl="0" algn="l" rtl="0">
              <a:defRPr lang="en-US" sz="1800" dirty="0">
                <a:solidFill>
                  <a:schemeClr val="tx1"/>
                </a:solidFill>
                <a:latin typeface="+mn-lt"/>
              </a:defRPr>
            </a:lvl1pPr>
            <a:lvl2pPr marL="457200" lvl="1" algn="l" rtl="0">
              <a:defRPr lang="en-US" sz="1800" dirty="0">
                <a:solidFill>
                  <a:schemeClr val="tx1"/>
                </a:solidFill>
                <a:latin typeface="+mn-lt"/>
              </a:defRPr>
            </a:lvl2pPr>
            <a:lvl3pPr marL="914400" lvl="2" algn="l" rtl="0">
              <a:defRPr lang="en-US" sz="1800" dirty="0">
                <a:solidFill>
                  <a:schemeClr val="tx1"/>
                </a:solidFill>
                <a:latin typeface="+mn-lt"/>
              </a:defRPr>
            </a:lvl3pPr>
            <a:lvl4pPr marL="1371600" lvl="3" algn="l" rtl="0">
              <a:defRPr lang="en-US" sz="1800" dirty="0">
                <a:solidFill>
                  <a:schemeClr val="tx1"/>
                </a:solidFill>
                <a:latin typeface="+mn-lt"/>
              </a:defRPr>
            </a:lvl4pPr>
            <a:lvl5pPr marL="1828800" lvl="4" algn="l" rtl="0">
              <a:defRPr lang="en-US" sz="1800" dirty="0">
                <a:solidFill>
                  <a:schemeClr val="tx1"/>
                </a:solidFill>
                <a:latin typeface="+mn-lt"/>
              </a:defRPr>
            </a:lvl5pPr>
            <a:lvl6pPr marL="2286000" lvl="5" algn="l" rtl="0">
              <a:defRPr lang="en-US" sz="1800" dirty="0">
                <a:solidFill>
                  <a:schemeClr val="tx1"/>
                </a:solidFill>
                <a:latin typeface="+mn-lt"/>
              </a:defRPr>
            </a:lvl6pPr>
            <a:lvl7pPr marL="2743200" lvl="6" algn="l" rtl="0">
              <a:defRPr lang="en-US" sz="1800" dirty="0">
                <a:solidFill>
                  <a:schemeClr val="tx1"/>
                </a:solidFill>
                <a:latin typeface="+mn-lt"/>
              </a:defRPr>
            </a:lvl7pPr>
            <a:lvl8pPr marL="3200400" lvl="7" algn="l" rtl="0">
              <a:defRPr lang="en-US" sz="1800" dirty="0">
                <a:solidFill>
                  <a:schemeClr val="tx1"/>
                </a:solidFill>
                <a:latin typeface="+mn-lt"/>
              </a:defRPr>
            </a:lvl8pPr>
            <a:lvl9pPr marL="3657600" lvl="8" algn="l" rtl="0">
              <a:defRPr lang="en-US" sz="1800" dirty="0">
                <a:solidFill>
                  <a:schemeClr val="tx1"/>
                </a:solidFill>
                <a:latin typeface="+mn-lt"/>
              </a:defRPr>
            </a:lvl9pPr>
          </a:lstStyle>
          <a:p>
            <a:endParaRPr lang="en-US"/>
          </a:p>
          <a:p>
            <a:r>
              <a:rPr lang="en-US"/>
              <a:t>Thermo Fisher Scientific products are distributed globally, so uses, applications, and availability of product in each country depend on local regulatory marketing authorization status. </a:t>
            </a:r>
            <a:r>
              <a:rPr lang="en-US">
                <a:sym typeface="+mn-lt"/>
              </a:rPr>
              <a:t>| system.support.fi@thermofisher.com | </a:t>
            </a:r>
            <a:r>
              <a:rPr lang="en-US"/>
              <a:t>September 2020</a:t>
            </a:r>
            <a:endParaRPr lang="en-US">
              <a:sym typeface="+mn-lt"/>
            </a:endParaRPr>
          </a:p>
        </p:txBody>
      </p:sp>
    </p:spTree>
    <p:extLst>
      <p:ext uri="{BB962C8B-B14F-4D97-AF65-F5344CB8AC3E}">
        <p14:creationId xmlns:p14="http://schemas.microsoft.com/office/powerpoint/2010/main" val="34086220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5" name="Bildplatzhalter 7" descr="Ein Bild, das Person, Mann, blau, suchend enthält.&#10;&#10;Automatisch generierte Beschreibung">
            <a:extLst>
              <a:ext uri="{FF2B5EF4-FFF2-40B4-BE49-F238E27FC236}">
                <a16:creationId xmlns:a16="http://schemas.microsoft.com/office/drawing/2014/main" id="{E1F521F6-2F3E-B139-ED41-3EE1CD4F408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525" y="-1"/>
            <a:ext cx="12191999" cy="6858000"/>
          </a:xfrm>
          <a:custGeom>
            <a:avLst/>
            <a:gdLst>
              <a:gd name="connsiteX0" fmla="*/ 0 w 12191999"/>
              <a:gd name="connsiteY0" fmla="*/ 0 h 6858000"/>
              <a:gd name="connsiteX1" fmla="*/ 10321761 w 12191999"/>
              <a:gd name="connsiteY1" fmla="*/ 0 h 6858000"/>
              <a:gd name="connsiteX2" fmla="*/ 10321761 w 12191999"/>
              <a:gd name="connsiteY2" fmla="*/ 673804 h 6858000"/>
              <a:gd name="connsiteX3" fmla="*/ 11887200 w 12191999"/>
              <a:gd name="connsiteY3" fmla="*/ 673804 h 6858000"/>
              <a:gd name="connsiteX4" fmla="*/ 11887200 w 12191999"/>
              <a:gd name="connsiteY4" fmla="*/ 0 h 6858000"/>
              <a:gd name="connsiteX5" fmla="*/ 12191999 w 12191999"/>
              <a:gd name="connsiteY5" fmla="*/ 0 h 6858000"/>
              <a:gd name="connsiteX6" fmla="*/ 12191999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0" y="0"/>
                </a:moveTo>
                <a:lnTo>
                  <a:pt x="10321761" y="0"/>
                </a:lnTo>
                <a:lnTo>
                  <a:pt x="10321761" y="673804"/>
                </a:lnTo>
                <a:lnTo>
                  <a:pt x="11887200" y="673804"/>
                </a:lnTo>
                <a:lnTo>
                  <a:pt x="11887200" y="0"/>
                </a:lnTo>
                <a:lnTo>
                  <a:pt x="12191999" y="0"/>
                </a:lnTo>
                <a:lnTo>
                  <a:pt x="12191999" y="6858000"/>
                </a:lnTo>
                <a:lnTo>
                  <a:pt x="0" y="6858000"/>
                </a:lnTo>
                <a:close/>
              </a:path>
            </a:pathLst>
          </a:custGeom>
        </p:spPr>
      </p:pic>
      <p:sp>
        <p:nvSpPr>
          <p:cNvPr id="328" name="Inhaltsplatzhalter 4">
            <a:extLst>
              <a:ext uri="{FF2B5EF4-FFF2-40B4-BE49-F238E27FC236}">
                <a16:creationId xmlns:a16="http://schemas.microsoft.com/office/drawing/2014/main" id="{27EF02C8-C2EE-81D2-4C02-C43E3B930D3F}"/>
              </a:ext>
            </a:extLst>
          </p:cNvPr>
          <p:cNvSpPr txBox="1">
            <a:spLocks/>
          </p:cNvSpPr>
          <p:nvPr/>
        </p:nvSpPr>
        <p:spPr>
          <a:xfrm>
            <a:off x="0" y="4129990"/>
            <a:ext cx="6096000" cy="480131"/>
          </a:xfrm>
          <a:prstGeom prst="rect">
            <a:avLst/>
          </a:prstGeom>
        </p:spPr>
        <p:txBody>
          <a:bodyPr>
            <a:spAutoFit/>
          </a:bodyPr>
          <a:lstStyle>
            <a:lvl1pPr marL="228600" lvl="0" indent="-228600" algn="l" rtl="0">
              <a:lnSpc>
                <a:spcPct val="90000"/>
              </a:lnSpc>
              <a:spcBef>
                <a:spcPts val="1000"/>
              </a:spcBef>
              <a:buFont typeface="Arial"/>
              <a:buChar char="•"/>
              <a:defRPr lang="en-US" sz="2800" dirty="0">
                <a:solidFill>
                  <a:schemeClr val="tx1"/>
                </a:solidFill>
                <a:latin typeface="+mn-lt"/>
              </a:defRPr>
            </a:lvl1pPr>
            <a:lvl2pPr marL="685800" lvl="1" indent="-228600" algn="l" rtl="0">
              <a:lnSpc>
                <a:spcPct val="90000"/>
              </a:lnSpc>
              <a:spcBef>
                <a:spcPts val="500"/>
              </a:spcBef>
              <a:buFont typeface="Arial"/>
              <a:buChar char="•"/>
              <a:defRPr lang="en-US" sz="2400" dirty="0">
                <a:solidFill>
                  <a:schemeClr val="tx1"/>
                </a:solidFill>
                <a:latin typeface="+mn-lt"/>
              </a:defRPr>
            </a:lvl2pPr>
            <a:lvl3pPr marL="1143000" lvl="2" indent="-228600" algn="l" rtl="0">
              <a:lnSpc>
                <a:spcPct val="90000"/>
              </a:lnSpc>
              <a:spcBef>
                <a:spcPts val="500"/>
              </a:spcBef>
              <a:buFont typeface="Arial"/>
              <a:buChar char="•"/>
              <a:defRPr lang="en-US" sz="2000" dirty="0">
                <a:solidFill>
                  <a:schemeClr val="tx1"/>
                </a:solidFill>
                <a:latin typeface="+mn-lt"/>
              </a:defRPr>
            </a:lvl3pPr>
            <a:lvl4pPr marL="1600200" lvl="3" indent="-228600" algn="l" rtl="0">
              <a:lnSpc>
                <a:spcPct val="90000"/>
              </a:lnSpc>
              <a:spcBef>
                <a:spcPts val="500"/>
              </a:spcBef>
              <a:buFont typeface="Arial"/>
              <a:buChar char="•"/>
              <a:defRPr lang="en-US" sz="1800" dirty="0">
                <a:solidFill>
                  <a:schemeClr val="tx1"/>
                </a:solidFill>
                <a:latin typeface="+mn-lt"/>
              </a:defRPr>
            </a:lvl4pPr>
            <a:lvl5pPr marL="2057400" lvl="4" indent="-228600" algn="l" rtl="0">
              <a:lnSpc>
                <a:spcPct val="90000"/>
              </a:lnSpc>
              <a:spcBef>
                <a:spcPts val="500"/>
              </a:spcBef>
              <a:buFont typeface="Arial"/>
              <a:buChar char="•"/>
              <a:defRPr lang="en-US" sz="1800" dirty="0">
                <a:solidFill>
                  <a:schemeClr val="tx1"/>
                </a:solidFill>
                <a:latin typeface="+mn-lt"/>
              </a:defRPr>
            </a:lvl5pPr>
            <a:lvl6pPr marL="2514600" lvl="5" indent="-228600" algn="l" rtl="0">
              <a:lnSpc>
                <a:spcPct val="90000"/>
              </a:lnSpc>
              <a:spcBef>
                <a:spcPts val="500"/>
              </a:spcBef>
              <a:buFont typeface="Arial"/>
              <a:buChar char="•"/>
              <a:defRPr lang="en-US" sz="1800" dirty="0">
                <a:solidFill>
                  <a:schemeClr val="tx1"/>
                </a:solidFill>
                <a:latin typeface="+mn-lt"/>
              </a:defRPr>
            </a:lvl6pPr>
            <a:lvl7pPr marL="2971800" lvl="6" indent="-228600" algn="l" rtl="0">
              <a:lnSpc>
                <a:spcPct val="90000"/>
              </a:lnSpc>
              <a:spcBef>
                <a:spcPts val="500"/>
              </a:spcBef>
              <a:buFont typeface="Arial"/>
              <a:buChar char="•"/>
              <a:defRPr lang="en-US" sz="1800" dirty="0">
                <a:solidFill>
                  <a:schemeClr val="tx1"/>
                </a:solidFill>
                <a:latin typeface="+mn-lt"/>
              </a:defRPr>
            </a:lvl7pPr>
            <a:lvl8pPr marL="3429000" lvl="7" indent="-228600" algn="l" rtl="0">
              <a:lnSpc>
                <a:spcPct val="90000"/>
              </a:lnSpc>
              <a:spcBef>
                <a:spcPts val="500"/>
              </a:spcBef>
              <a:buFont typeface="Arial"/>
              <a:buChar char="•"/>
              <a:defRPr lang="en-US" sz="1800" dirty="0">
                <a:solidFill>
                  <a:schemeClr val="tx1"/>
                </a:solidFill>
                <a:latin typeface="+mn-lt"/>
              </a:defRPr>
            </a:lvl8pPr>
            <a:lvl9pPr marL="3886200" lvl="8" indent="-228600" algn="l" rtl="0">
              <a:lnSpc>
                <a:spcPct val="90000"/>
              </a:lnSpc>
              <a:spcBef>
                <a:spcPts val="500"/>
              </a:spcBef>
              <a:buFont typeface="Arial"/>
              <a:buChar char="•"/>
              <a:defRPr lang="en-US" sz="1800" dirty="0">
                <a:solidFill>
                  <a:schemeClr val="tx1"/>
                </a:solidFill>
                <a:latin typeface="+mn-lt"/>
              </a:defRPr>
            </a:lvl9pPr>
          </a:lstStyle>
          <a:p>
            <a:r>
              <a:rPr lang="en-US" b="1" dirty="0">
                <a:sym typeface="+mn-lt"/>
              </a:rPr>
              <a:t>2. </a:t>
            </a:r>
            <a:r>
              <a:rPr lang="pl-PL" b="1" dirty="0">
                <a:sym typeface="+mn-lt"/>
              </a:rPr>
              <a:t>Główne zalety </a:t>
            </a:r>
            <a:endParaRPr lang="en-US" b="1" dirty="0">
              <a:sym typeface="+mn-lt"/>
            </a:endParaRPr>
          </a:p>
        </p:txBody>
      </p:sp>
    </p:spTree>
    <p:extLst>
      <p:ext uri="{BB962C8B-B14F-4D97-AF65-F5344CB8AC3E}">
        <p14:creationId xmlns:p14="http://schemas.microsoft.com/office/powerpoint/2010/main" val="6299003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9">
            <a:extLst>
              <a:ext uri="{FF2B5EF4-FFF2-40B4-BE49-F238E27FC236}">
                <a16:creationId xmlns:a16="http://schemas.microsoft.com/office/drawing/2014/main" id="{7B950EA3-5B4D-85AB-3B68-D2E4D96CDD47}"/>
              </a:ext>
            </a:extLst>
          </p:cNvPr>
          <p:cNvGrpSpPr>
            <a:grpSpLocks noChangeAspect="1"/>
          </p:cNvGrpSpPr>
          <p:nvPr/>
        </p:nvGrpSpPr>
        <p:grpSpPr>
          <a:xfrm>
            <a:off x="3412775" y="1887334"/>
            <a:ext cx="8954577" cy="4387946"/>
            <a:chOff x="-696562" y="2155437"/>
            <a:chExt cx="31406507" cy="15389903"/>
          </a:xfrm>
        </p:grpSpPr>
        <p:pic>
          <p:nvPicPr>
            <p:cNvPr id="3" name="Picture 70">
              <a:extLst>
                <a:ext uri="{FF2B5EF4-FFF2-40B4-BE49-F238E27FC236}">
                  <a16:creationId xmlns:a16="http://schemas.microsoft.com/office/drawing/2014/main" id="{DDF8848B-5D7E-8D2F-CBF1-8436CFAB44F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43543" y="2155437"/>
              <a:ext cx="23066402" cy="15389903"/>
            </a:xfrm>
            <a:prstGeom prst="rect">
              <a:avLst/>
            </a:prstGeom>
          </p:spPr>
        </p:pic>
        <p:pic>
          <p:nvPicPr>
            <p:cNvPr id="4" name="Picture 73" descr="A picture containing sitting, table, small, front&#10;&#10;Description automatically generated">
              <a:extLst>
                <a:ext uri="{FF2B5EF4-FFF2-40B4-BE49-F238E27FC236}">
                  <a16:creationId xmlns:a16="http://schemas.microsoft.com/office/drawing/2014/main" id="{8977AD8C-639D-DEB6-64A6-ED2CAB7E7BF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96562" y="4873666"/>
              <a:ext cx="13986134" cy="11171587"/>
            </a:xfrm>
            <a:prstGeom prst="rect">
              <a:avLst/>
            </a:prstGeom>
          </p:spPr>
        </p:pic>
      </p:grpSp>
      <p:sp>
        <p:nvSpPr>
          <p:cNvPr id="5" name="Titel 6">
            <a:extLst>
              <a:ext uri="{FF2B5EF4-FFF2-40B4-BE49-F238E27FC236}">
                <a16:creationId xmlns:a16="http://schemas.microsoft.com/office/drawing/2014/main" id="{B640BD71-D46E-AEBC-CF7A-5EE25A1A6D84}"/>
              </a:ext>
            </a:extLst>
          </p:cNvPr>
          <p:cNvSpPr txBox="1">
            <a:spLocks/>
          </p:cNvSpPr>
          <p:nvPr/>
        </p:nvSpPr>
        <p:spPr>
          <a:xfrm>
            <a:off x="304801" y="304799"/>
            <a:ext cx="9753600" cy="381001"/>
          </a:xfrm>
          <a:prstGeom prst="rect">
            <a:avLst/>
          </a:prstGeom>
        </p:spPr>
        <p:txBody>
          <a:bodyPr/>
          <a:lstStyle>
            <a:lvl1pPr lvl="0" algn="l" rtl="0">
              <a:lnSpc>
                <a:spcPct val="90000"/>
              </a:lnSpc>
              <a:spcBef>
                <a:spcPct val="0"/>
              </a:spcBef>
              <a:buNone/>
              <a:defRPr lang="en-US" sz="4400" dirty="0">
                <a:solidFill>
                  <a:schemeClr val="tx1"/>
                </a:solidFill>
                <a:latin typeface="+mj-lt"/>
              </a:defRPr>
            </a:lvl1pPr>
          </a:lstStyle>
          <a:p>
            <a:r>
              <a:rPr lang="pl-PL" dirty="0">
                <a:solidFill>
                  <a:srgbClr val="C00000"/>
                </a:solidFill>
                <a:sym typeface="+mj-lt"/>
              </a:rPr>
              <a:t>Dlaczego </a:t>
            </a:r>
            <a:r>
              <a:rPr lang="pl-PL" dirty="0" err="1">
                <a:solidFill>
                  <a:srgbClr val="C00000"/>
                </a:solidFill>
                <a:sym typeface="+mj-lt"/>
              </a:rPr>
              <a:t>Idiko</a:t>
            </a:r>
            <a:endParaRPr lang="en-US" dirty="0">
              <a:solidFill>
                <a:srgbClr val="C00000"/>
              </a:solidFill>
              <a:sym typeface="+mj-lt"/>
            </a:endParaRPr>
          </a:p>
        </p:txBody>
      </p:sp>
      <p:sp>
        <p:nvSpPr>
          <p:cNvPr id="7" name="Rectangle 85">
            <a:extLst>
              <a:ext uri="{FF2B5EF4-FFF2-40B4-BE49-F238E27FC236}">
                <a16:creationId xmlns:a16="http://schemas.microsoft.com/office/drawing/2014/main" id="{9C6A9E29-0475-7A25-3378-138C69C96CF8}"/>
              </a:ext>
            </a:extLst>
          </p:cNvPr>
          <p:cNvSpPr/>
          <p:nvPr/>
        </p:nvSpPr>
        <p:spPr bwMode="auto">
          <a:xfrm>
            <a:off x="343668" y="4217669"/>
            <a:ext cx="3043422" cy="1829846"/>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dirty="0">
              <a:latin typeface="Arial" pitchFamily="124" charset="0"/>
            </a:endParaRPr>
          </a:p>
        </p:txBody>
      </p:sp>
      <p:sp>
        <p:nvSpPr>
          <p:cNvPr id="8" name="Parallelogram 86">
            <a:extLst>
              <a:ext uri="{FF2B5EF4-FFF2-40B4-BE49-F238E27FC236}">
                <a16:creationId xmlns:a16="http://schemas.microsoft.com/office/drawing/2014/main" id="{675289CD-7B19-4256-DE08-66E85D447D32}"/>
              </a:ext>
            </a:extLst>
          </p:cNvPr>
          <p:cNvSpPr/>
          <p:nvPr/>
        </p:nvSpPr>
        <p:spPr bwMode="auto">
          <a:xfrm>
            <a:off x="343668" y="2456586"/>
            <a:ext cx="3600000" cy="1761083"/>
          </a:xfrm>
          <a:prstGeom prst="parallelogram">
            <a:avLst>
              <a:gd name="adj" fmla="val 31844"/>
            </a:avLst>
          </a:prstGeom>
          <a:solidFill>
            <a:schemeClr val="accent1"/>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r>
              <a:rPr lang="pl-PL" sz="2400" b="1" dirty="0">
                <a:solidFill>
                  <a:schemeClr val="bg1"/>
                </a:solidFill>
                <a:sym typeface="+mn-lt"/>
              </a:rPr>
              <a:t>Mały aparat, duże możliwości</a:t>
            </a:r>
            <a:endParaRPr lang="en-US" sz="2400" b="1" dirty="0">
              <a:solidFill>
                <a:schemeClr val="bg1"/>
              </a:solidFill>
              <a:sym typeface="+mn-lt"/>
            </a:endParaRPr>
          </a:p>
        </p:txBody>
      </p:sp>
      <p:sp>
        <p:nvSpPr>
          <p:cNvPr id="9" name="Rechteck 34">
            <a:extLst>
              <a:ext uri="{FF2B5EF4-FFF2-40B4-BE49-F238E27FC236}">
                <a16:creationId xmlns:a16="http://schemas.microsoft.com/office/drawing/2014/main" id="{2FAA1290-FBF3-062B-808A-CC927FB0AC1C}"/>
              </a:ext>
            </a:extLst>
          </p:cNvPr>
          <p:cNvSpPr/>
          <p:nvPr/>
        </p:nvSpPr>
        <p:spPr>
          <a:xfrm>
            <a:off x="369354" y="4446704"/>
            <a:ext cx="3087828" cy="1376265"/>
          </a:xfrm>
          <a:prstGeom prst="rect">
            <a:avLst/>
          </a:prstGeom>
        </p:spPr>
        <p:txBody>
          <a:bodyPr vert="horz" wrap="square" lIns="0" tIns="72000" rIns="0" bIns="0" rtlCol="0">
            <a:spAutoFit/>
          </a:bodyPr>
          <a:lstStyle/>
          <a:p>
            <a:pPr algn="ctr" defTabSz="914400">
              <a:lnSpc>
                <a:spcPct val="120000"/>
              </a:lnSpc>
              <a:spcBef>
                <a:spcPts val="200"/>
              </a:spcBef>
              <a:buClr>
                <a:schemeClr val="tx2"/>
              </a:buClr>
              <a:buSzPct val="100000"/>
            </a:pPr>
            <a:r>
              <a:rPr lang="pl-PL" b="1" dirty="0">
                <a:sym typeface="+mn-lt"/>
              </a:rPr>
              <a:t>Pasuje do każdego laboratorium i nadal jest w stanie wykonać do</a:t>
            </a:r>
            <a:br>
              <a:rPr lang="en-US" b="1" dirty="0">
                <a:sym typeface="+mn-lt"/>
              </a:rPr>
            </a:br>
            <a:r>
              <a:rPr lang="en-US" b="1" dirty="0">
                <a:sym typeface="+mn-lt"/>
              </a:rPr>
              <a:t>300,000 test</a:t>
            </a:r>
            <a:r>
              <a:rPr lang="pl-PL" b="1" dirty="0">
                <a:sym typeface="+mn-lt"/>
              </a:rPr>
              <a:t>ów w roku</a:t>
            </a:r>
            <a:endParaRPr lang="en-US" b="1" dirty="0">
              <a:sym typeface="+mn-lt"/>
            </a:endParaRPr>
          </a:p>
        </p:txBody>
      </p:sp>
      <p:grpSp>
        <p:nvGrpSpPr>
          <p:cNvPr id="10" name="Group 72">
            <a:extLst>
              <a:ext uri="{FF2B5EF4-FFF2-40B4-BE49-F238E27FC236}">
                <a16:creationId xmlns:a16="http://schemas.microsoft.com/office/drawing/2014/main" id="{8F709EA2-4173-58B4-516E-6CD92B50972C}"/>
              </a:ext>
            </a:extLst>
          </p:cNvPr>
          <p:cNvGrpSpPr/>
          <p:nvPr/>
        </p:nvGrpSpPr>
        <p:grpSpPr>
          <a:xfrm>
            <a:off x="1571478" y="1398623"/>
            <a:ext cx="1504370" cy="1504370"/>
            <a:chOff x="5343815" y="1101555"/>
            <a:chExt cx="1504370" cy="1504370"/>
          </a:xfrm>
        </p:grpSpPr>
        <p:sp>
          <p:nvSpPr>
            <p:cNvPr id="11" name="Freeform: Shape 18">
              <a:extLst>
                <a:ext uri="{FF2B5EF4-FFF2-40B4-BE49-F238E27FC236}">
                  <a16:creationId xmlns:a16="http://schemas.microsoft.com/office/drawing/2014/main" id="{0CFA8BE7-E550-C004-A992-4ED314E05D76}"/>
                </a:ext>
              </a:extLst>
            </p:cNvPr>
            <p:cNvSpPr/>
            <p:nvPr/>
          </p:nvSpPr>
          <p:spPr>
            <a:xfrm>
              <a:off x="5343815" y="1101555"/>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accent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marL="0" lvl="0" indent="0" algn="ctr" defTabSz="1289050">
                <a:lnSpc>
                  <a:spcPct val="90000"/>
                </a:lnSpc>
                <a:spcBef>
                  <a:spcPct val="0"/>
                </a:spcBef>
                <a:spcAft>
                  <a:spcPct val="35000"/>
                </a:spcAft>
                <a:buNone/>
              </a:pPr>
              <a:endParaRPr lang="en-US" sz="2900" kern="1200"/>
            </a:p>
          </p:txBody>
        </p:sp>
        <p:pic>
          <p:nvPicPr>
            <p:cNvPr id="12" name="Graphic 48">
              <a:extLst>
                <a:ext uri="{FF2B5EF4-FFF2-40B4-BE49-F238E27FC236}">
                  <a16:creationId xmlns:a16="http://schemas.microsoft.com/office/drawing/2014/main" id="{0F4A461C-F5A2-61D7-FDD2-E8E7F0D81E7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23810" y="1281550"/>
              <a:ext cx="1144381" cy="1144381"/>
            </a:xfrm>
            <a:prstGeom prst="rect">
              <a:avLst/>
            </a:prstGeom>
          </p:spPr>
        </p:pic>
      </p:grpSp>
    </p:spTree>
    <p:extLst>
      <p:ext uri="{BB962C8B-B14F-4D97-AF65-F5344CB8AC3E}">
        <p14:creationId xmlns:p14="http://schemas.microsoft.com/office/powerpoint/2010/main" val="4563848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6">
            <a:extLst>
              <a:ext uri="{FF2B5EF4-FFF2-40B4-BE49-F238E27FC236}">
                <a16:creationId xmlns:a16="http://schemas.microsoft.com/office/drawing/2014/main" id="{0DEC6F61-8BE7-4CE8-1033-EDE006414506}"/>
              </a:ext>
            </a:extLst>
          </p:cNvPr>
          <p:cNvSpPr txBox="1">
            <a:spLocks/>
          </p:cNvSpPr>
          <p:nvPr/>
        </p:nvSpPr>
        <p:spPr>
          <a:xfrm>
            <a:off x="304801" y="304799"/>
            <a:ext cx="9753600" cy="381001"/>
          </a:xfrm>
          <a:prstGeom prst="rect">
            <a:avLst/>
          </a:prstGeom>
        </p:spPr>
        <p:txBody>
          <a:bodyPr/>
          <a:lstStyle>
            <a:lvl1pPr lvl="0" algn="l" rtl="0">
              <a:lnSpc>
                <a:spcPct val="90000"/>
              </a:lnSpc>
              <a:spcBef>
                <a:spcPct val="0"/>
              </a:spcBef>
              <a:buNone/>
              <a:defRPr lang="en-US" sz="4400" dirty="0">
                <a:solidFill>
                  <a:schemeClr val="tx1"/>
                </a:solidFill>
                <a:latin typeface="+mj-lt"/>
              </a:defRPr>
            </a:lvl1pPr>
          </a:lstStyle>
          <a:p>
            <a:r>
              <a:rPr lang="pl-PL" altLang="fi-FI" sz="3200" dirty="0">
                <a:solidFill>
                  <a:srgbClr val="C00000"/>
                </a:solidFill>
                <a:sym typeface="+mj-lt"/>
              </a:rPr>
              <a:t>Duża wydajność mimo małych rozmiarów</a:t>
            </a:r>
            <a:endParaRPr lang="en-US" sz="3200" dirty="0">
              <a:solidFill>
                <a:srgbClr val="C00000"/>
              </a:solidFill>
              <a:sym typeface="+mj-lt"/>
            </a:endParaRPr>
          </a:p>
        </p:txBody>
      </p:sp>
      <p:sp>
        <p:nvSpPr>
          <p:cNvPr id="4" name="Rectangle 8">
            <a:extLst>
              <a:ext uri="{FF2B5EF4-FFF2-40B4-BE49-F238E27FC236}">
                <a16:creationId xmlns:a16="http://schemas.microsoft.com/office/drawing/2014/main" id="{BB7FD5F3-17B7-B310-B25F-49AF540495FD}"/>
              </a:ext>
            </a:extLst>
          </p:cNvPr>
          <p:cNvSpPr/>
          <p:nvPr/>
        </p:nvSpPr>
        <p:spPr>
          <a:xfrm>
            <a:off x="2612215" y="3818007"/>
            <a:ext cx="3060700" cy="738664"/>
          </a:xfrm>
          <a:prstGeom prst="rect">
            <a:avLst/>
          </a:prstGeom>
          <a:noFill/>
          <a:ln w="9525">
            <a:noFill/>
            <a:miter lim="800000"/>
            <a:headEnd/>
            <a:tailEnd/>
          </a:ln>
        </p:spPr>
        <p:txBody>
          <a:bodyPr wrap="square" lIns="0" tIns="0" rIns="0" bIns="0">
            <a:spAutoFit/>
          </a:bodyPr>
          <a:lstStyle/>
          <a:p>
            <a:pPr algn="ctr"/>
            <a:r>
              <a:rPr lang="en-US" sz="1600" b="1" dirty="0">
                <a:sym typeface="+mn-lt"/>
              </a:rPr>
              <a:t>Indiko</a:t>
            </a:r>
          </a:p>
          <a:p>
            <a:pPr algn="ctr"/>
            <a:r>
              <a:rPr lang="pl-PL" sz="1600" dirty="0">
                <a:sym typeface="+mn-lt"/>
              </a:rPr>
              <a:t>Do </a:t>
            </a:r>
            <a:r>
              <a:rPr lang="en-US" sz="1600" dirty="0">
                <a:sym typeface="+mn-lt"/>
              </a:rPr>
              <a:t>200 </a:t>
            </a:r>
            <a:r>
              <a:rPr lang="en-US" sz="1600" dirty="0" err="1">
                <a:sym typeface="+mn-lt"/>
              </a:rPr>
              <a:t>tes</a:t>
            </a:r>
            <a:r>
              <a:rPr lang="pl-PL" sz="1600" dirty="0" err="1">
                <a:sym typeface="+mn-lt"/>
              </a:rPr>
              <a:t>tów</a:t>
            </a:r>
            <a:r>
              <a:rPr lang="en-US" sz="1600" dirty="0">
                <a:sym typeface="+mn-lt"/>
              </a:rPr>
              <a:t>/</a:t>
            </a:r>
            <a:r>
              <a:rPr lang="pl-PL" sz="1600" dirty="0">
                <a:sym typeface="+mn-lt"/>
              </a:rPr>
              <a:t>godzinę  </a:t>
            </a:r>
            <a:br>
              <a:rPr lang="en-US" sz="1600" dirty="0">
                <a:sym typeface="+mn-lt"/>
              </a:rPr>
            </a:br>
            <a:r>
              <a:rPr lang="pl-PL" sz="1600" dirty="0">
                <a:sym typeface="+mn-lt"/>
              </a:rPr>
              <a:t>Do</a:t>
            </a:r>
            <a:r>
              <a:rPr lang="en-US" sz="1600" dirty="0">
                <a:sym typeface="+mn-lt"/>
              </a:rPr>
              <a:t> 120 ISE </a:t>
            </a:r>
            <a:r>
              <a:rPr lang="en-US" sz="1600" dirty="0" err="1">
                <a:sym typeface="+mn-lt"/>
              </a:rPr>
              <a:t>tes</a:t>
            </a:r>
            <a:r>
              <a:rPr lang="pl-PL" sz="1600" dirty="0" err="1">
                <a:sym typeface="+mn-lt"/>
              </a:rPr>
              <a:t>tów</a:t>
            </a:r>
            <a:r>
              <a:rPr lang="en-US" sz="1600" dirty="0">
                <a:sym typeface="+mn-lt"/>
              </a:rPr>
              <a:t>/</a:t>
            </a:r>
            <a:r>
              <a:rPr lang="pl-PL" sz="1600" dirty="0">
                <a:sym typeface="+mn-lt"/>
              </a:rPr>
              <a:t>godzinę </a:t>
            </a:r>
            <a:endParaRPr lang="en-US" sz="1600" dirty="0">
              <a:sym typeface="+mn-lt"/>
            </a:endParaRPr>
          </a:p>
        </p:txBody>
      </p:sp>
      <p:sp>
        <p:nvSpPr>
          <p:cNvPr id="5" name="Rectangle 10">
            <a:extLst>
              <a:ext uri="{FF2B5EF4-FFF2-40B4-BE49-F238E27FC236}">
                <a16:creationId xmlns:a16="http://schemas.microsoft.com/office/drawing/2014/main" id="{504D54B3-5D82-0E47-1D08-F717616EAF01}"/>
              </a:ext>
            </a:extLst>
          </p:cNvPr>
          <p:cNvSpPr/>
          <p:nvPr/>
        </p:nvSpPr>
        <p:spPr>
          <a:xfrm>
            <a:off x="6545403" y="3818007"/>
            <a:ext cx="3081271" cy="738664"/>
          </a:xfrm>
          <a:prstGeom prst="rect">
            <a:avLst/>
          </a:prstGeom>
          <a:noFill/>
          <a:ln w="9525">
            <a:noFill/>
            <a:miter lim="800000"/>
            <a:headEnd/>
            <a:tailEnd/>
          </a:ln>
        </p:spPr>
        <p:txBody>
          <a:bodyPr wrap="square" lIns="0" tIns="0" rIns="0" bIns="0">
            <a:spAutoFit/>
          </a:bodyPr>
          <a:lstStyle/>
          <a:p>
            <a:pPr algn="ctr"/>
            <a:r>
              <a:rPr lang="en-US" sz="1600" b="1" dirty="0">
                <a:sym typeface="+mn-lt"/>
              </a:rPr>
              <a:t>Indiko Plus</a:t>
            </a:r>
          </a:p>
          <a:p>
            <a:pPr algn="ctr"/>
            <a:r>
              <a:rPr lang="pl-PL" sz="1600" dirty="0">
                <a:sym typeface="+mn-lt"/>
              </a:rPr>
              <a:t>Do</a:t>
            </a:r>
            <a:r>
              <a:rPr lang="en-US" sz="1600" dirty="0">
                <a:sym typeface="+mn-lt"/>
              </a:rPr>
              <a:t> 350 test</a:t>
            </a:r>
            <a:r>
              <a:rPr lang="pl-PL" sz="1600" dirty="0">
                <a:sym typeface="+mn-lt"/>
              </a:rPr>
              <a:t>ów</a:t>
            </a:r>
            <a:r>
              <a:rPr lang="en-US" sz="1600" dirty="0">
                <a:sym typeface="+mn-lt"/>
              </a:rPr>
              <a:t>/</a:t>
            </a:r>
            <a:r>
              <a:rPr lang="pl-PL" sz="1600" dirty="0">
                <a:sym typeface="+mn-lt"/>
              </a:rPr>
              <a:t>godzinę</a:t>
            </a:r>
            <a:br>
              <a:rPr lang="en-US" sz="1600" dirty="0">
                <a:sym typeface="+mn-lt"/>
              </a:rPr>
            </a:br>
            <a:r>
              <a:rPr lang="pl-PL" sz="1600" dirty="0">
                <a:sym typeface="+mn-lt"/>
              </a:rPr>
              <a:t>Do</a:t>
            </a:r>
            <a:r>
              <a:rPr lang="en-US" sz="1600" dirty="0">
                <a:sym typeface="+mn-lt"/>
              </a:rPr>
              <a:t> 135 ISE test</a:t>
            </a:r>
            <a:r>
              <a:rPr lang="pl-PL" sz="1600" dirty="0">
                <a:sym typeface="+mn-lt"/>
              </a:rPr>
              <a:t>ów</a:t>
            </a:r>
            <a:r>
              <a:rPr lang="en-US" sz="1600" dirty="0">
                <a:sym typeface="+mn-lt"/>
              </a:rPr>
              <a:t>/</a:t>
            </a:r>
            <a:r>
              <a:rPr lang="pl-PL" sz="1600" dirty="0">
                <a:sym typeface="+mn-lt"/>
              </a:rPr>
              <a:t>godzinę</a:t>
            </a:r>
            <a:endParaRPr lang="en-US" sz="1600" dirty="0">
              <a:sym typeface="+mn-lt"/>
            </a:endParaRPr>
          </a:p>
        </p:txBody>
      </p:sp>
      <p:sp>
        <p:nvSpPr>
          <p:cNvPr id="6" name="Parallelogram 8">
            <a:extLst>
              <a:ext uri="{FF2B5EF4-FFF2-40B4-BE49-F238E27FC236}">
                <a16:creationId xmlns:a16="http://schemas.microsoft.com/office/drawing/2014/main" id="{27EC5EAA-F1F2-81C7-48D3-B67ACE416476}"/>
              </a:ext>
            </a:extLst>
          </p:cNvPr>
          <p:cNvSpPr/>
          <p:nvPr/>
        </p:nvSpPr>
        <p:spPr bwMode="auto">
          <a:xfrm>
            <a:off x="309341" y="5415059"/>
            <a:ext cx="11582397" cy="440310"/>
          </a:xfrm>
          <a:prstGeom prst="parallelogram">
            <a:avLst>
              <a:gd name="adj" fmla="val 31844"/>
            </a:avLst>
          </a:prstGeom>
          <a:solidFill>
            <a:schemeClr val="accent1"/>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r>
              <a:rPr lang="pl-PL" b="1" dirty="0">
                <a:solidFill>
                  <a:schemeClr val="bg1"/>
                </a:solidFill>
                <a:sym typeface="+mn-lt"/>
              </a:rPr>
              <a:t>Do</a:t>
            </a:r>
            <a:r>
              <a:rPr lang="en-US" b="1" dirty="0">
                <a:solidFill>
                  <a:schemeClr val="bg1"/>
                </a:solidFill>
                <a:sym typeface="+mn-lt"/>
              </a:rPr>
              <a:t> 300,000 </a:t>
            </a:r>
            <a:r>
              <a:rPr lang="en-US" b="1" dirty="0" err="1">
                <a:solidFill>
                  <a:schemeClr val="bg1"/>
                </a:solidFill>
                <a:sym typeface="+mn-lt"/>
              </a:rPr>
              <a:t>tes</a:t>
            </a:r>
            <a:r>
              <a:rPr lang="pl-PL" b="1" dirty="0" err="1">
                <a:solidFill>
                  <a:schemeClr val="bg1"/>
                </a:solidFill>
                <a:sym typeface="+mn-lt"/>
              </a:rPr>
              <a:t>tów</a:t>
            </a:r>
            <a:r>
              <a:rPr lang="en-US" b="1" dirty="0">
                <a:solidFill>
                  <a:schemeClr val="bg1"/>
                </a:solidFill>
                <a:sym typeface="+mn-lt"/>
              </a:rPr>
              <a:t>/</a:t>
            </a:r>
            <a:r>
              <a:rPr lang="pl-PL" b="1" dirty="0">
                <a:solidFill>
                  <a:schemeClr val="bg1"/>
                </a:solidFill>
                <a:sym typeface="+mn-lt"/>
              </a:rPr>
              <a:t>rok</a:t>
            </a:r>
            <a:endParaRPr lang="en-US" b="1" dirty="0">
              <a:solidFill>
                <a:schemeClr val="bg1"/>
              </a:solidFill>
              <a:sym typeface="+mn-lt"/>
            </a:endParaRPr>
          </a:p>
        </p:txBody>
      </p:sp>
      <p:sp>
        <p:nvSpPr>
          <p:cNvPr id="7" name="Parallelogram 8">
            <a:extLst>
              <a:ext uri="{FF2B5EF4-FFF2-40B4-BE49-F238E27FC236}">
                <a16:creationId xmlns:a16="http://schemas.microsoft.com/office/drawing/2014/main" id="{36B14F9D-3A2D-A556-B537-78DC56356662}"/>
              </a:ext>
            </a:extLst>
          </p:cNvPr>
          <p:cNvSpPr/>
          <p:nvPr/>
        </p:nvSpPr>
        <p:spPr bwMode="auto">
          <a:xfrm>
            <a:off x="318866" y="4929973"/>
            <a:ext cx="11582397" cy="440310"/>
          </a:xfrm>
          <a:prstGeom prst="parallelogram">
            <a:avLst>
              <a:gd name="adj" fmla="val 31844"/>
            </a:avLst>
          </a:prstGeom>
          <a:solidFill>
            <a:schemeClr val="accent1"/>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r>
              <a:rPr lang="pl-PL" b="1" dirty="0">
                <a:solidFill>
                  <a:schemeClr val="bg1"/>
                </a:solidFill>
                <a:sym typeface="+mn-lt"/>
              </a:rPr>
              <a:t>Odpowiednie dla różnych zapotrzebowani przestrzennych</a:t>
            </a:r>
            <a:endParaRPr lang="en-US" sz="1800" dirty="0">
              <a:sym typeface="+mn-lt"/>
            </a:endParaRPr>
          </a:p>
        </p:txBody>
      </p:sp>
      <p:pic>
        <p:nvPicPr>
          <p:cNvPr id="8" name="Grafik 36">
            <a:extLst>
              <a:ext uri="{FF2B5EF4-FFF2-40B4-BE49-F238E27FC236}">
                <a16:creationId xmlns:a16="http://schemas.microsoft.com/office/drawing/2014/main" id="{996B4C04-BB35-9DFF-9BBA-9CC0EE01F835}"/>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618541" y="1795463"/>
            <a:ext cx="2934997" cy="1871264"/>
          </a:xfrm>
          <a:prstGeom prst="rect">
            <a:avLst/>
          </a:prstGeom>
        </p:spPr>
      </p:pic>
      <p:pic>
        <p:nvPicPr>
          <p:cNvPr id="9" name="Grafik 40">
            <a:extLst>
              <a:ext uri="{FF2B5EF4-FFF2-40B4-BE49-F238E27FC236}">
                <a16:creationId xmlns:a16="http://schemas.microsoft.com/office/drawing/2014/main" id="{4EA53E54-3B44-093D-F179-1680DEE1055B}"/>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880070" y="1745188"/>
            <a:ext cx="2436141" cy="1924518"/>
          </a:xfrm>
          <a:prstGeom prst="rect">
            <a:avLst/>
          </a:prstGeom>
        </p:spPr>
      </p:pic>
      <p:grpSp>
        <p:nvGrpSpPr>
          <p:cNvPr id="10" name="Group 11">
            <a:extLst>
              <a:ext uri="{FF2B5EF4-FFF2-40B4-BE49-F238E27FC236}">
                <a16:creationId xmlns:a16="http://schemas.microsoft.com/office/drawing/2014/main" id="{A63BAC03-57D4-43B3-E564-D3B98700E3EE}"/>
              </a:ext>
            </a:extLst>
          </p:cNvPr>
          <p:cNvGrpSpPr/>
          <p:nvPr/>
        </p:nvGrpSpPr>
        <p:grpSpPr>
          <a:xfrm>
            <a:off x="1703436" y="1379013"/>
            <a:ext cx="3274581" cy="2221494"/>
            <a:chOff x="1703436" y="1379013"/>
            <a:chExt cx="3274581" cy="2221494"/>
          </a:xfrm>
        </p:grpSpPr>
        <p:cxnSp>
          <p:nvCxnSpPr>
            <p:cNvPr id="11" name="Straight Arrow Connector 93">
              <a:extLst>
                <a:ext uri="{FF2B5EF4-FFF2-40B4-BE49-F238E27FC236}">
                  <a16:creationId xmlns:a16="http://schemas.microsoft.com/office/drawing/2014/main" id="{7294B437-F5E0-967D-0C71-466BB40C6894}"/>
                </a:ext>
              </a:extLst>
            </p:cNvPr>
            <p:cNvCxnSpPr>
              <a:cxnSpLocks/>
            </p:cNvCxnSpPr>
            <p:nvPr/>
          </p:nvCxnSpPr>
          <p:spPr>
            <a:xfrm flipV="1">
              <a:off x="2515527" y="2499998"/>
              <a:ext cx="0" cy="1100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94">
              <a:extLst>
                <a:ext uri="{FF2B5EF4-FFF2-40B4-BE49-F238E27FC236}">
                  <a16:creationId xmlns:a16="http://schemas.microsoft.com/office/drawing/2014/main" id="{C749EF89-B64C-7976-48A3-5DDD36F8C289}"/>
                </a:ext>
              </a:extLst>
            </p:cNvPr>
            <p:cNvCxnSpPr>
              <a:cxnSpLocks/>
            </p:cNvCxnSpPr>
            <p:nvPr/>
          </p:nvCxnSpPr>
          <p:spPr>
            <a:xfrm>
              <a:off x="2859318" y="1699468"/>
              <a:ext cx="211869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95">
              <a:extLst>
                <a:ext uri="{FF2B5EF4-FFF2-40B4-BE49-F238E27FC236}">
                  <a16:creationId xmlns:a16="http://schemas.microsoft.com/office/drawing/2014/main" id="{412CE082-FC13-949C-DB4C-BD4843B7E871}"/>
                </a:ext>
              </a:extLst>
            </p:cNvPr>
            <p:cNvCxnSpPr>
              <a:cxnSpLocks/>
            </p:cNvCxnSpPr>
            <p:nvPr/>
          </p:nvCxnSpPr>
          <p:spPr>
            <a:xfrm flipV="1">
              <a:off x="2528123" y="1745252"/>
              <a:ext cx="318462" cy="7089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TextBox 63">
              <a:extLst>
                <a:ext uri="{FF2B5EF4-FFF2-40B4-BE49-F238E27FC236}">
                  <a16:creationId xmlns:a16="http://schemas.microsoft.com/office/drawing/2014/main" id="{91959964-24C8-7127-A1FA-C78B3B178F5C}"/>
                </a:ext>
              </a:extLst>
            </p:cNvPr>
            <p:cNvSpPr txBox="1">
              <a:spLocks/>
            </p:cNvSpPr>
            <p:nvPr/>
          </p:nvSpPr>
          <p:spPr>
            <a:xfrm>
              <a:off x="3547055" y="1379013"/>
              <a:ext cx="743224" cy="268279"/>
            </a:xfrm>
            <a:prstGeom prst="rect">
              <a:avLst/>
            </a:prstGeom>
          </p:spPr>
          <p:txBody>
            <a:bodyPr vert="horz" wrap="square" lIns="0" tIns="0" rIns="0" bIns="0" rtlCol="0">
              <a:spAutoFit/>
            </a:bodyPr>
            <a:lstStyle>
              <a:lvl1pPr marL="287338" indent="-287338" algn="l" defTabSz="914400" rtl="0" eaLnBrk="1" latinLnBrk="0" hangingPunct="1">
                <a:lnSpc>
                  <a:spcPct val="120000"/>
                </a:lnSpc>
                <a:spcBef>
                  <a:spcPts val="200"/>
                </a:spcBef>
                <a:buClr>
                  <a:schemeClr val="tx2"/>
                </a:buClr>
                <a:buSzPct val="100000"/>
                <a:buFont typeface="Arial" panose="020B0604020202020204" pitchFamily="34" charset="0"/>
                <a:buChar char="•"/>
                <a:tabLst/>
                <a:defRPr sz="2000" b="0" kern="1200">
                  <a:solidFill>
                    <a:schemeClr val="tx1"/>
                  </a:solidFill>
                  <a:latin typeface="+mn-lt"/>
                  <a:ea typeface="+mn-ea"/>
                  <a:cs typeface="+mn-cs"/>
                  <a:sym typeface="+mn-lt"/>
                </a:defRPr>
              </a:lvl1pPr>
              <a:lvl2pPr marL="519113" marR="0" indent="-284163"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sym typeface="+mn-lt"/>
                </a:defRPr>
              </a:lvl2pPr>
              <a:lvl3pPr marL="692150" marR="0" indent="-22860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sym typeface="+mn-lt"/>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sym typeface="+mn-lt"/>
                </a:defRPr>
              </a:lvl4pPr>
              <a:lvl5pPr marL="1079500" marR="0" indent="-157163"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sym typeface="+mn-l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600" b="1" dirty="0"/>
                <a:t>75 cm</a:t>
              </a:r>
            </a:p>
          </p:txBody>
        </p:sp>
        <p:sp>
          <p:nvSpPr>
            <p:cNvPr id="15" name="TextBox 63">
              <a:extLst>
                <a:ext uri="{FF2B5EF4-FFF2-40B4-BE49-F238E27FC236}">
                  <a16:creationId xmlns:a16="http://schemas.microsoft.com/office/drawing/2014/main" id="{11394134-20E8-7349-6774-28673A5DF5E6}"/>
                </a:ext>
              </a:extLst>
            </p:cNvPr>
            <p:cNvSpPr txBox="1">
              <a:spLocks/>
            </p:cNvSpPr>
            <p:nvPr/>
          </p:nvSpPr>
          <p:spPr>
            <a:xfrm>
              <a:off x="1841678" y="1892384"/>
              <a:ext cx="743224" cy="268279"/>
            </a:xfrm>
            <a:prstGeom prst="rect">
              <a:avLst/>
            </a:prstGeom>
          </p:spPr>
          <p:txBody>
            <a:bodyPr vert="horz" wrap="square" lIns="0" tIns="0" rIns="0" bIns="0" rtlCol="0">
              <a:spAutoFit/>
            </a:bodyPr>
            <a:lstStyle>
              <a:lvl1pPr marL="287338" indent="-287338" algn="l" defTabSz="914400" rtl="0" eaLnBrk="1" latinLnBrk="0" hangingPunct="1">
                <a:lnSpc>
                  <a:spcPct val="120000"/>
                </a:lnSpc>
                <a:spcBef>
                  <a:spcPts val="200"/>
                </a:spcBef>
                <a:buClr>
                  <a:schemeClr val="tx2"/>
                </a:buClr>
                <a:buSzPct val="100000"/>
                <a:buFont typeface="Arial" panose="020B0604020202020204" pitchFamily="34" charset="0"/>
                <a:buChar char="•"/>
                <a:tabLst/>
                <a:defRPr sz="2000" b="0" kern="1200">
                  <a:solidFill>
                    <a:schemeClr val="tx1"/>
                  </a:solidFill>
                  <a:latin typeface="+mn-lt"/>
                  <a:ea typeface="+mn-ea"/>
                  <a:cs typeface="+mn-cs"/>
                  <a:sym typeface="+mn-lt"/>
                </a:defRPr>
              </a:lvl1pPr>
              <a:lvl2pPr marL="519113" marR="0" indent="-284163"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sym typeface="+mn-lt"/>
                </a:defRPr>
              </a:lvl2pPr>
              <a:lvl3pPr marL="692150" marR="0" indent="-22860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sym typeface="+mn-lt"/>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sym typeface="+mn-lt"/>
                </a:defRPr>
              </a:lvl4pPr>
              <a:lvl5pPr marL="1079500" marR="0" indent="-157163"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sym typeface="+mn-l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600" b="1" dirty="0"/>
                <a:t>70 cm</a:t>
              </a:r>
            </a:p>
          </p:txBody>
        </p:sp>
        <p:sp>
          <p:nvSpPr>
            <p:cNvPr id="16" name="TextBox 63">
              <a:extLst>
                <a:ext uri="{FF2B5EF4-FFF2-40B4-BE49-F238E27FC236}">
                  <a16:creationId xmlns:a16="http://schemas.microsoft.com/office/drawing/2014/main" id="{E07594D6-A9CE-E051-32CC-E7515F48C7AE}"/>
                </a:ext>
              </a:extLst>
            </p:cNvPr>
            <p:cNvSpPr txBox="1">
              <a:spLocks/>
            </p:cNvSpPr>
            <p:nvPr/>
          </p:nvSpPr>
          <p:spPr>
            <a:xfrm>
              <a:off x="1703436" y="2916113"/>
              <a:ext cx="743224" cy="268279"/>
            </a:xfrm>
            <a:prstGeom prst="rect">
              <a:avLst/>
            </a:prstGeom>
          </p:spPr>
          <p:txBody>
            <a:bodyPr vert="horz" wrap="square" lIns="0" tIns="0" rIns="0" bIns="0" rtlCol="0">
              <a:spAutoFit/>
            </a:bodyPr>
            <a:lstStyle>
              <a:lvl1pPr marL="287338" indent="-287338" algn="l" defTabSz="914400" rtl="0" eaLnBrk="1" latinLnBrk="0" hangingPunct="1">
                <a:lnSpc>
                  <a:spcPct val="120000"/>
                </a:lnSpc>
                <a:spcBef>
                  <a:spcPts val="200"/>
                </a:spcBef>
                <a:buClr>
                  <a:schemeClr val="tx2"/>
                </a:buClr>
                <a:buSzPct val="100000"/>
                <a:buFont typeface="Arial" panose="020B0604020202020204" pitchFamily="34" charset="0"/>
                <a:buChar char="•"/>
                <a:tabLst/>
                <a:defRPr sz="2000" b="0" kern="1200">
                  <a:solidFill>
                    <a:schemeClr val="tx1"/>
                  </a:solidFill>
                  <a:latin typeface="+mn-lt"/>
                  <a:ea typeface="+mn-ea"/>
                  <a:cs typeface="+mn-cs"/>
                  <a:sym typeface="+mn-lt"/>
                </a:defRPr>
              </a:lvl1pPr>
              <a:lvl2pPr marL="519113" marR="0" indent="-284163"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sym typeface="+mn-lt"/>
                </a:defRPr>
              </a:lvl2pPr>
              <a:lvl3pPr marL="692150" marR="0" indent="-22860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sym typeface="+mn-lt"/>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sym typeface="+mn-lt"/>
                </a:defRPr>
              </a:lvl4pPr>
              <a:lvl5pPr marL="1079500" marR="0" indent="-157163"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sym typeface="+mn-l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600" b="1" dirty="0"/>
                <a:t>62 cm</a:t>
              </a:r>
            </a:p>
          </p:txBody>
        </p:sp>
      </p:grpSp>
      <p:grpSp>
        <p:nvGrpSpPr>
          <p:cNvPr id="17" name="Group 12">
            <a:extLst>
              <a:ext uri="{FF2B5EF4-FFF2-40B4-BE49-F238E27FC236}">
                <a16:creationId xmlns:a16="http://schemas.microsoft.com/office/drawing/2014/main" id="{7617D854-6C03-0A94-9932-05AB7F9AF3EE}"/>
              </a:ext>
            </a:extLst>
          </p:cNvPr>
          <p:cNvGrpSpPr/>
          <p:nvPr/>
        </p:nvGrpSpPr>
        <p:grpSpPr>
          <a:xfrm>
            <a:off x="6834921" y="1379013"/>
            <a:ext cx="3862699" cy="2221494"/>
            <a:chOff x="6834921" y="1379013"/>
            <a:chExt cx="3862699" cy="2221494"/>
          </a:xfrm>
        </p:grpSpPr>
        <p:cxnSp>
          <p:nvCxnSpPr>
            <p:cNvPr id="18" name="Straight Arrow Connector 99">
              <a:extLst>
                <a:ext uri="{FF2B5EF4-FFF2-40B4-BE49-F238E27FC236}">
                  <a16:creationId xmlns:a16="http://schemas.microsoft.com/office/drawing/2014/main" id="{BDDD5C0B-DD95-558B-93DB-AC6DDC323277}"/>
                </a:ext>
              </a:extLst>
            </p:cNvPr>
            <p:cNvCxnSpPr>
              <a:cxnSpLocks/>
            </p:cNvCxnSpPr>
            <p:nvPr/>
          </p:nvCxnSpPr>
          <p:spPr>
            <a:xfrm flipH="1">
              <a:off x="6834921" y="1699468"/>
              <a:ext cx="265604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63">
              <a:extLst>
                <a:ext uri="{FF2B5EF4-FFF2-40B4-BE49-F238E27FC236}">
                  <a16:creationId xmlns:a16="http://schemas.microsoft.com/office/drawing/2014/main" id="{79D9880E-042F-95D3-DFE1-02420A28B9A9}"/>
                </a:ext>
              </a:extLst>
            </p:cNvPr>
            <p:cNvSpPr txBox="1">
              <a:spLocks/>
            </p:cNvSpPr>
            <p:nvPr/>
          </p:nvSpPr>
          <p:spPr>
            <a:xfrm>
              <a:off x="7791331" y="1379013"/>
              <a:ext cx="743224" cy="268279"/>
            </a:xfrm>
            <a:prstGeom prst="rect">
              <a:avLst/>
            </a:prstGeom>
          </p:spPr>
          <p:txBody>
            <a:bodyPr vert="horz" wrap="square" lIns="0" tIns="0" rIns="0" bIns="0" rtlCol="0">
              <a:spAutoFit/>
            </a:bodyPr>
            <a:lstStyle>
              <a:lvl1pPr marL="287338" indent="-287338" algn="l" defTabSz="914400" rtl="0" eaLnBrk="1" latinLnBrk="0" hangingPunct="1">
                <a:lnSpc>
                  <a:spcPct val="120000"/>
                </a:lnSpc>
                <a:spcBef>
                  <a:spcPts val="200"/>
                </a:spcBef>
                <a:buClr>
                  <a:schemeClr val="tx2"/>
                </a:buClr>
                <a:buSzPct val="100000"/>
                <a:buFont typeface="Arial" panose="020B0604020202020204" pitchFamily="34" charset="0"/>
                <a:buChar char="•"/>
                <a:tabLst/>
                <a:defRPr sz="2000" b="0" kern="1200">
                  <a:solidFill>
                    <a:schemeClr val="tx1"/>
                  </a:solidFill>
                  <a:latin typeface="+mn-lt"/>
                  <a:ea typeface="+mn-ea"/>
                  <a:cs typeface="+mn-cs"/>
                  <a:sym typeface="+mn-lt"/>
                </a:defRPr>
              </a:lvl1pPr>
              <a:lvl2pPr marL="519113" marR="0" indent="-284163"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sym typeface="+mn-lt"/>
                </a:defRPr>
              </a:lvl2pPr>
              <a:lvl3pPr marL="692150" marR="0" indent="-22860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sym typeface="+mn-lt"/>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sym typeface="+mn-lt"/>
                </a:defRPr>
              </a:lvl4pPr>
              <a:lvl5pPr marL="1079500" marR="0" indent="-157163"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sym typeface="+mn-l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600" b="1" dirty="0"/>
                <a:t>94 cm</a:t>
              </a:r>
            </a:p>
          </p:txBody>
        </p:sp>
        <p:cxnSp>
          <p:nvCxnSpPr>
            <p:cNvPr id="20" name="Straight Arrow Connector 101">
              <a:extLst>
                <a:ext uri="{FF2B5EF4-FFF2-40B4-BE49-F238E27FC236}">
                  <a16:creationId xmlns:a16="http://schemas.microsoft.com/office/drawing/2014/main" id="{C501565E-BC6F-B934-6DED-3C010D36FC56}"/>
                </a:ext>
              </a:extLst>
            </p:cNvPr>
            <p:cNvCxnSpPr>
              <a:cxnSpLocks/>
            </p:cNvCxnSpPr>
            <p:nvPr/>
          </p:nvCxnSpPr>
          <p:spPr>
            <a:xfrm flipH="1" flipV="1">
              <a:off x="9876003" y="2499998"/>
              <a:ext cx="0" cy="1100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102">
              <a:extLst>
                <a:ext uri="{FF2B5EF4-FFF2-40B4-BE49-F238E27FC236}">
                  <a16:creationId xmlns:a16="http://schemas.microsoft.com/office/drawing/2014/main" id="{90F80F00-2587-3F03-5EE7-D855C53AF896}"/>
                </a:ext>
              </a:extLst>
            </p:cNvPr>
            <p:cNvCxnSpPr>
              <a:cxnSpLocks/>
            </p:cNvCxnSpPr>
            <p:nvPr/>
          </p:nvCxnSpPr>
          <p:spPr>
            <a:xfrm flipH="1" flipV="1">
              <a:off x="9498626" y="1745252"/>
              <a:ext cx="363848" cy="7089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xtBox 63">
              <a:extLst>
                <a:ext uri="{FF2B5EF4-FFF2-40B4-BE49-F238E27FC236}">
                  <a16:creationId xmlns:a16="http://schemas.microsoft.com/office/drawing/2014/main" id="{888D1A7D-9CB8-7B16-A9CE-8EEF4E884725}"/>
                </a:ext>
              </a:extLst>
            </p:cNvPr>
            <p:cNvSpPr txBox="1">
              <a:spLocks/>
            </p:cNvSpPr>
            <p:nvPr/>
          </p:nvSpPr>
          <p:spPr>
            <a:xfrm flipH="1">
              <a:off x="9815221" y="1892384"/>
              <a:ext cx="743224" cy="268279"/>
            </a:xfrm>
            <a:prstGeom prst="rect">
              <a:avLst/>
            </a:prstGeom>
          </p:spPr>
          <p:txBody>
            <a:bodyPr vert="horz" wrap="square" lIns="0" tIns="0" rIns="0" bIns="0" rtlCol="0">
              <a:spAutoFit/>
            </a:bodyPr>
            <a:lstStyle>
              <a:lvl1pPr marL="287338" indent="-287338" algn="l" defTabSz="914400" rtl="0" eaLnBrk="1" latinLnBrk="0" hangingPunct="1">
                <a:lnSpc>
                  <a:spcPct val="120000"/>
                </a:lnSpc>
                <a:spcBef>
                  <a:spcPts val="200"/>
                </a:spcBef>
                <a:buClr>
                  <a:schemeClr val="tx2"/>
                </a:buClr>
                <a:buSzPct val="100000"/>
                <a:buFont typeface="Arial" panose="020B0604020202020204" pitchFamily="34" charset="0"/>
                <a:buChar char="•"/>
                <a:tabLst/>
                <a:defRPr sz="2000" b="0" kern="1200">
                  <a:solidFill>
                    <a:schemeClr val="tx1"/>
                  </a:solidFill>
                  <a:latin typeface="+mn-lt"/>
                  <a:ea typeface="+mn-ea"/>
                  <a:cs typeface="+mn-cs"/>
                  <a:sym typeface="+mn-lt"/>
                </a:defRPr>
              </a:lvl1pPr>
              <a:lvl2pPr marL="519113" marR="0" indent="-284163"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sym typeface="+mn-lt"/>
                </a:defRPr>
              </a:lvl2pPr>
              <a:lvl3pPr marL="692150" marR="0" indent="-22860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sym typeface="+mn-lt"/>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sym typeface="+mn-lt"/>
                </a:defRPr>
              </a:lvl4pPr>
              <a:lvl5pPr marL="1079500" marR="0" indent="-157163"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sym typeface="+mn-l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dirty="0"/>
                <a:t>70 cm</a:t>
              </a:r>
            </a:p>
          </p:txBody>
        </p:sp>
        <p:sp>
          <p:nvSpPr>
            <p:cNvPr id="23" name="TextBox 63">
              <a:extLst>
                <a:ext uri="{FF2B5EF4-FFF2-40B4-BE49-F238E27FC236}">
                  <a16:creationId xmlns:a16="http://schemas.microsoft.com/office/drawing/2014/main" id="{E465E17A-E9E6-0897-5B95-BBC60FF06BAE}"/>
                </a:ext>
              </a:extLst>
            </p:cNvPr>
            <p:cNvSpPr txBox="1">
              <a:spLocks/>
            </p:cNvSpPr>
            <p:nvPr/>
          </p:nvSpPr>
          <p:spPr>
            <a:xfrm flipH="1">
              <a:off x="9954396" y="2916113"/>
              <a:ext cx="743224" cy="268279"/>
            </a:xfrm>
            <a:prstGeom prst="rect">
              <a:avLst/>
            </a:prstGeom>
          </p:spPr>
          <p:txBody>
            <a:bodyPr vert="horz" wrap="square" lIns="0" tIns="0" rIns="0" bIns="0" rtlCol="0">
              <a:spAutoFit/>
            </a:bodyPr>
            <a:lstStyle>
              <a:lvl1pPr marL="287338" indent="-287338" algn="l" defTabSz="914400" rtl="0" eaLnBrk="1" latinLnBrk="0" hangingPunct="1">
                <a:lnSpc>
                  <a:spcPct val="120000"/>
                </a:lnSpc>
                <a:spcBef>
                  <a:spcPts val="200"/>
                </a:spcBef>
                <a:buClr>
                  <a:schemeClr val="tx2"/>
                </a:buClr>
                <a:buSzPct val="100000"/>
                <a:buFont typeface="Arial" panose="020B0604020202020204" pitchFamily="34" charset="0"/>
                <a:buChar char="•"/>
                <a:tabLst/>
                <a:defRPr sz="2000" b="0" kern="1200">
                  <a:solidFill>
                    <a:schemeClr val="tx1"/>
                  </a:solidFill>
                  <a:latin typeface="+mn-lt"/>
                  <a:ea typeface="+mn-ea"/>
                  <a:cs typeface="+mn-cs"/>
                  <a:sym typeface="+mn-lt"/>
                </a:defRPr>
              </a:lvl1pPr>
              <a:lvl2pPr marL="519113" marR="0" indent="-284163"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sym typeface="+mn-lt"/>
                </a:defRPr>
              </a:lvl2pPr>
              <a:lvl3pPr marL="692150" marR="0" indent="-22860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sym typeface="+mn-lt"/>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sym typeface="+mn-lt"/>
                </a:defRPr>
              </a:lvl4pPr>
              <a:lvl5pPr marL="1079500" marR="0" indent="-157163"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sym typeface="+mn-l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dirty="0"/>
                <a:t>62 cm</a:t>
              </a:r>
            </a:p>
          </p:txBody>
        </p:sp>
      </p:grpSp>
      <p:grpSp>
        <p:nvGrpSpPr>
          <p:cNvPr id="24" name="Group 105">
            <a:extLst>
              <a:ext uri="{FF2B5EF4-FFF2-40B4-BE49-F238E27FC236}">
                <a16:creationId xmlns:a16="http://schemas.microsoft.com/office/drawing/2014/main" id="{0F0E7081-39A5-D7C3-A9AC-650A4F2B70AF}"/>
              </a:ext>
            </a:extLst>
          </p:cNvPr>
          <p:cNvGrpSpPr>
            <a:grpSpLocks noChangeAspect="1"/>
          </p:cNvGrpSpPr>
          <p:nvPr/>
        </p:nvGrpSpPr>
        <p:grpSpPr>
          <a:xfrm>
            <a:off x="10292953" y="893063"/>
            <a:ext cx="1608310" cy="584939"/>
            <a:chOff x="343668" y="1851251"/>
            <a:chExt cx="11514733" cy="4187886"/>
          </a:xfrm>
        </p:grpSpPr>
        <p:sp>
          <p:nvSpPr>
            <p:cNvPr id="25" name="Rectangle 106">
              <a:extLst>
                <a:ext uri="{FF2B5EF4-FFF2-40B4-BE49-F238E27FC236}">
                  <a16:creationId xmlns:a16="http://schemas.microsoft.com/office/drawing/2014/main" id="{752FC5DA-EF39-7D45-DBE6-7DCA05BA6490}"/>
                </a:ext>
              </a:extLst>
            </p:cNvPr>
            <p:cNvSpPr/>
            <p:nvPr/>
          </p:nvSpPr>
          <p:spPr bwMode="auto">
            <a:xfrm>
              <a:off x="343668" y="4455137"/>
              <a:ext cx="3139200" cy="1584000"/>
            </a:xfrm>
            <a:prstGeom prst="rect">
              <a:avLst/>
            </a:prstGeom>
            <a:solidFill>
              <a:schemeClr val="tx2">
                <a:lumMod val="75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26" name="Rectangle 107">
              <a:extLst>
                <a:ext uri="{FF2B5EF4-FFF2-40B4-BE49-F238E27FC236}">
                  <a16:creationId xmlns:a16="http://schemas.microsoft.com/office/drawing/2014/main" id="{09CD2584-60B4-34F2-F2D5-C7201FFD255A}"/>
                </a:ext>
              </a:extLst>
            </p:cNvPr>
            <p:cNvSpPr/>
            <p:nvPr/>
          </p:nvSpPr>
          <p:spPr bwMode="auto">
            <a:xfrm>
              <a:off x="4296205" y="4455137"/>
              <a:ext cx="3139200" cy="1584000"/>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27" name="Rectangle 108">
              <a:extLst>
                <a:ext uri="{FF2B5EF4-FFF2-40B4-BE49-F238E27FC236}">
                  <a16:creationId xmlns:a16="http://schemas.microsoft.com/office/drawing/2014/main" id="{4D508CE7-0137-9462-E0E1-D59FA6CA662C}"/>
                </a:ext>
              </a:extLst>
            </p:cNvPr>
            <p:cNvSpPr/>
            <p:nvPr/>
          </p:nvSpPr>
          <p:spPr bwMode="auto">
            <a:xfrm>
              <a:off x="8258401" y="4455137"/>
              <a:ext cx="3139200" cy="1584000"/>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28" name="Parallelogram 109">
              <a:extLst>
                <a:ext uri="{FF2B5EF4-FFF2-40B4-BE49-F238E27FC236}">
                  <a16:creationId xmlns:a16="http://schemas.microsoft.com/office/drawing/2014/main" id="{06449121-15AD-4FCB-525F-4FE50F0ED34C}"/>
                </a:ext>
              </a:extLst>
            </p:cNvPr>
            <p:cNvSpPr/>
            <p:nvPr/>
          </p:nvSpPr>
          <p:spPr bwMode="auto">
            <a:xfrm>
              <a:off x="343668" y="3028232"/>
              <a:ext cx="3600000" cy="1440000"/>
            </a:xfrm>
            <a:prstGeom prst="parallelogram">
              <a:avLst>
                <a:gd name="adj" fmla="val 31844"/>
              </a:avLst>
            </a:prstGeom>
            <a:solidFill>
              <a:schemeClr val="tx2"/>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29" name="Group 110">
              <a:extLst>
                <a:ext uri="{FF2B5EF4-FFF2-40B4-BE49-F238E27FC236}">
                  <a16:creationId xmlns:a16="http://schemas.microsoft.com/office/drawing/2014/main" id="{BF2CC633-AACB-C212-442C-A68466F4A638}"/>
                </a:ext>
              </a:extLst>
            </p:cNvPr>
            <p:cNvGrpSpPr/>
            <p:nvPr/>
          </p:nvGrpSpPr>
          <p:grpSpPr>
            <a:xfrm>
              <a:off x="1571478" y="1851251"/>
              <a:ext cx="1504370" cy="1504370"/>
              <a:chOff x="5343815" y="1101555"/>
              <a:chExt cx="1504370" cy="1504370"/>
            </a:xfrm>
          </p:grpSpPr>
          <p:sp>
            <p:nvSpPr>
              <p:cNvPr id="41" name="Freeform: Shape 122">
                <a:extLst>
                  <a:ext uri="{FF2B5EF4-FFF2-40B4-BE49-F238E27FC236}">
                    <a16:creationId xmlns:a16="http://schemas.microsoft.com/office/drawing/2014/main" id="{8B172850-00E3-58D0-7504-205C13850044}"/>
                  </a:ext>
                </a:extLst>
              </p:cNvPr>
              <p:cNvSpPr/>
              <p:nvPr/>
            </p:nvSpPr>
            <p:spPr>
              <a:xfrm>
                <a:off x="5343815" y="1101555"/>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tx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marL="0" lvl="0" indent="0" algn="ctr" defTabSz="1289050">
                  <a:lnSpc>
                    <a:spcPct val="90000"/>
                  </a:lnSpc>
                  <a:spcBef>
                    <a:spcPct val="0"/>
                  </a:spcBef>
                  <a:spcAft>
                    <a:spcPct val="35000"/>
                  </a:spcAft>
                  <a:buNone/>
                </a:pPr>
                <a:endParaRPr lang="en-US" sz="2900" kern="1200"/>
              </a:p>
            </p:txBody>
          </p:sp>
          <p:pic>
            <p:nvPicPr>
              <p:cNvPr id="42" name="Graphic 123">
                <a:extLst>
                  <a:ext uri="{FF2B5EF4-FFF2-40B4-BE49-F238E27FC236}">
                    <a16:creationId xmlns:a16="http://schemas.microsoft.com/office/drawing/2014/main" id="{84E10F4E-1707-6EF6-7051-C742E0F9989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23810" y="1281550"/>
                <a:ext cx="1144381" cy="1144381"/>
              </a:xfrm>
              <a:prstGeom prst="rect">
                <a:avLst/>
              </a:prstGeom>
            </p:spPr>
          </p:pic>
        </p:grpSp>
        <p:sp>
          <p:nvSpPr>
            <p:cNvPr id="30" name="Parallelogram 111">
              <a:extLst>
                <a:ext uri="{FF2B5EF4-FFF2-40B4-BE49-F238E27FC236}">
                  <a16:creationId xmlns:a16="http://schemas.microsoft.com/office/drawing/2014/main" id="{03016D7E-E190-CC94-511E-3321871C0F4D}"/>
                </a:ext>
              </a:extLst>
            </p:cNvPr>
            <p:cNvSpPr/>
            <p:nvPr/>
          </p:nvSpPr>
          <p:spPr bwMode="auto">
            <a:xfrm>
              <a:off x="8258401" y="3028232"/>
              <a:ext cx="3600000" cy="1440000"/>
            </a:xfrm>
            <a:prstGeom prst="parallelogram">
              <a:avLst>
                <a:gd name="adj" fmla="val 31844"/>
              </a:avLst>
            </a:prstGeom>
            <a:solidFill>
              <a:schemeClr val="bg2">
                <a:lumMod val="75000"/>
              </a:schemeClr>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31" name="Group 112">
              <a:extLst>
                <a:ext uri="{FF2B5EF4-FFF2-40B4-BE49-F238E27FC236}">
                  <a16:creationId xmlns:a16="http://schemas.microsoft.com/office/drawing/2014/main" id="{15FB5CD1-64A8-03C5-EAA2-29EBB07EC3F2}"/>
                </a:ext>
              </a:extLst>
            </p:cNvPr>
            <p:cNvGrpSpPr/>
            <p:nvPr/>
          </p:nvGrpSpPr>
          <p:grpSpPr>
            <a:xfrm>
              <a:off x="9486211" y="1851251"/>
              <a:ext cx="1504370" cy="1504370"/>
              <a:chOff x="7167592" y="4260429"/>
              <a:chExt cx="1504370" cy="1504370"/>
            </a:xfrm>
          </p:grpSpPr>
          <p:sp>
            <p:nvSpPr>
              <p:cNvPr id="39" name="Freeform: Shape 120">
                <a:extLst>
                  <a:ext uri="{FF2B5EF4-FFF2-40B4-BE49-F238E27FC236}">
                    <a16:creationId xmlns:a16="http://schemas.microsoft.com/office/drawing/2014/main" id="{8A340C4A-591A-152B-2E7F-E5C5415D28E2}"/>
                  </a:ext>
                </a:extLst>
              </p:cNvPr>
              <p:cNvSpPr/>
              <p:nvPr/>
            </p:nvSpPr>
            <p:spPr>
              <a:xfrm>
                <a:off x="7167592" y="4260429"/>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marL="0" lvl="0" indent="0" algn="ctr" defTabSz="1289050">
                  <a:lnSpc>
                    <a:spcPct val="90000"/>
                  </a:lnSpc>
                  <a:spcBef>
                    <a:spcPct val="0"/>
                  </a:spcBef>
                  <a:spcAft>
                    <a:spcPct val="35000"/>
                  </a:spcAft>
                  <a:buNone/>
                </a:pPr>
                <a:endParaRPr lang="en-US" sz="2900" kern="1200"/>
              </a:p>
            </p:txBody>
          </p:sp>
          <p:pic>
            <p:nvPicPr>
              <p:cNvPr id="40" name="Graphic 121">
                <a:extLst>
                  <a:ext uri="{FF2B5EF4-FFF2-40B4-BE49-F238E27FC236}">
                    <a16:creationId xmlns:a16="http://schemas.microsoft.com/office/drawing/2014/main" id="{889D6FD8-6C08-5F06-BE86-22446F9F230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347587" y="4440424"/>
                <a:ext cx="1144381" cy="1144381"/>
              </a:xfrm>
              <a:prstGeom prst="rect">
                <a:avLst/>
              </a:prstGeom>
            </p:spPr>
          </p:pic>
        </p:grpSp>
        <p:sp>
          <p:nvSpPr>
            <p:cNvPr id="32" name="Parallelogram 113">
              <a:extLst>
                <a:ext uri="{FF2B5EF4-FFF2-40B4-BE49-F238E27FC236}">
                  <a16:creationId xmlns:a16="http://schemas.microsoft.com/office/drawing/2014/main" id="{D46014B4-D276-E2AF-D90A-C56A812AB616}"/>
                </a:ext>
              </a:extLst>
            </p:cNvPr>
            <p:cNvSpPr/>
            <p:nvPr/>
          </p:nvSpPr>
          <p:spPr bwMode="auto">
            <a:xfrm>
              <a:off x="4296205" y="3028232"/>
              <a:ext cx="3600000" cy="1440000"/>
            </a:xfrm>
            <a:prstGeom prst="parallelogram">
              <a:avLst>
                <a:gd name="adj" fmla="val 31844"/>
              </a:avLst>
            </a:prstGeom>
            <a:solidFill>
              <a:schemeClr val="bg2">
                <a:lumMod val="75000"/>
              </a:schemeClr>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33" name="Group 114">
              <a:extLst>
                <a:ext uri="{FF2B5EF4-FFF2-40B4-BE49-F238E27FC236}">
                  <a16:creationId xmlns:a16="http://schemas.microsoft.com/office/drawing/2014/main" id="{9208E4B4-6735-9395-DB97-410300171E24}"/>
                </a:ext>
              </a:extLst>
            </p:cNvPr>
            <p:cNvGrpSpPr/>
            <p:nvPr/>
          </p:nvGrpSpPr>
          <p:grpSpPr>
            <a:xfrm>
              <a:off x="5528845" y="1851251"/>
              <a:ext cx="1504370" cy="1504370"/>
              <a:chOff x="3520038" y="4260429"/>
              <a:chExt cx="1504370" cy="1504370"/>
            </a:xfrm>
          </p:grpSpPr>
          <p:sp>
            <p:nvSpPr>
              <p:cNvPr id="34" name="Freeform: Shape 115">
                <a:extLst>
                  <a:ext uri="{FF2B5EF4-FFF2-40B4-BE49-F238E27FC236}">
                    <a16:creationId xmlns:a16="http://schemas.microsoft.com/office/drawing/2014/main" id="{D0A96896-58BF-4135-98CB-D247F0B9EB3D}"/>
                  </a:ext>
                </a:extLst>
              </p:cNvPr>
              <p:cNvSpPr/>
              <p:nvPr/>
            </p:nvSpPr>
            <p:spPr>
              <a:xfrm>
                <a:off x="3520038" y="4260429"/>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marL="0" lvl="0" indent="0" algn="ctr" defTabSz="1289050">
                  <a:lnSpc>
                    <a:spcPct val="90000"/>
                  </a:lnSpc>
                  <a:spcBef>
                    <a:spcPct val="0"/>
                  </a:spcBef>
                  <a:spcAft>
                    <a:spcPct val="35000"/>
                  </a:spcAft>
                  <a:buNone/>
                </a:pPr>
                <a:endParaRPr lang="en-US" sz="2900" kern="1200"/>
              </a:p>
            </p:txBody>
          </p:sp>
          <p:grpSp>
            <p:nvGrpSpPr>
              <p:cNvPr id="35" name="Group 116">
                <a:extLst>
                  <a:ext uri="{FF2B5EF4-FFF2-40B4-BE49-F238E27FC236}">
                    <a16:creationId xmlns:a16="http://schemas.microsoft.com/office/drawing/2014/main" id="{59F68BBA-5BD4-0359-B1CA-6BE8EB11EFCA}"/>
                  </a:ext>
                </a:extLst>
              </p:cNvPr>
              <p:cNvGrpSpPr/>
              <p:nvPr/>
            </p:nvGrpSpPr>
            <p:grpSpPr>
              <a:xfrm>
                <a:off x="3886675" y="4548065"/>
                <a:ext cx="756613" cy="987042"/>
                <a:chOff x="3886675" y="4548065"/>
                <a:chExt cx="756613" cy="987042"/>
              </a:xfrm>
            </p:grpSpPr>
            <p:sp>
              <p:nvSpPr>
                <p:cNvPr id="36" name="Freeform: Shape 117">
                  <a:extLst>
                    <a:ext uri="{FF2B5EF4-FFF2-40B4-BE49-F238E27FC236}">
                      <a16:creationId xmlns:a16="http://schemas.microsoft.com/office/drawing/2014/main" id="{4858E552-16AA-AB07-8326-796424DE1721}"/>
                    </a:ext>
                  </a:extLst>
                </p:cNvPr>
                <p:cNvSpPr/>
                <p:nvPr/>
              </p:nvSpPr>
              <p:spPr>
                <a:xfrm>
                  <a:off x="3886675" y="4569787"/>
                  <a:ext cx="756613" cy="965320"/>
                </a:xfrm>
                <a:custGeom>
                  <a:avLst/>
                  <a:gdLst>
                    <a:gd name="connsiteX0" fmla="*/ 469946 w 756613"/>
                    <a:gd name="connsiteY0" fmla="*/ 616988 h 965320"/>
                    <a:gd name="connsiteX1" fmla="*/ 469946 w 756613"/>
                    <a:gd name="connsiteY1" fmla="*/ 628611 h 965320"/>
                    <a:gd name="connsiteX2" fmla="*/ 452959 w 756613"/>
                    <a:gd name="connsiteY2" fmla="*/ 913633 h 965320"/>
                    <a:gd name="connsiteX3" fmla="*/ 459039 w 756613"/>
                    <a:gd name="connsiteY3" fmla="*/ 943315 h 965320"/>
                    <a:gd name="connsiteX4" fmla="*/ 530741 w 756613"/>
                    <a:gd name="connsiteY4" fmla="*/ 948680 h 965320"/>
                    <a:gd name="connsiteX5" fmla="*/ 539682 w 756613"/>
                    <a:gd name="connsiteY5" fmla="*/ 923646 h 965320"/>
                    <a:gd name="connsiteX6" fmla="*/ 556669 w 756613"/>
                    <a:gd name="connsiteY6" fmla="*/ 747340 h 965320"/>
                    <a:gd name="connsiteX7" fmla="*/ 564894 w 756613"/>
                    <a:gd name="connsiteY7" fmla="*/ 660081 h 965320"/>
                    <a:gd name="connsiteX8" fmla="*/ 566682 w 756613"/>
                    <a:gd name="connsiteY8" fmla="*/ 651498 h 965320"/>
                    <a:gd name="connsiteX9" fmla="*/ 573656 w 756613"/>
                    <a:gd name="connsiteY9" fmla="*/ 660975 h 965320"/>
                    <a:gd name="connsiteX10" fmla="*/ 673074 w 756613"/>
                    <a:gd name="connsiteY10" fmla="*/ 828162 h 965320"/>
                    <a:gd name="connsiteX11" fmla="*/ 701683 w 756613"/>
                    <a:gd name="connsiteY11" fmla="*/ 851228 h 965320"/>
                    <a:gd name="connsiteX12" fmla="*/ 756578 w 756613"/>
                    <a:gd name="connsiteY12" fmla="*/ 814572 h 965320"/>
                    <a:gd name="connsiteX13" fmla="*/ 749425 w 756613"/>
                    <a:gd name="connsiteY13" fmla="*/ 783460 h 965320"/>
                    <a:gd name="connsiteX14" fmla="*/ 602802 w 756613"/>
                    <a:gd name="connsiteY14" fmla="*/ 530444 h 965320"/>
                    <a:gd name="connsiteX15" fmla="*/ 538251 w 756613"/>
                    <a:gd name="connsiteY15" fmla="*/ 499152 h 965320"/>
                    <a:gd name="connsiteX16" fmla="*/ 425422 w 756613"/>
                    <a:gd name="connsiteY16" fmla="*/ 519179 h 965320"/>
                    <a:gd name="connsiteX17" fmla="*/ 419164 w 756613"/>
                    <a:gd name="connsiteY17" fmla="*/ 520073 h 965320"/>
                    <a:gd name="connsiteX18" fmla="*/ 388945 w 756613"/>
                    <a:gd name="connsiteY18" fmla="*/ 304071 h 965320"/>
                    <a:gd name="connsiteX19" fmla="*/ 401104 w 756613"/>
                    <a:gd name="connsiteY19" fmla="*/ 279574 h 965320"/>
                    <a:gd name="connsiteX20" fmla="*/ 528059 w 756613"/>
                    <a:gd name="connsiteY20" fmla="*/ 192315 h 965320"/>
                    <a:gd name="connsiteX21" fmla="*/ 550947 w 756613"/>
                    <a:gd name="connsiteY21" fmla="*/ 154408 h 965320"/>
                    <a:gd name="connsiteX22" fmla="*/ 527523 w 756613"/>
                    <a:gd name="connsiteY22" fmla="*/ 118646 h 965320"/>
                    <a:gd name="connsiteX23" fmla="*/ 369634 w 756613"/>
                    <a:gd name="connsiteY23" fmla="*/ 37645 h 965320"/>
                    <a:gd name="connsiteX24" fmla="*/ 358727 w 756613"/>
                    <a:gd name="connsiteY24" fmla="*/ 34784 h 965320"/>
                    <a:gd name="connsiteX25" fmla="*/ 334587 w 756613"/>
                    <a:gd name="connsiteY25" fmla="*/ 24056 h 965320"/>
                    <a:gd name="connsiteX26" fmla="*/ 198156 w 756613"/>
                    <a:gd name="connsiteY26" fmla="*/ 41042 h 965320"/>
                    <a:gd name="connsiteX27" fmla="*/ 181526 w 756613"/>
                    <a:gd name="connsiteY27" fmla="*/ 55526 h 965320"/>
                    <a:gd name="connsiteX28" fmla="*/ 24532 w 756613"/>
                    <a:gd name="connsiteY28" fmla="*/ 137600 h 965320"/>
                    <a:gd name="connsiteX29" fmla="*/ 11478 w 756613"/>
                    <a:gd name="connsiteY29" fmla="*/ 202507 h 965320"/>
                    <a:gd name="connsiteX30" fmla="*/ 30611 w 756613"/>
                    <a:gd name="connsiteY30" fmla="*/ 218421 h 965320"/>
                    <a:gd name="connsiteX31" fmla="*/ 152023 w 756613"/>
                    <a:gd name="connsiteY31" fmla="*/ 303535 h 965320"/>
                    <a:gd name="connsiteX32" fmla="*/ 179917 w 756613"/>
                    <a:gd name="connsiteY32" fmla="*/ 352350 h 965320"/>
                    <a:gd name="connsiteX33" fmla="*/ 223725 w 756613"/>
                    <a:gd name="connsiteY33" fmla="*/ 618597 h 965320"/>
                    <a:gd name="connsiteX34" fmla="*/ 304547 w 756613"/>
                    <a:gd name="connsiteY34" fmla="*/ 664372 h 965320"/>
                    <a:gd name="connsiteX35" fmla="*/ 459754 w 756613"/>
                    <a:gd name="connsiteY35" fmla="*/ 619670 h 965320"/>
                    <a:gd name="connsiteX36" fmla="*/ 469946 w 756613"/>
                    <a:gd name="connsiteY36" fmla="*/ 616988 h 965320"/>
                    <a:gd name="connsiteX37" fmla="*/ 190288 w 756613"/>
                    <a:gd name="connsiteY37" fmla="*/ 126513 h 965320"/>
                    <a:gd name="connsiteX38" fmla="*/ 280944 w 756613"/>
                    <a:gd name="connsiteY38" fmla="*/ 164063 h 965320"/>
                    <a:gd name="connsiteX39" fmla="*/ 358190 w 756613"/>
                    <a:gd name="connsiteY39" fmla="*/ 108632 h 965320"/>
                    <a:gd name="connsiteX40" fmla="*/ 447058 w 756613"/>
                    <a:gd name="connsiteY40" fmla="*/ 155302 h 965320"/>
                    <a:gd name="connsiteX41" fmla="*/ 353541 w 756613"/>
                    <a:gd name="connsiteY41" fmla="*/ 205011 h 965320"/>
                    <a:gd name="connsiteX42" fmla="*/ 341203 w 756613"/>
                    <a:gd name="connsiteY42" fmla="*/ 209481 h 965320"/>
                    <a:gd name="connsiteX43" fmla="*/ 201195 w 756613"/>
                    <a:gd name="connsiteY43" fmla="*/ 223965 h 965320"/>
                    <a:gd name="connsiteX44" fmla="*/ 192612 w 756613"/>
                    <a:gd name="connsiteY44" fmla="*/ 222534 h 965320"/>
                    <a:gd name="connsiteX45" fmla="*/ 113042 w 756613"/>
                    <a:gd name="connsiteY45" fmla="*/ 181944 h 965320"/>
                    <a:gd name="connsiteX46" fmla="*/ 106069 w 756613"/>
                    <a:gd name="connsiteY46" fmla="*/ 177474 h 965320"/>
                    <a:gd name="connsiteX47" fmla="*/ 190288 w 756613"/>
                    <a:gd name="connsiteY47" fmla="*/ 126513 h 96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56613" h="965320">
                      <a:moveTo>
                        <a:pt x="469946" y="616988"/>
                      </a:moveTo>
                      <a:cubicBezTo>
                        <a:pt x="469946" y="621637"/>
                        <a:pt x="469946" y="625213"/>
                        <a:pt x="469946" y="628611"/>
                      </a:cubicBezTo>
                      <a:cubicBezTo>
                        <a:pt x="467979" y="724274"/>
                        <a:pt x="454390" y="817970"/>
                        <a:pt x="452959" y="913633"/>
                      </a:cubicBezTo>
                      <a:cubicBezTo>
                        <a:pt x="452780" y="923468"/>
                        <a:pt x="454747" y="934375"/>
                        <a:pt x="459039" y="943315"/>
                      </a:cubicBezTo>
                      <a:cubicBezTo>
                        <a:pt x="471734" y="969779"/>
                        <a:pt x="514827" y="973355"/>
                        <a:pt x="530741" y="948680"/>
                      </a:cubicBezTo>
                      <a:cubicBezTo>
                        <a:pt x="535390" y="941348"/>
                        <a:pt x="538788" y="932229"/>
                        <a:pt x="539682" y="923646"/>
                      </a:cubicBezTo>
                      <a:cubicBezTo>
                        <a:pt x="545761" y="864997"/>
                        <a:pt x="551126" y="806168"/>
                        <a:pt x="556669" y="747340"/>
                      </a:cubicBezTo>
                      <a:cubicBezTo>
                        <a:pt x="559351" y="718194"/>
                        <a:pt x="562033" y="689227"/>
                        <a:pt x="564894" y="660081"/>
                      </a:cubicBezTo>
                      <a:cubicBezTo>
                        <a:pt x="565073" y="657578"/>
                        <a:pt x="565788" y="655253"/>
                        <a:pt x="566682" y="651498"/>
                      </a:cubicBezTo>
                      <a:cubicBezTo>
                        <a:pt x="569543" y="655432"/>
                        <a:pt x="571689" y="658114"/>
                        <a:pt x="573656" y="660975"/>
                      </a:cubicBezTo>
                      <a:cubicBezTo>
                        <a:pt x="610312" y="714439"/>
                        <a:pt x="636418" y="774698"/>
                        <a:pt x="673074" y="828162"/>
                      </a:cubicBezTo>
                      <a:cubicBezTo>
                        <a:pt x="680405" y="838712"/>
                        <a:pt x="689167" y="847295"/>
                        <a:pt x="701683" y="851228"/>
                      </a:cubicBezTo>
                      <a:cubicBezTo>
                        <a:pt x="724034" y="858381"/>
                        <a:pt x="756041" y="837997"/>
                        <a:pt x="756578" y="814572"/>
                      </a:cubicBezTo>
                      <a:cubicBezTo>
                        <a:pt x="756935" y="804202"/>
                        <a:pt x="754611" y="792400"/>
                        <a:pt x="749425" y="783460"/>
                      </a:cubicBezTo>
                      <a:cubicBezTo>
                        <a:pt x="701147" y="698704"/>
                        <a:pt x="652332" y="614485"/>
                        <a:pt x="602802" y="530444"/>
                      </a:cubicBezTo>
                      <a:cubicBezTo>
                        <a:pt x="588676" y="506484"/>
                        <a:pt x="567397" y="493967"/>
                        <a:pt x="538251" y="499152"/>
                      </a:cubicBezTo>
                      <a:cubicBezTo>
                        <a:pt x="499450" y="506126"/>
                        <a:pt x="464224" y="512384"/>
                        <a:pt x="425422" y="519179"/>
                      </a:cubicBezTo>
                      <a:cubicBezTo>
                        <a:pt x="423813" y="519537"/>
                        <a:pt x="422383" y="519716"/>
                        <a:pt x="419164" y="520073"/>
                      </a:cubicBezTo>
                      <a:cubicBezTo>
                        <a:pt x="415588" y="501477"/>
                        <a:pt x="394846" y="357535"/>
                        <a:pt x="388945" y="304071"/>
                      </a:cubicBezTo>
                      <a:cubicBezTo>
                        <a:pt x="387515" y="291912"/>
                        <a:pt x="390376" y="286190"/>
                        <a:pt x="401104" y="279574"/>
                      </a:cubicBezTo>
                      <a:cubicBezTo>
                        <a:pt x="447953" y="250965"/>
                        <a:pt x="481926" y="221998"/>
                        <a:pt x="528059" y="192315"/>
                      </a:cubicBezTo>
                      <a:cubicBezTo>
                        <a:pt x="541649" y="183554"/>
                        <a:pt x="550589" y="171216"/>
                        <a:pt x="550947" y="154408"/>
                      </a:cubicBezTo>
                      <a:cubicBezTo>
                        <a:pt x="551126" y="145825"/>
                        <a:pt x="545046" y="127944"/>
                        <a:pt x="527523" y="118646"/>
                      </a:cubicBezTo>
                      <a:cubicBezTo>
                        <a:pt x="466728" y="86818"/>
                        <a:pt x="430250" y="69473"/>
                        <a:pt x="369634" y="37645"/>
                      </a:cubicBezTo>
                      <a:cubicBezTo>
                        <a:pt x="366415" y="35857"/>
                        <a:pt x="361945" y="34069"/>
                        <a:pt x="358727" y="34784"/>
                      </a:cubicBezTo>
                      <a:cubicBezTo>
                        <a:pt x="347283" y="37824"/>
                        <a:pt x="341561" y="30671"/>
                        <a:pt x="334587" y="24056"/>
                      </a:cubicBezTo>
                      <a:cubicBezTo>
                        <a:pt x="293819" y="-14031"/>
                        <a:pt x="228196" y="-5806"/>
                        <a:pt x="198156" y="41042"/>
                      </a:cubicBezTo>
                      <a:cubicBezTo>
                        <a:pt x="193864" y="47837"/>
                        <a:pt x="189036" y="52129"/>
                        <a:pt x="181526" y="55526"/>
                      </a:cubicBezTo>
                      <a:cubicBezTo>
                        <a:pt x="164897" y="63036"/>
                        <a:pt x="36333" y="131520"/>
                        <a:pt x="24532" y="137600"/>
                      </a:cubicBezTo>
                      <a:cubicBezTo>
                        <a:pt x="-3363" y="152083"/>
                        <a:pt x="-7118" y="182838"/>
                        <a:pt x="11478" y="202507"/>
                      </a:cubicBezTo>
                      <a:cubicBezTo>
                        <a:pt x="17200" y="208587"/>
                        <a:pt x="23637" y="213951"/>
                        <a:pt x="30611" y="218421"/>
                      </a:cubicBezTo>
                      <a:cubicBezTo>
                        <a:pt x="77459" y="248819"/>
                        <a:pt x="152023" y="303535"/>
                        <a:pt x="152023" y="303535"/>
                      </a:cubicBezTo>
                      <a:cubicBezTo>
                        <a:pt x="170261" y="314085"/>
                        <a:pt x="177235" y="330177"/>
                        <a:pt x="179917" y="352350"/>
                      </a:cubicBezTo>
                      <a:cubicBezTo>
                        <a:pt x="181169" y="361827"/>
                        <a:pt x="223725" y="618597"/>
                        <a:pt x="223725" y="618597"/>
                      </a:cubicBezTo>
                      <a:cubicBezTo>
                        <a:pt x="233202" y="656505"/>
                        <a:pt x="266818" y="675101"/>
                        <a:pt x="304547" y="664372"/>
                      </a:cubicBezTo>
                      <a:cubicBezTo>
                        <a:pt x="356402" y="649531"/>
                        <a:pt x="408078" y="634511"/>
                        <a:pt x="459754" y="619670"/>
                      </a:cubicBezTo>
                      <a:cubicBezTo>
                        <a:pt x="462257" y="619134"/>
                        <a:pt x="465297" y="618240"/>
                        <a:pt x="469946" y="616988"/>
                      </a:cubicBezTo>
                      <a:close/>
                      <a:moveTo>
                        <a:pt x="190288" y="126513"/>
                      </a:moveTo>
                      <a:cubicBezTo>
                        <a:pt x="210136" y="166030"/>
                        <a:pt x="236778" y="168891"/>
                        <a:pt x="280944" y="164063"/>
                      </a:cubicBezTo>
                      <a:cubicBezTo>
                        <a:pt x="326720" y="159057"/>
                        <a:pt x="346567" y="140818"/>
                        <a:pt x="358190" y="108632"/>
                      </a:cubicBezTo>
                      <a:cubicBezTo>
                        <a:pt x="366237" y="111493"/>
                        <a:pt x="417018" y="137421"/>
                        <a:pt x="447058" y="155302"/>
                      </a:cubicBezTo>
                      <a:cubicBezTo>
                        <a:pt x="443661" y="157269"/>
                        <a:pt x="383760" y="189097"/>
                        <a:pt x="353541" y="205011"/>
                      </a:cubicBezTo>
                      <a:cubicBezTo>
                        <a:pt x="348713" y="207514"/>
                        <a:pt x="341203" y="209481"/>
                        <a:pt x="341203" y="209481"/>
                      </a:cubicBezTo>
                      <a:lnTo>
                        <a:pt x="201195" y="223965"/>
                      </a:lnTo>
                      <a:cubicBezTo>
                        <a:pt x="199586" y="225216"/>
                        <a:pt x="195116" y="223786"/>
                        <a:pt x="192612" y="222534"/>
                      </a:cubicBezTo>
                      <a:cubicBezTo>
                        <a:pt x="165970" y="209123"/>
                        <a:pt x="139506" y="195534"/>
                        <a:pt x="113042" y="181944"/>
                      </a:cubicBezTo>
                      <a:cubicBezTo>
                        <a:pt x="110896" y="180871"/>
                        <a:pt x="108930" y="179441"/>
                        <a:pt x="106069" y="177474"/>
                      </a:cubicBezTo>
                      <a:cubicBezTo>
                        <a:pt x="143797" y="152620"/>
                        <a:pt x="183314" y="130805"/>
                        <a:pt x="190288" y="126513"/>
                      </a:cubicBezTo>
                      <a:close/>
                    </a:path>
                  </a:pathLst>
                </a:custGeom>
                <a:solidFill>
                  <a:schemeClr val="bg1"/>
                </a:solidFill>
                <a:ln w="17859" cap="flat">
                  <a:noFill/>
                  <a:prstDash val="solid"/>
                  <a:miter/>
                </a:ln>
              </p:spPr>
              <p:txBody>
                <a:bodyPr rtlCol="0" anchor="ctr"/>
                <a:lstStyle/>
                <a:p>
                  <a:endParaRPr lang="en-US"/>
                </a:p>
              </p:txBody>
            </p:sp>
            <p:sp>
              <p:nvSpPr>
                <p:cNvPr id="37" name="Freeform: Shape 118">
                  <a:extLst>
                    <a:ext uri="{FF2B5EF4-FFF2-40B4-BE49-F238E27FC236}">
                      <a16:creationId xmlns:a16="http://schemas.microsoft.com/office/drawing/2014/main" id="{504756F6-3D44-171A-7933-EF7BCEC1A82B}"/>
                    </a:ext>
                  </a:extLst>
                </p:cNvPr>
                <p:cNvSpPr/>
                <p:nvPr/>
              </p:nvSpPr>
              <p:spPr>
                <a:xfrm>
                  <a:off x="4054433" y="4548065"/>
                  <a:ext cx="203306" cy="202065"/>
                </a:xfrm>
                <a:custGeom>
                  <a:avLst/>
                  <a:gdLst>
                    <a:gd name="connsiteX0" fmla="*/ 100670 w 203306"/>
                    <a:gd name="connsiteY0" fmla="*/ 2 h 202065"/>
                    <a:gd name="connsiteX1" fmla="*/ 203306 w 203306"/>
                    <a:gd name="connsiteY1" fmla="*/ 100851 h 202065"/>
                    <a:gd name="connsiteX2" fmla="*/ 102637 w 203306"/>
                    <a:gd name="connsiteY2" fmla="*/ 202057 h 202065"/>
                    <a:gd name="connsiteX3" fmla="*/ 0 w 203306"/>
                    <a:gd name="connsiteY3" fmla="*/ 100493 h 202065"/>
                    <a:gd name="connsiteX4" fmla="*/ 100670 w 203306"/>
                    <a:gd name="connsiteY4" fmla="*/ 2 h 202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306" h="202065">
                      <a:moveTo>
                        <a:pt x="100670" y="2"/>
                      </a:moveTo>
                      <a:cubicBezTo>
                        <a:pt x="157889" y="-355"/>
                        <a:pt x="203306" y="44347"/>
                        <a:pt x="203306" y="100851"/>
                      </a:cubicBezTo>
                      <a:cubicBezTo>
                        <a:pt x="203128" y="156103"/>
                        <a:pt x="158246" y="201163"/>
                        <a:pt x="102637" y="202057"/>
                      </a:cubicBezTo>
                      <a:cubicBezTo>
                        <a:pt x="46669" y="202772"/>
                        <a:pt x="0" y="156639"/>
                        <a:pt x="0" y="100493"/>
                      </a:cubicBezTo>
                      <a:cubicBezTo>
                        <a:pt x="179" y="44883"/>
                        <a:pt x="44702" y="360"/>
                        <a:pt x="100670" y="2"/>
                      </a:cubicBezTo>
                    </a:path>
                  </a:pathLst>
                </a:custGeom>
                <a:solidFill>
                  <a:schemeClr val="bg1"/>
                </a:solidFill>
                <a:ln w="17859" cap="flat">
                  <a:noFill/>
                  <a:prstDash val="solid"/>
                  <a:miter/>
                </a:ln>
              </p:spPr>
              <p:txBody>
                <a:bodyPr rtlCol="0" anchor="ctr"/>
                <a:lstStyle/>
                <a:p>
                  <a:endParaRPr lang="en-US"/>
                </a:p>
              </p:txBody>
            </p:sp>
            <p:sp>
              <p:nvSpPr>
                <p:cNvPr id="38" name="Freeform: Shape 119">
                  <a:extLst>
                    <a:ext uri="{FF2B5EF4-FFF2-40B4-BE49-F238E27FC236}">
                      <a16:creationId xmlns:a16="http://schemas.microsoft.com/office/drawing/2014/main" id="{0C36A49D-A8FE-828C-4FE0-A2FAA57F0D72}"/>
                    </a:ext>
                  </a:extLst>
                </p:cNvPr>
                <p:cNvSpPr/>
                <p:nvPr/>
              </p:nvSpPr>
              <p:spPr>
                <a:xfrm>
                  <a:off x="3979333" y="4920169"/>
                  <a:ext cx="324360" cy="407864"/>
                </a:xfrm>
                <a:custGeom>
                  <a:avLst/>
                  <a:gdLst>
                    <a:gd name="connsiteX0" fmla="*/ 0 w 324360"/>
                    <a:gd name="connsiteY0" fmla="*/ 0 h 407864"/>
                    <a:gd name="connsiteX1" fmla="*/ 99060 w 324360"/>
                    <a:gd name="connsiteY1" fmla="*/ 407865 h 407864"/>
                    <a:gd name="connsiteX2" fmla="*/ 324360 w 324360"/>
                    <a:gd name="connsiteY2" fmla="*/ 343672 h 407864"/>
                  </a:gdLst>
                  <a:ahLst/>
                  <a:cxnLst>
                    <a:cxn ang="0">
                      <a:pos x="connsiteX0" y="connsiteY0"/>
                    </a:cxn>
                    <a:cxn ang="0">
                      <a:pos x="connsiteX1" y="connsiteY1"/>
                    </a:cxn>
                    <a:cxn ang="0">
                      <a:pos x="connsiteX2" y="connsiteY2"/>
                    </a:cxn>
                  </a:cxnLst>
                  <a:rect l="l" t="t" r="r" b="b"/>
                  <a:pathLst>
                    <a:path w="324360" h="407864">
                      <a:moveTo>
                        <a:pt x="0" y="0"/>
                      </a:moveTo>
                      <a:lnTo>
                        <a:pt x="99060" y="407865"/>
                      </a:lnTo>
                      <a:lnTo>
                        <a:pt x="324360" y="343672"/>
                      </a:lnTo>
                    </a:path>
                  </a:pathLst>
                </a:custGeom>
                <a:noFill/>
                <a:ln w="9525" cap="rnd">
                  <a:solidFill>
                    <a:schemeClr val="bg1"/>
                  </a:solidFill>
                  <a:prstDash val="solid"/>
                  <a:round/>
                </a:ln>
              </p:spPr>
              <p:txBody>
                <a:bodyPr rtlCol="0" anchor="ctr"/>
                <a:lstStyle/>
                <a:p>
                  <a:endParaRPr lang="en-US"/>
                </a:p>
              </p:txBody>
            </p:sp>
          </p:grpSp>
        </p:grpSp>
      </p:grpSp>
      <p:sp>
        <p:nvSpPr>
          <p:cNvPr id="43" name="Fußzeilenplatzhalter 4">
            <a:extLst>
              <a:ext uri="{FF2B5EF4-FFF2-40B4-BE49-F238E27FC236}">
                <a16:creationId xmlns:a16="http://schemas.microsoft.com/office/drawing/2014/main" id="{19318124-D1AB-43A4-0E65-99F7D948A0D6}"/>
              </a:ext>
            </a:extLst>
          </p:cNvPr>
          <p:cNvSpPr txBox="1">
            <a:spLocks/>
          </p:cNvSpPr>
          <p:nvPr/>
        </p:nvSpPr>
        <p:spPr>
          <a:xfrm>
            <a:off x="304799" y="6494834"/>
            <a:ext cx="11582399" cy="304800"/>
          </a:xfrm>
          <a:prstGeom prst="rect">
            <a:avLst/>
          </a:prstGeom>
        </p:spPr>
        <p:txBody>
          <a:bodyPr/>
          <a:lstStyle>
            <a:defPPr>
              <a:defRPr lang="en-US"/>
            </a:defPPr>
            <a:lvl1pPr lvl="0" algn="l" rtl="0">
              <a:defRPr lang="en-US" sz="1800" dirty="0">
                <a:solidFill>
                  <a:schemeClr val="tx1"/>
                </a:solidFill>
                <a:latin typeface="+mn-lt"/>
              </a:defRPr>
            </a:lvl1pPr>
            <a:lvl2pPr marL="457200" lvl="1" algn="l" rtl="0">
              <a:defRPr lang="en-US" sz="1800" dirty="0">
                <a:solidFill>
                  <a:schemeClr val="tx1"/>
                </a:solidFill>
                <a:latin typeface="+mn-lt"/>
              </a:defRPr>
            </a:lvl2pPr>
            <a:lvl3pPr marL="914400" lvl="2" algn="l" rtl="0">
              <a:defRPr lang="en-US" sz="1800" dirty="0">
                <a:solidFill>
                  <a:schemeClr val="tx1"/>
                </a:solidFill>
                <a:latin typeface="+mn-lt"/>
              </a:defRPr>
            </a:lvl3pPr>
            <a:lvl4pPr marL="1371600" lvl="3" algn="l" rtl="0">
              <a:defRPr lang="en-US" sz="1800" dirty="0">
                <a:solidFill>
                  <a:schemeClr val="tx1"/>
                </a:solidFill>
                <a:latin typeface="+mn-lt"/>
              </a:defRPr>
            </a:lvl4pPr>
            <a:lvl5pPr marL="1828800" lvl="4" algn="l" rtl="0">
              <a:defRPr lang="en-US" sz="1800" dirty="0">
                <a:solidFill>
                  <a:schemeClr val="tx1"/>
                </a:solidFill>
                <a:latin typeface="+mn-lt"/>
              </a:defRPr>
            </a:lvl5pPr>
            <a:lvl6pPr marL="2286000" lvl="5" algn="l" rtl="0">
              <a:defRPr lang="en-US" sz="1800" dirty="0">
                <a:solidFill>
                  <a:schemeClr val="tx1"/>
                </a:solidFill>
                <a:latin typeface="+mn-lt"/>
              </a:defRPr>
            </a:lvl6pPr>
            <a:lvl7pPr marL="2743200" lvl="6" algn="l" rtl="0">
              <a:defRPr lang="en-US" sz="1800" dirty="0">
                <a:solidFill>
                  <a:schemeClr val="tx1"/>
                </a:solidFill>
                <a:latin typeface="+mn-lt"/>
              </a:defRPr>
            </a:lvl7pPr>
            <a:lvl8pPr marL="3200400" lvl="7" algn="l" rtl="0">
              <a:defRPr lang="en-US" sz="1800" dirty="0">
                <a:solidFill>
                  <a:schemeClr val="tx1"/>
                </a:solidFill>
                <a:latin typeface="+mn-lt"/>
              </a:defRPr>
            </a:lvl8pPr>
            <a:lvl9pPr marL="3657600" lvl="8" algn="l" rtl="0">
              <a:defRPr lang="en-US" sz="1800" dirty="0">
                <a:solidFill>
                  <a:schemeClr val="tx1"/>
                </a:solidFill>
                <a:latin typeface="+mn-lt"/>
              </a:defRPr>
            </a:lvl9pPr>
          </a:lstStyle>
          <a:p>
            <a:endParaRPr lang="en-US"/>
          </a:p>
          <a:p>
            <a:r>
              <a:rPr lang="en-US"/>
              <a:t>Thermo Fisher Scientific products are distributed globally, so uses, applications, and availability of product in each country depend on local regulatory marketing authorization status. </a:t>
            </a:r>
            <a:r>
              <a:rPr lang="en-US">
                <a:sym typeface="+mn-lt"/>
              </a:rPr>
              <a:t>| system.support.fi@thermofisher.com | </a:t>
            </a:r>
            <a:r>
              <a:rPr lang="en-US"/>
              <a:t>September 2020</a:t>
            </a:r>
            <a:endParaRPr lang="en-US">
              <a:sym typeface="+mn-lt"/>
            </a:endParaRPr>
          </a:p>
        </p:txBody>
      </p:sp>
    </p:spTree>
    <p:extLst>
      <p:ext uri="{BB962C8B-B14F-4D97-AF65-F5344CB8AC3E}">
        <p14:creationId xmlns:p14="http://schemas.microsoft.com/office/powerpoint/2010/main" val="35706416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el 1">
            <a:extLst>
              <a:ext uri="{FF2B5EF4-FFF2-40B4-BE49-F238E27FC236}">
                <a16:creationId xmlns:a16="http://schemas.microsoft.com/office/drawing/2014/main" id="{CB982830-5AE2-4D12-C06B-234FAD7EAB74}"/>
              </a:ext>
            </a:extLst>
          </p:cNvPr>
          <p:cNvSpPr txBox="1">
            <a:spLocks/>
          </p:cNvSpPr>
          <p:nvPr/>
        </p:nvSpPr>
        <p:spPr>
          <a:xfrm>
            <a:off x="304801" y="304799"/>
            <a:ext cx="9753600" cy="381001"/>
          </a:xfrm>
          <a:prstGeom prst="rect">
            <a:avLst/>
          </a:prstGeom>
        </p:spPr>
        <p:txBody>
          <a:bodyPr/>
          <a:lstStyle>
            <a:lvl1pPr lvl="0" algn="l" rtl="0">
              <a:lnSpc>
                <a:spcPct val="90000"/>
              </a:lnSpc>
              <a:spcBef>
                <a:spcPct val="0"/>
              </a:spcBef>
              <a:buNone/>
              <a:defRPr lang="en-US" sz="4400" dirty="0">
                <a:solidFill>
                  <a:schemeClr val="tx1"/>
                </a:solidFill>
                <a:latin typeface="+mj-lt"/>
              </a:defRPr>
            </a:lvl1pPr>
          </a:lstStyle>
          <a:p>
            <a:r>
              <a:rPr lang="pl-PL" sz="2800" dirty="0">
                <a:solidFill>
                  <a:srgbClr val="C00000"/>
                </a:solidFill>
                <a:sym typeface="+mj-lt"/>
              </a:rPr>
              <a:t>Optymalna pojemność reagentów i próbek </a:t>
            </a:r>
            <a:endParaRPr lang="en-US" sz="2800" dirty="0">
              <a:solidFill>
                <a:srgbClr val="C00000"/>
              </a:solidFill>
              <a:sym typeface="+mj-lt"/>
            </a:endParaRPr>
          </a:p>
        </p:txBody>
      </p:sp>
      <p:pic>
        <p:nvPicPr>
          <p:cNvPr id="46" name="Grafik 36">
            <a:extLst>
              <a:ext uri="{FF2B5EF4-FFF2-40B4-BE49-F238E27FC236}">
                <a16:creationId xmlns:a16="http://schemas.microsoft.com/office/drawing/2014/main" id="{446A205A-6FE9-B639-5981-AB56EB5A209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18541" y="1795463"/>
            <a:ext cx="2934997" cy="1871264"/>
          </a:xfrm>
          <a:prstGeom prst="rect">
            <a:avLst/>
          </a:prstGeom>
        </p:spPr>
      </p:pic>
      <p:pic>
        <p:nvPicPr>
          <p:cNvPr id="47" name="Grafik 40">
            <a:extLst>
              <a:ext uri="{FF2B5EF4-FFF2-40B4-BE49-F238E27FC236}">
                <a16:creationId xmlns:a16="http://schemas.microsoft.com/office/drawing/2014/main" id="{55293F67-5ED6-929F-1A95-290C8CCC87D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80070" y="1745188"/>
            <a:ext cx="2436141" cy="1924518"/>
          </a:xfrm>
          <a:prstGeom prst="rect">
            <a:avLst/>
          </a:prstGeom>
        </p:spPr>
      </p:pic>
      <p:sp>
        <p:nvSpPr>
          <p:cNvPr id="48" name="Rectangle 8">
            <a:extLst>
              <a:ext uri="{FF2B5EF4-FFF2-40B4-BE49-F238E27FC236}">
                <a16:creationId xmlns:a16="http://schemas.microsoft.com/office/drawing/2014/main" id="{25FCB48B-0AA8-2521-1298-1206BBCCDFD2}"/>
              </a:ext>
            </a:extLst>
          </p:cNvPr>
          <p:cNvSpPr/>
          <p:nvPr/>
        </p:nvSpPr>
        <p:spPr>
          <a:xfrm>
            <a:off x="2612215" y="3818007"/>
            <a:ext cx="3060700" cy="246221"/>
          </a:xfrm>
          <a:prstGeom prst="rect">
            <a:avLst/>
          </a:prstGeom>
          <a:noFill/>
          <a:ln w="9525">
            <a:noFill/>
            <a:miter lim="800000"/>
            <a:headEnd/>
            <a:tailEnd/>
          </a:ln>
        </p:spPr>
        <p:txBody>
          <a:bodyPr wrap="square" lIns="0" tIns="0" rIns="0" bIns="0">
            <a:spAutoFit/>
          </a:bodyPr>
          <a:lstStyle/>
          <a:p>
            <a:pPr algn="ctr"/>
            <a:r>
              <a:rPr lang="en-US" sz="1600" b="1" dirty="0" err="1">
                <a:sym typeface="+mn-lt"/>
              </a:rPr>
              <a:t>Indiko</a:t>
            </a:r>
            <a:endParaRPr lang="en-US" sz="1600" dirty="0">
              <a:sym typeface="+mn-lt"/>
            </a:endParaRPr>
          </a:p>
        </p:txBody>
      </p:sp>
      <p:sp>
        <p:nvSpPr>
          <p:cNvPr id="49" name="Rectangle 10">
            <a:extLst>
              <a:ext uri="{FF2B5EF4-FFF2-40B4-BE49-F238E27FC236}">
                <a16:creationId xmlns:a16="http://schemas.microsoft.com/office/drawing/2014/main" id="{39EE59F6-B813-9D23-E4ED-114AFC6939D4}"/>
              </a:ext>
            </a:extLst>
          </p:cNvPr>
          <p:cNvSpPr/>
          <p:nvPr/>
        </p:nvSpPr>
        <p:spPr>
          <a:xfrm>
            <a:off x="6545403" y="3818007"/>
            <a:ext cx="3081271" cy="246221"/>
          </a:xfrm>
          <a:prstGeom prst="rect">
            <a:avLst/>
          </a:prstGeom>
          <a:noFill/>
          <a:ln w="9525">
            <a:noFill/>
            <a:miter lim="800000"/>
            <a:headEnd/>
            <a:tailEnd/>
          </a:ln>
        </p:spPr>
        <p:txBody>
          <a:bodyPr wrap="square" lIns="0" tIns="0" rIns="0" bIns="0">
            <a:spAutoFit/>
          </a:bodyPr>
          <a:lstStyle/>
          <a:p>
            <a:pPr algn="ctr"/>
            <a:r>
              <a:rPr lang="en-US" sz="1600" b="1" dirty="0" err="1">
                <a:sym typeface="+mn-lt"/>
              </a:rPr>
              <a:t>Indiko</a:t>
            </a:r>
            <a:r>
              <a:rPr lang="en-US" sz="1600" b="1" dirty="0">
                <a:sym typeface="+mn-lt"/>
              </a:rPr>
              <a:t> Plus</a:t>
            </a:r>
            <a:endParaRPr lang="en-US" sz="1600" dirty="0">
              <a:sym typeface="+mn-lt"/>
            </a:endParaRPr>
          </a:p>
        </p:txBody>
      </p:sp>
      <p:grpSp>
        <p:nvGrpSpPr>
          <p:cNvPr id="50" name="Group 23">
            <a:extLst>
              <a:ext uri="{FF2B5EF4-FFF2-40B4-BE49-F238E27FC236}">
                <a16:creationId xmlns:a16="http://schemas.microsoft.com/office/drawing/2014/main" id="{A49A26D5-7950-9D4F-315A-A2B608D64232}"/>
              </a:ext>
            </a:extLst>
          </p:cNvPr>
          <p:cNvGrpSpPr/>
          <p:nvPr/>
        </p:nvGrpSpPr>
        <p:grpSpPr>
          <a:xfrm>
            <a:off x="309376" y="4701045"/>
            <a:ext cx="11582397" cy="440310"/>
            <a:chOff x="309376" y="4701045"/>
            <a:chExt cx="11582397" cy="440310"/>
          </a:xfrm>
        </p:grpSpPr>
        <p:sp>
          <p:nvSpPr>
            <p:cNvPr id="51" name="Parallelogram 8">
              <a:extLst>
                <a:ext uri="{FF2B5EF4-FFF2-40B4-BE49-F238E27FC236}">
                  <a16:creationId xmlns:a16="http://schemas.microsoft.com/office/drawing/2014/main" id="{DEBF2526-20F0-AF81-9233-2434584D9AB6}"/>
                </a:ext>
              </a:extLst>
            </p:cNvPr>
            <p:cNvSpPr/>
            <p:nvPr/>
          </p:nvSpPr>
          <p:spPr bwMode="auto">
            <a:xfrm>
              <a:off x="309376" y="4701045"/>
              <a:ext cx="11582397" cy="440310"/>
            </a:xfrm>
            <a:prstGeom prst="parallelogram">
              <a:avLst>
                <a:gd name="adj" fmla="val 31844"/>
              </a:avLst>
            </a:prstGeom>
            <a:solidFill>
              <a:schemeClr val="accent1"/>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b="1" dirty="0">
                <a:solidFill>
                  <a:schemeClr val="bg1"/>
                </a:solidFill>
                <a:sym typeface="+mn-lt"/>
              </a:endParaRPr>
            </a:p>
          </p:txBody>
        </p:sp>
        <p:sp>
          <p:nvSpPr>
            <p:cNvPr id="52" name="TextBox 11">
              <a:extLst>
                <a:ext uri="{FF2B5EF4-FFF2-40B4-BE49-F238E27FC236}">
                  <a16:creationId xmlns:a16="http://schemas.microsoft.com/office/drawing/2014/main" id="{076A82F9-7AD9-7ACB-4103-41B0D3294377}"/>
                </a:ext>
              </a:extLst>
            </p:cNvPr>
            <p:cNvSpPr txBox="1">
              <a:spLocks/>
            </p:cNvSpPr>
            <p:nvPr/>
          </p:nvSpPr>
          <p:spPr>
            <a:xfrm>
              <a:off x="512043" y="4798090"/>
              <a:ext cx="2235920" cy="276999"/>
            </a:xfrm>
            <a:prstGeom prst="rect">
              <a:avLst/>
            </a:prstGeom>
            <a:noFill/>
            <a:ln w="9525">
              <a:noFill/>
              <a:miter lim="800000"/>
              <a:headEnd/>
              <a:tailEnd/>
            </a:ln>
          </p:spPr>
          <p:txBody>
            <a:bodyPr wrap="square" lIns="0" tIns="0" rIns="0" bIns="0">
              <a:spAutoFit/>
            </a:bodyPr>
            <a:lstStyle>
              <a:defPPr>
                <a:defRPr lang="en-US"/>
              </a:defPPr>
              <a:lvl1pPr algn="ctr">
                <a:defRPr sz="1600" b="1"/>
              </a:lvl1pPr>
            </a:lstStyle>
            <a:p>
              <a:r>
                <a:rPr lang="pl-PL" sz="1800" dirty="0">
                  <a:solidFill>
                    <a:schemeClr val="bg1"/>
                  </a:solidFill>
                </a:rPr>
                <a:t>Reagenty</a:t>
              </a:r>
              <a:endParaRPr lang="en-US" sz="1800" dirty="0">
                <a:solidFill>
                  <a:schemeClr val="bg1"/>
                </a:solidFill>
              </a:endParaRPr>
            </a:p>
          </p:txBody>
        </p:sp>
        <p:sp>
          <p:nvSpPr>
            <p:cNvPr id="53" name="TextBox 12">
              <a:extLst>
                <a:ext uri="{FF2B5EF4-FFF2-40B4-BE49-F238E27FC236}">
                  <a16:creationId xmlns:a16="http://schemas.microsoft.com/office/drawing/2014/main" id="{B02B7CE6-D5D2-D3FF-9616-CE1CA1E73F01}"/>
                </a:ext>
              </a:extLst>
            </p:cNvPr>
            <p:cNvSpPr txBox="1">
              <a:spLocks/>
            </p:cNvSpPr>
            <p:nvPr/>
          </p:nvSpPr>
          <p:spPr>
            <a:xfrm>
              <a:off x="2612215" y="4798090"/>
              <a:ext cx="3060000" cy="276999"/>
            </a:xfrm>
            <a:prstGeom prst="rect">
              <a:avLst/>
            </a:prstGeom>
            <a:noFill/>
            <a:ln w="9525">
              <a:noFill/>
              <a:miter lim="800000"/>
              <a:headEnd/>
              <a:tailEnd/>
            </a:ln>
          </p:spPr>
          <p:txBody>
            <a:bodyPr wrap="square" lIns="0" tIns="0" rIns="0" bIns="0">
              <a:spAutoFit/>
            </a:bodyPr>
            <a:lstStyle>
              <a:defPPr>
                <a:defRPr lang="en-US"/>
              </a:defPPr>
              <a:lvl1pPr algn="ctr">
                <a:defRPr sz="1600" b="1"/>
              </a:lvl1pPr>
            </a:lstStyle>
            <a:p>
              <a:r>
                <a:rPr lang="en-US" sz="1800" dirty="0">
                  <a:solidFill>
                    <a:schemeClr val="bg1"/>
                  </a:solidFill>
                </a:rPr>
                <a:t>30</a:t>
              </a:r>
            </a:p>
          </p:txBody>
        </p:sp>
        <p:sp>
          <p:nvSpPr>
            <p:cNvPr id="54" name="TextBox 13">
              <a:extLst>
                <a:ext uri="{FF2B5EF4-FFF2-40B4-BE49-F238E27FC236}">
                  <a16:creationId xmlns:a16="http://schemas.microsoft.com/office/drawing/2014/main" id="{458DABCF-125D-B955-03D4-5CB726CA04CF}"/>
                </a:ext>
              </a:extLst>
            </p:cNvPr>
            <p:cNvSpPr txBox="1">
              <a:spLocks/>
            </p:cNvSpPr>
            <p:nvPr/>
          </p:nvSpPr>
          <p:spPr>
            <a:xfrm>
              <a:off x="6545403" y="4798090"/>
              <a:ext cx="3060000" cy="276999"/>
            </a:xfrm>
            <a:prstGeom prst="rect">
              <a:avLst/>
            </a:prstGeom>
            <a:noFill/>
            <a:ln w="9525">
              <a:noFill/>
              <a:miter lim="800000"/>
              <a:headEnd/>
              <a:tailEnd/>
            </a:ln>
          </p:spPr>
          <p:txBody>
            <a:bodyPr wrap="square" lIns="0" tIns="0" rIns="0" bIns="0">
              <a:spAutoFit/>
            </a:bodyPr>
            <a:lstStyle>
              <a:defPPr>
                <a:defRPr lang="en-US"/>
              </a:defPPr>
              <a:lvl1pPr algn="ctr">
                <a:defRPr sz="1600" b="1"/>
              </a:lvl1pPr>
            </a:lstStyle>
            <a:p>
              <a:r>
                <a:rPr lang="en-US" sz="1800" dirty="0">
                  <a:solidFill>
                    <a:schemeClr val="bg1"/>
                  </a:solidFill>
                </a:rPr>
                <a:t>42</a:t>
              </a:r>
            </a:p>
          </p:txBody>
        </p:sp>
      </p:grpSp>
      <p:grpSp>
        <p:nvGrpSpPr>
          <p:cNvPr id="55" name="Group 42">
            <a:extLst>
              <a:ext uri="{FF2B5EF4-FFF2-40B4-BE49-F238E27FC236}">
                <a16:creationId xmlns:a16="http://schemas.microsoft.com/office/drawing/2014/main" id="{F58C3C87-BE45-BE20-4F15-7C313BBB27F7}"/>
              </a:ext>
            </a:extLst>
          </p:cNvPr>
          <p:cNvGrpSpPr/>
          <p:nvPr/>
        </p:nvGrpSpPr>
        <p:grpSpPr>
          <a:xfrm>
            <a:off x="309376" y="4176769"/>
            <a:ext cx="11582397" cy="440310"/>
            <a:chOff x="309376" y="4176769"/>
            <a:chExt cx="11582397" cy="440310"/>
          </a:xfrm>
        </p:grpSpPr>
        <p:sp>
          <p:nvSpPr>
            <p:cNvPr id="56" name="Parallelogram 8">
              <a:extLst>
                <a:ext uri="{FF2B5EF4-FFF2-40B4-BE49-F238E27FC236}">
                  <a16:creationId xmlns:a16="http://schemas.microsoft.com/office/drawing/2014/main" id="{E97839FC-6507-BCF0-734B-B6972B9F0C0B}"/>
                </a:ext>
              </a:extLst>
            </p:cNvPr>
            <p:cNvSpPr/>
            <p:nvPr/>
          </p:nvSpPr>
          <p:spPr bwMode="auto">
            <a:xfrm>
              <a:off x="309376" y="4176769"/>
              <a:ext cx="11582397" cy="440310"/>
            </a:xfrm>
            <a:prstGeom prst="parallelogram">
              <a:avLst>
                <a:gd name="adj" fmla="val 31844"/>
              </a:avLst>
            </a:prstGeom>
            <a:solidFill>
              <a:schemeClr val="accent1"/>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b="1" dirty="0">
                <a:solidFill>
                  <a:schemeClr val="bg1"/>
                </a:solidFill>
                <a:sym typeface="+mn-lt"/>
              </a:endParaRPr>
            </a:p>
          </p:txBody>
        </p:sp>
        <p:sp>
          <p:nvSpPr>
            <p:cNvPr id="57" name="TextBox 3">
              <a:extLst>
                <a:ext uri="{FF2B5EF4-FFF2-40B4-BE49-F238E27FC236}">
                  <a16:creationId xmlns:a16="http://schemas.microsoft.com/office/drawing/2014/main" id="{21E3E2D7-6B3F-38A3-C3B7-A545A2652C4C}"/>
                </a:ext>
              </a:extLst>
            </p:cNvPr>
            <p:cNvSpPr txBox="1">
              <a:spLocks/>
            </p:cNvSpPr>
            <p:nvPr/>
          </p:nvSpPr>
          <p:spPr>
            <a:xfrm>
              <a:off x="512043" y="4273814"/>
              <a:ext cx="2235920" cy="276999"/>
            </a:xfrm>
            <a:prstGeom prst="rect">
              <a:avLst/>
            </a:prstGeom>
            <a:noFill/>
            <a:ln w="9525">
              <a:noFill/>
              <a:miter lim="800000"/>
              <a:headEnd/>
              <a:tailEnd/>
            </a:ln>
          </p:spPr>
          <p:txBody>
            <a:bodyPr wrap="square" lIns="0" tIns="0" rIns="0" bIns="0">
              <a:spAutoFit/>
            </a:bodyPr>
            <a:lstStyle>
              <a:defPPr>
                <a:defRPr lang="en-US"/>
              </a:defPPr>
              <a:lvl1pPr algn="ctr">
                <a:defRPr sz="1600" b="1"/>
              </a:lvl1pPr>
            </a:lstStyle>
            <a:p>
              <a:r>
                <a:rPr lang="pl-PL" sz="1800" dirty="0">
                  <a:solidFill>
                    <a:schemeClr val="bg1"/>
                  </a:solidFill>
                </a:rPr>
                <a:t>Próbki</a:t>
              </a:r>
              <a:endParaRPr lang="en-US" sz="1800" dirty="0">
                <a:solidFill>
                  <a:schemeClr val="bg1"/>
                </a:solidFill>
              </a:endParaRPr>
            </a:p>
          </p:txBody>
        </p:sp>
        <p:sp>
          <p:nvSpPr>
            <p:cNvPr id="58" name="TextBox 8">
              <a:extLst>
                <a:ext uri="{FF2B5EF4-FFF2-40B4-BE49-F238E27FC236}">
                  <a16:creationId xmlns:a16="http://schemas.microsoft.com/office/drawing/2014/main" id="{1BB25351-D6E4-3830-CEB0-72CF6F859FAC}"/>
                </a:ext>
              </a:extLst>
            </p:cNvPr>
            <p:cNvSpPr txBox="1">
              <a:spLocks/>
            </p:cNvSpPr>
            <p:nvPr/>
          </p:nvSpPr>
          <p:spPr>
            <a:xfrm>
              <a:off x="2612215" y="4273814"/>
              <a:ext cx="3060000" cy="276999"/>
            </a:xfrm>
            <a:prstGeom prst="rect">
              <a:avLst/>
            </a:prstGeom>
            <a:noFill/>
            <a:ln w="9525">
              <a:noFill/>
              <a:miter lim="800000"/>
              <a:headEnd/>
              <a:tailEnd/>
            </a:ln>
          </p:spPr>
          <p:txBody>
            <a:bodyPr wrap="square" lIns="0" tIns="0" rIns="0" bIns="0">
              <a:spAutoFit/>
            </a:bodyPr>
            <a:lstStyle>
              <a:defPPr>
                <a:defRPr lang="en-US"/>
              </a:defPPr>
              <a:lvl1pPr algn="ctr">
                <a:defRPr sz="1600" b="1"/>
              </a:lvl1pPr>
            </a:lstStyle>
            <a:p>
              <a:r>
                <a:rPr lang="en-US" sz="1800" dirty="0">
                  <a:solidFill>
                    <a:schemeClr val="bg1"/>
                  </a:solidFill>
                </a:rPr>
                <a:t>90</a:t>
              </a:r>
            </a:p>
          </p:txBody>
        </p:sp>
        <p:sp>
          <p:nvSpPr>
            <p:cNvPr id="59" name="TextBox 10">
              <a:extLst>
                <a:ext uri="{FF2B5EF4-FFF2-40B4-BE49-F238E27FC236}">
                  <a16:creationId xmlns:a16="http://schemas.microsoft.com/office/drawing/2014/main" id="{AC7D6580-D4BE-4953-B0DA-184B9CE4E2C7}"/>
                </a:ext>
              </a:extLst>
            </p:cNvPr>
            <p:cNvSpPr txBox="1">
              <a:spLocks/>
            </p:cNvSpPr>
            <p:nvPr/>
          </p:nvSpPr>
          <p:spPr>
            <a:xfrm>
              <a:off x="6545403" y="4273814"/>
              <a:ext cx="3060000" cy="276999"/>
            </a:xfrm>
            <a:prstGeom prst="rect">
              <a:avLst/>
            </a:prstGeom>
            <a:noFill/>
            <a:ln w="9525">
              <a:noFill/>
              <a:miter lim="800000"/>
              <a:headEnd/>
              <a:tailEnd/>
            </a:ln>
          </p:spPr>
          <p:txBody>
            <a:bodyPr wrap="square" lIns="0" tIns="0" rIns="0" bIns="0">
              <a:spAutoFit/>
            </a:bodyPr>
            <a:lstStyle>
              <a:defPPr>
                <a:defRPr lang="en-US"/>
              </a:defPPr>
              <a:lvl1pPr algn="ctr">
                <a:defRPr sz="1600" b="1"/>
              </a:lvl1pPr>
            </a:lstStyle>
            <a:p>
              <a:r>
                <a:rPr lang="en-US" sz="1800" dirty="0">
                  <a:solidFill>
                    <a:schemeClr val="bg1"/>
                  </a:solidFill>
                </a:rPr>
                <a:t>108</a:t>
              </a:r>
            </a:p>
          </p:txBody>
        </p:sp>
      </p:grpSp>
      <p:grpSp>
        <p:nvGrpSpPr>
          <p:cNvPr id="61" name="Group 22">
            <a:extLst>
              <a:ext uri="{FF2B5EF4-FFF2-40B4-BE49-F238E27FC236}">
                <a16:creationId xmlns:a16="http://schemas.microsoft.com/office/drawing/2014/main" id="{5ABE5568-5B0D-C3D9-A035-CA05A8396BE5}"/>
              </a:ext>
            </a:extLst>
          </p:cNvPr>
          <p:cNvGrpSpPr/>
          <p:nvPr/>
        </p:nvGrpSpPr>
        <p:grpSpPr>
          <a:xfrm>
            <a:off x="309376" y="4980373"/>
            <a:ext cx="11527525" cy="1372869"/>
            <a:chOff x="309376" y="4980373"/>
            <a:chExt cx="11582397" cy="1372869"/>
          </a:xfrm>
        </p:grpSpPr>
        <p:sp>
          <p:nvSpPr>
            <p:cNvPr id="62" name="Parallelogram 8">
              <a:extLst>
                <a:ext uri="{FF2B5EF4-FFF2-40B4-BE49-F238E27FC236}">
                  <a16:creationId xmlns:a16="http://schemas.microsoft.com/office/drawing/2014/main" id="{A0AEC076-9ADF-290B-6F0D-F14804DA9931}"/>
                </a:ext>
              </a:extLst>
            </p:cNvPr>
            <p:cNvSpPr/>
            <p:nvPr/>
          </p:nvSpPr>
          <p:spPr bwMode="auto">
            <a:xfrm>
              <a:off x="309376" y="5225321"/>
              <a:ext cx="11582397" cy="964586"/>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b="1" dirty="0">
                <a:solidFill>
                  <a:schemeClr val="bg1"/>
                </a:solidFill>
                <a:sym typeface="+mn-lt"/>
              </a:endParaRPr>
            </a:p>
          </p:txBody>
        </p:sp>
        <p:sp>
          <p:nvSpPr>
            <p:cNvPr id="63" name="Rectangle 3">
              <a:extLst>
                <a:ext uri="{FF2B5EF4-FFF2-40B4-BE49-F238E27FC236}">
                  <a16:creationId xmlns:a16="http://schemas.microsoft.com/office/drawing/2014/main" id="{99BE35B0-C3F8-DD1F-D01C-67749C0A7F68}"/>
                </a:ext>
              </a:extLst>
            </p:cNvPr>
            <p:cNvSpPr/>
            <p:nvPr/>
          </p:nvSpPr>
          <p:spPr>
            <a:xfrm>
              <a:off x="713445" y="5461393"/>
              <a:ext cx="2809128" cy="553998"/>
            </a:xfrm>
            <a:prstGeom prst="rect">
              <a:avLst/>
            </a:prstGeom>
            <a:noFill/>
            <a:ln w="9525">
              <a:noFill/>
              <a:miter lim="800000"/>
              <a:headEnd/>
              <a:tailEnd/>
            </a:ln>
          </p:spPr>
          <p:txBody>
            <a:bodyPr wrap="square" lIns="0" tIns="0" rIns="0" bIns="0">
              <a:spAutoFit/>
            </a:bodyPr>
            <a:lstStyle/>
            <a:p>
              <a:r>
                <a:rPr lang="pl-PL" b="1" dirty="0">
                  <a:sym typeface="+mn-lt"/>
                </a:rPr>
                <a:t>Trzy różne typy statywów </a:t>
              </a:r>
              <a:endParaRPr lang="en-US" b="1" dirty="0">
                <a:sym typeface="+mn-lt"/>
              </a:endParaRPr>
            </a:p>
          </p:txBody>
        </p:sp>
        <p:pic>
          <p:nvPicPr>
            <p:cNvPr id="64" name="Picture 21" descr="A picture containing table, indoor, bottle, cellphone&#10;&#10;Description automatically generated">
              <a:extLst>
                <a:ext uri="{FF2B5EF4-FFF2-40B4-BE49-F238E27FC236}">
                  <a16:creationId xmlns:a16="http://schemas.microsoft.com/office/drawing/2014/main" id="{90A0654F-339E-5F6B-2A1F-3BEE2C34889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142215" y="4980373"/>
              <a:ext cx="3774833" cy="1372869"/>
            </a:xfrm>
            <a:prstGeom prst="rect">
              <a:avLst/>
            </a:prstGeom>
          </p:spPr>
        </p:pic>
      </p:grpSp>
      <p:grpSp>
        <p:nvGrpSpPr>
          <p:cNvPr id="65" name="Group 86">
            <a:extLst>
              <a:ext uri="{FF2B5EF4-FFF2-40B4-BE49-F238E27FC236}">
                <a16:creationId xmlns:a16="http://schemas.microsoft.com/office/drawing/2014/main" id="{A2219EDA-9329-F570-77B0-E3CF241B172F}"/>
              </a:ext>
            </a:extLst>
          </p:cNvPr>
          <p:cNvGrpSpPr>
            <a:grpSpLocks noChangeAspect="1"/>
          </p:cNvGrpSpPr>
          <p:nvPr/>
        </p:nvGrpSpPr>
        <p:grpSpPr>
          <a:xfrm>
            <a:off x="10292953" y="893063"/>
            <a:ext cx="1608310" cy="584939"/>
            <a:chOff x="343668" y="1851251"/>
            <a:chExt cx="11514733" cy="4187886"/>
          </a:xfrm>
        </p:grpSpPr>
        <p:sp>
          <p:nvSpPr>
            <p:cNvPr id="66" name="Rectangle 87">
              <a:extLst>
                <a:ext uri="{FF2B5EF4-FFF2-40B4-BE49-F238E27FC236}">
                  <a16:creationId xmlns:a16="http://schemas.microsoft.com/office/drawing/2014/main" id="{2815D76D-E338-E84C-DCF9-84F24274C336}"/>
                </a:ext>
              </a:extLst>
            </p:cNvPr>
            <p:cNvSpPr/>
            <p:nvPr/>
          </p:nvSpPr>
          <p:spPr bwMode="auto">
            <a:xfrm>
              <a:off x="343668" y="4455137"/>
              <a:ext cx="3139200" cy="1584000"/>
            </a:xfrm>
            <a:prstGeom prst="rect">
              <a:avLst/>
            </a:prstGeom>
            <a:solidFill>
              <a:schemeClr val="tx2">
                <a:lumMod val="75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67" name="Rectangle 88">
              <a:extLst>
                <a:ext uri="{FF2B5EF4-FFF2-40B4-BE49-F238E27FC236}">
                  <a16:creationId xmlns:a16="http://schemas.microsoft.com/office/drawing/2014/main" id="{57979B07-A2A9-82CA-8C3E-F6BC61DB57B8}"/>
                </a:ext>
              </a:extLst>
            </p:cNvPr>
            <p:cNvSpPr/>
            <p:nvPr/>
          </p:nvSpPr>
          <p:spPr bwMode="auto">
            <a:xfrm>
              <a:off x="4296205" y="4455137"/>
              <a:ext cx="3139200" cy="1584000"/>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68" name="Rectangle 89">
              <a:extLst>
                <a:ext uri="{FF2B5EF4-FFF2-40B4-BE49-F238E27FC236}">
                  <a16:creationId xmlns:a16="http://schemas.microsoft.com/office/drawing/2014/main" id="{12DC3D58-A762-60CF-0548-2CCC826D36A8}"/>
                </a:ext>
              </a:extLst>
            </p:cNvPr>
            <p:cNvSpPr/>
            <p:nvPr/>
          </p:nvSpPr>
          <p:spPr bwMode="auto">
            <a:xfrm>
              <a:off x="8258401" y="4455137"/>
              <a:ext cx="3139200" cy="1584000"/>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69" name="Parallelogram 90">
              <a:extLst>
                <a:ext uri="{FF2B5EF4-FFF2-40B4-BE49-F238E27FC236}">
                  <a16:creationId xmlns:a16="http://schemas.microsoft.com/office/drawing/2014/main" id="{502169FA-C8E7-0A8D-3FD7-60CFECD856EA}"/>
                </a:ext>
              </a:extLst>
            </p:cNvPr>
            <p:cNvSpPr/>
            <p:nvPr/>
          </p:nvSpPr>
          <p:spPr bwMode="auto">
            <a:xfrm>
              <a:off x="343668" y="3028232"/>
              <a:ext cx="3600000" cy="1440000"/>
            </a:xfrm>
            <a:prstGeom prst="parallelogram">
              <a:avLst>
                <a:gd name="adj" fmla="val 31844"/>
              </a:avLst>
            </a:prstGeom>
            <a:solidFill>
              <a:schemeClr val="tx2"/>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70" name="Group 91">
              <a:extLst>
                <a:ext uri="{FF2B5EF4-FFF2-40B4-BE49-F238E27FC236}">
                  <a16:creationId xmlns:a16="http://schemas.microsoft.com/office/drawing/2014/main" id="{831465E7-8832-A2AD-FDA9-CD1163914CEB}"/>
                </a:ext>
              </a:extLst>
            </p:cNvPr>
            <p:cNvGrpSpPr/>
            <p:nvPr/>
          </p:nvGrpSpPr>
          <p:grpSpPr>
            <a:xfrm>
              <a:off x="1571478" y="1851251"/>
              <a:ext cx="1504370" cy="1504370"/>
              <a:chOff x="5343815" y="1101555"/>
              <a:chExt cx="1504370" cy="1504370"/>
            </a:xfrm>
          </p:grpSpPr>
          <p:sp>
            <p:nvSpPr>
              <p:cNvPr id="82" name="Freeform: Shape 103">
                <a:extLst>
                  <a:ext uri="{FF2B5EF4-FFF2-40B4-BE49-F238E27FC236}">
                    <a16:creationId xmlns:a16="http://schemas.microsoft.com/office/drawing/2014/main" id="{E4E4E00B-BE0F-5041-FDC3-17E6EBDE875D}"/>
                  </a:ext>
                </a:extLst>
              </p:cNvPr>
              <p:cNvSpPr/>
              <p:nvPr/>
            </p:nvSpPr>
            <p:spPr>
              <a:xfrm>
                <a:off x="5343815" y="1101555"/>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tx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marL="0" lvl="0" indent="0" algn="ctr" defTabSz="1289050">
                  <a:lnSpc>
                    <a:spcPct val="90000"/>
                  </a:lnSpc>
                  <a:spcBef>
                    <a:spcPct val="0"/>
                  </a:spcBef>
                  <a:spcAft>
                    <a:spcPct val="35000"/>
                  </a:spcAft>
                  <a:buNone/>
                </a:pPr>
                <a:endParaRPr lang="en-US" sz="2900" kern="1200"/>
              </a:p>
            </p:txBody>
          </p:sp>
          <p:pic>
            <p:nvPicPr>
              <p:cNvPr id="83" name="Graphic 104">
                <a:extLst>
                  <a:ext uri="{FF2B5EF4-FFF2-40B4-BE49-F238E27FC236}">
                    <a16:creationId xmlns:a16="http://schemas.microsoft.com/office/drawing/2014/main" id="{D25CE3E8-B449-6E62-B27D-0C196A84470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523810" y="1281550"/>
                <a:ext cx="1144381" cy="1144381"/>
              </a:xfrm>
              <a:prstGeom prst="rect">
                <a:avLst/>
              </a:prstGeom>
            </p:spPr>
          </p:pic>
        </p:grpSp>
        <p:sp>
          <p:nvSpPr>
            <p:cNvPr id="71" name="Parallelogram 92">
              <a:extLst>
                <a:ext uri="{FF2B5EF4-FFF2-40B4-BE49-F238E27FC236}">
                  <a16:creationId xmlns:a16="http://schemas.microsoft.com/office/drawing/2014/main" id="{478E7898-8AE8-A25B-14F7-46D10FE5DE2B}"/>
                </a:ext>
              </a:extLst>
            </p:cNvPr>
            <p:cNvSpPr/>
            <p:nvPr/>
          </p:nvSpPr>
          <p:spPr bwMode="auto">
            <a:xfrm>
              <a:off x="8258401" y="3028232"/>
              <a:ext cx="3600000" cy="1440000"/>
            </a:xfrm>
            <a:prstGeom prst="parallelogram">
              <a:avLst>
                <a:gd name="adj" fmla="val 31844"/>
              </a:avLst>
            </a:prstGeom>
            <a:solidFill>
              <a:schemeClr val="bg2">
                <a:lumMod val="75000"/>
              </a:schemeClr>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72" name="Group 93">
              <a:extLst>
                <a:ext uri="{FF2B5EF4-FFF2-40B4-BE49-F238E27FC236}">
                  <a16:creationId xmlns:a16="http://schemas.microsoft.com/office/drawing/2014/main" id="{F4B8008C-1521-EB64-F5A6-12632E8749E4}"/>
                </a:ext>
              </a:extLst>
            </p:cNvPr>
            <p:cNvGrpSpPr/>
            <p:nvPr/>
          </p:nvGrpSpPr>
          <p:grpSpPr>
            <a:xfrm>
              <a:off x="9486211" y="1851251"/>
              <a:ext cx="1504370" cy="1504370"/>
              <a:chOff x="7167592" y="4260429"/>
              <a:chExt cx="1504370" cy="1504370"/>
            </a:xfrm>
          </p:grpSpPr>
          <p:sp>
            <p:nvSpPr>
              <p:cNvPr id="80" name="Freeform: Shape 101">
                <a:extLst>
                  <a:ext uri="{FF2B5EF4-FFF2-40B4-BE49-F238E27FC236}">
                    <a16:creationId xmlns:a16="http://schemas.microsoft.com/office/drawing/2014/main" id="{F3D31F37-0C9D-2732-52A5-CFA56495DBEF}"/>
                  </a:ext>
                </a:extLst>
              </p:cNvPr>
              <p:cNvSpPr/>
              <p:nvPr/>
            </p:nvSpPr>
            <p:spPr>
              <a:xfrm>
                <a:off x="7167592" y="4260429"/>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marL="0" lvl="0" indent="0" algn="ctr" defTabSz="1289050">
                  <a:lnSpc>
                    <a:spcPct val="90000"/>
                  </a:lnSpc>
                  <a:spcBef>
                    <a:spcPct val="0"/>
                  </a:spcBef>
                  <a:spcAft>
                    <a:spcPct val="35000"/>
                  </a:spcAft>
                  <a:buNone/>
                </a:pPr>
                <a:endParaRPr lang="en-US" sz="2900" kern="1200"/>
              </a:p>
            </p:txBody>
          </p:sp>
          <p:pic>
            <p:nvPicPr>
              <p:cNvPr id="81" name="Graphic 102">
                <a:extLst>
                  <a:ext uri="{FF2B5EF4-FFF2-40B4-BE49-F238E27FC236}">
                    <a16:creationId xmlns:a16="http://schemas.microsoft.com/office/drawing/2014/main" id="{A15BC035-DFF9-2F05-3D9F-1F8FDB5E92DA}"/>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347587" y="4440424"/>
                <a:ext cx="1144381" cy="1144381"/>
              </a:xfrm>
              <a:prstGeom prst="rect">
                <a:avLst/>
              </a:prstGeom>
            </p:spPr>
          </p:pic>
        </p:grpSp>
        <p:sp>
          <p:nvSpPr>
            <p:cNvPr id="73" name="Parallelogram 94">
              <a:extLst>
                <a:ext uri="{FF2B5EF4-FFF2-40B4-BE49-F238E27FC236}">
                  <a16:creationId xmlns:a16="http://schemas.microsoft.com/office/drawing/2014/main" id="{0015493F-F9E2-E5FA-5C91-FB4514FF1067}"/>
                </a:ext>
              </a:extLst>
            </p:cNvPr>
            <p:cNvSpPr/>
            <p:nvPr/>
          </p:nvSpPr>
          <p:spPr bwMode="auto">
            <a:xfrm>
              <a:off x="4296205" y="3028232"/>
              <a:ext cx="3600000" cy="1440000"/>
            </a:xfrm>
            <a:prstGeom prst="parallelogram">
              <a:avLst>
                <a:gd name="adj" fmla="val 31844"/>
              </a:avLst>
            </a:prstGeom>
            <a:solidFill>
              <a:schemeClr val="bg2">
                <a:lumMod val="75000"/>
              </a:schemeClr>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74" name="Group 95">
              <a:extLst>
                <a:ext uri="{FF2B5EF4-FFF2-40B4-BE49-F238E27FC236}">
                  <a16:creationId xmlns:a16="http://schemas.microsoft.com/office/drawing/2014/main" id="{1BB35B70-810C-089B-F10E-5A8E7C17AF17}"/>
                </a:ext>
              </a:extLst>
            </p:cNvPr>
            <p:cNvGrpSpPr/>
            <p:nvPr/>
          </p:nvGrpSpPr>
          <p:grpSpPr>
            <a:xfrm>
              <a:off x="5528845" y="1851251"/>
              <a:ext cx="1504370" cy="1504370"/>
              <a:chOff x="3520038" y="4260429"/>
              <a:chExt cx="1504370" cy="1504370"/>
            </a:xfrm>
          </p:grpSpPr>
          <p:sp>
            <p:nvSpPr>
              <p:cNvPr id="75" name="Freeform: Shape 96">
                <a:extLst>
                  <a:ext uri="{FF2B5EF4-FFF2-40B4-BE49-F238E27FC236}">
                    <a16:creationId xmlns:a16="http://schemas.microsoft.com/office/drawing/2014/main" id="{38961B7C-85F0-5C07-14FB-728157351E2C}"/>
                  </a:ext>
                </a:extLst>
              </p:cNvPr>
              <p:cNvSpPr/>
              <p:nvPr/>
            </p:nvSpPr>
            <p:spPr>
              <a:xfrm>
                <a:off x="3520038" y="4260429"/>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marL="0" lvl="0" indent="0" algn="ctr" defTabSz="1289050">
                  <a:lnSpc>
                    <a:spcPct val="90000"/>
                  </a:lnSpc>
                  <a:spcBef>
                    <a:spcPct val="0"/>
                  </a:spcBef>
                  <a:spcAft>
                    <a:spcPct val="35000"/>
                  </a:spcAft>
                  <a:buNone/>
                </a:pPr>
                <a:endParaRPr lang="en-US" sz="2900" kern="1200"/>
              </a:p>
            </p:txBody>
          </p:sp>
          <p:grpSp>
            <p:nvGrpSpPr>
              <p:cNvPr id="76" name="Group 97">
                <a:extLst>
                  <a:ext uri="{FF2B5EF4-FFF2-40B4-BE49-F238E27FC236}">
                    <a16:creationId xmlns:a16="http://schemas.microsoft.com/office/drawing/2014/main" id="{A10E4E00-F8DD-6F9A-4C7C-702377F352BD}"/>
                  </a:ext>
                </a:extLst>
              </p:cNvPr>
              <p:cNvGrpSpPr/>
              <p:nvPr/>
            </p:nvGrpSpPr>
            <p:grpSpPr>
              <a:xfrm>
                <a:off x="3886675" y="4548065"/>
                <a:ext cx="756613" cy="987042"/>
                <a:chOff x="3886675" y="4548065"/>
                <a:chExt cx="756613" cy="987042"/>
              </a:xfrm>
            </p:grpSpPr>
            <p:sp>
              <p:nvSpPr>
                <p:cNvPr id="77" name="Freeform: Shape 98">
                  <a:extLst>
                    <a:ext uri="{FF2B5EF4-FFF2-40B4-BE49-F238E27FC236}">
                      <a16:creationId xmlns:a16="http://schemas.microsoft.com/office/drawing/2014/main" id="{4957A49D-7D49-823E-0A52-ACBD8DAD5D23}"/>
                    </a:ext>
                  </a:extLst>
                </p:cNvPr>
                <p:cNvSpPr/>
                <p:nvPr/>
              </p:nvSpPr>
              <p:spPr>
                <a:xfrm>
                  <a:off x="3886675" y="4569787"/>
                  <a:ext cx="756613" cy="965320"/>
                </a:xfrm>
                <a:custGeom>
                  <a:avLst/>
                  <a:gdLst>
                    <a:gd name="connsiteX0" fmla="*/ 469946 w 756613"/>
                    <a:gd name="connsiteY0" fmla="*/ 616988 h 965320"/>
                    <a:gd name="connsiteX1" fmla="*/ 469946 w 756613"/>
                    <a:gd name="connsiteY1" fmla="*/ 628611 h 965320"/>
                    <a:gd name="connsiteX2" fmla="*/ 452959 w 756613"/>
                    <a:gd name="connsiteY2" fmla="*/ 913633 h 965320"/>
                    <a:gd name="connsiteX3" fmla="*/ 459039 w 756613"/>
                    <a:gd name="connsiteY3" fmla="*/ 943315 h 965320"/>
                    <a:gd name="connsiteX4" fmla="*/ 530741 w 756613"/>
                    <a:gd name="connsiteY4" fmla="*/ 948680 h 965320"/>
                    <a:gd name="connsiteX5" fmla="*/ 539682 w 756613"/>
                    <a:gd name="connsiteY5" fmla="*/ 923646 h 965320"/>
                    <a:gd name="connsiteX6" fmla="*/ 556669 w 756613"/>
                    <a:gd name="connsiteY6" fmla="*/ 747340 h 965320"/>
                    <a:gd name="connsiteX7" fmla="*/ 564894 w 756613"/>
                    <a:gd name="connsiteY7" fmla="*/ 660081 h 965320"/>
                    <a:gd name="connsiteX8" fmla="*/ 566682 w 756613"/>
                    <a:gd name="connsiteY8" fmla="*/ 651498 h 965320"/>
                    <a:gd name="connsiteX9" fmla="*/ 573656 w 756613"/>
                    <a:gd name="connsiteY9" fmla="*/ 660975 h 965320"/>
                    <a:gd name="connsiteX10" fmla="*/ 673074 w 756613"/>
                    <a:gd name="connsiteY10" fmla="*/ 828162 h 965320"/>
                    <a:gd name="connsiteX11" fmla="*/ 701683 w 756613"/>
                    <a:gd name="connsiteY11" fmla="*/ 851228 h 965320"/>
                    <a:gd name="connsiteX12" fmla="*/ 756578 w 756613"/>
                    <a:gd name="connsiteY12" fmla="*/ 814572 h 965320"/>
                    <a:gd name="connsiteX13" fmla="*/ 749425 w 756613"/>
                    <a:gd name="connsiteY13" fmla="*/ 783460 h 965320"/>
                    <a:gd name="connsiteX14" fmla="*/ 602802 w 756613"/>
                    <a:gd name="connsiteY14" fmla="*/ 530444 h 965320"/>
                    <a:gd name="connsiteX15" fmla="*/ 538251 w 756613"/>
                    <a:gd name="connsiteY15" fmla="*/ 499152 h 965320"/>
                    <a:gd name="connsiteX16" fmla="*/ 425422 w 756613"/>
                    <a:gd name="connsiteY16" fmla="*/ 519179 h 965320"/>
                    <a:gd name="connsiteX17" fmla="*/ 419164 w 756613"/>
                    <a:gd name="connsiteY17" fmla="*/ 520073 h 965320"/>
                    <a:gd name="connsiteX18" fmla="*/ 388945 w 756613"/>
                    <a:gd name="connsiteY18" fmla="*/ 304071 h 965320"/>
                    <a:gd name="connsiteX19" fmla="*/ 401104 w 756613"/>
                    <a:gd name="connsiteY19" fmla="*/ 279574 h 965320"/>
                    <a:gd name="connsiteX20" fmla="*/ 528059 w 756613"/>
                    <a:gd name="connsiteY20" fmla="*/ 192315 h 965320"/>
                    <a:gd name="connsiteX21" fmla="*/ 550947 w 756613"/>
                    <a:gd name="connsiteY21" fmla="*/ 154408 h 965320"/>
                    <a:gd name="connsiteX22" fmla="*/ 527523 w 756613"/>
                    <a:gd name="connsiteY22" fmla="*/ 118646 h 965320"/>
                    <a:gd name="connsiteX23" fmla="*/ 369634 w 756613"/>
                    <a:gd name="connsiteY23" fmla="*/ 37645 h 965320"/>
                    <a:gd name="connsiteX24" fmla="*/ 358727 w 756613"/>
                    <a:gd name="connsiteY24" fmla="*/ 34784 h 965320"/>
                    <a:gd name="connsiteX25" fmla="*/ 334587 w 756613"/>
                    <a:gd name="connsiteY25" fmla="*/ 24056 h 965320"/>
                    <a:gd name="connsiteX26" fmla="*/ 198156 w 756613"/>
                    <a:gd name="connsiteY26" fmla="*/ 41042 h 965320"/>
                    <a:gd name="connsiteX27" fmla="*/ 181526 w 756613"/>
                    <a:gd name="connsiteY27" fmla="*/ 55526 h 965320"/>
                    <a:gd name="connsiteX28" fmla="*/ 24532 w 756613"/>
                    <a:gd name="connsiteY28" fmla="*/ 137600 h 965320"/>
                    <a:gd name="connsiteX29" fmla="*/ 11478 w 756613"/>
                    <a:gd name="connsiteY29" fmla="*/ 202507 h 965320"/>
                    <a:gd name="connsiteX30" fmla="*/ 30611 w 756613"/>
                    <a:gd name="connsiteY30" fmla="*/ 218421 h 965320"/>
                    <a:gd name="connsiteX31" fmla="*/ 152023 w 756613"/>
                    <a:gd name="connsiteY31" fmla="*/ 303535 h 965320"/>
                    <a:gd name="connsiteX32" fmla="*/ 179917 w 756613"/>
                    <a:gd name="connsiteY32" fmla="*/ 352350 h 965320"/>
                    <a:gd name="connsiteX33" fmla="*/ 223725 w 756613"/>
                    <a:gd name="connsiteY33" fmla="*/ 618597 h 965320"/>
                    <a:gd name="connsiteX34" fmla="*/ 304547 w 756613"/>
                    <a:gd name="connsiteY34" fmla="*/ 664372 h 965320"/>
                    <a:gd name="connsiteX35" fmla="*/ 459754 w 756613"/>
                    <a:gd name="connsiteY35" fmla="*/ 619670 h 965320"/>
                    <a:gd name="connsiteX36" fmla="*/ 469946 w 756613"/>
                    <a:gd name="connsiteY36" fmla="*/ 616988 h 965320"/>
                    <a:gd name="connsiteX37" fmla="*/ 190288 w 756613"/>
                    <a:gd name="connsiteY37" fmla="*/ 126513 h 965320"/>
                    <a:gd name="connsiteX38" fmla="*/ 280944 w 756613"/>
                    <a:gd name="connsiteY38" fmla="*/ 164063 h 965320"/>
                    <a:gd name="connsiteX39" fmla="*/ 358190 w 756613"/>
                    <a:gd name="connsiteY39" fmla="*/ 108632 h 965320"/>
                    <a:gd name="connsiteX40" fmla="*/ 447058 w 756613"/>
                    <a:gd name="connsiteY40" fmla="*/ 155302 h 965320"/>
                    <a:gd name="connsiteX41" fmla="*/ 353541 w 756613"/>
                    <a:gd name="connsiteY41" fmla="*/ 205011 h 965320"/>
                    <a:gd name="connsiteX42" fmla="*/ 341203 w 756613"/>
                    <a:gd name="connsiteY42" fmla="*/ 209481 h 965320"/>
                    <a:gd name="connsiteX43" fmla="*/ 201195 w 756613"/>
                    <a:gd name="connsiteY43" fmla="*/ 223965 h 965320"/>
                    <a:gd name="connsiteX44" fmla="*/ 192612 w 756613"/>
                    <a:gd name="connsiteY44" fmla="*/ 222534 h 965320"/>
                    <a:gd name="connsiteX45" fmla="*/ 113042 w 756613"/>
                    <a:gd name="connsiteY45" fmla="*/ 181944 h 965320"/>
                    <a:gd name="connsiteX46" fmla="*/ 106069 w 756613"/>
                    <a:gd name="connsiteY46" fmla="*/ 177474 h 965320"/>
                    <a:gd name="connsiteX47" fmla="*/ 190288 w 756613"/>
                    <a:gd name="connsiteY47" fmla="*/ 126513 h 96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56613" h="965320">
                      <a:moveTo>
                        <a:pt x="469946" y="616988"/>
                      </a:moveTo>
                      <a:cubicBezTo>
                        <a:pt x="469946" y="621637"/>
                        <a:pt x="469946" y="625213"/>
                        <a:pt x="469946" y="628611"/>
                      </a:cubicBezTo>
                      <a:cubicBezTo>
                        <a:pt x="467979" y="724274"/>
                        <a:pt x="454390" y="817970"/>
                        <a:pt x="452959" y="913633"/>
                      </a:cubicBezTo>
                      <a:cubicBezTo>
                        <a:pt x="452780" y="923468"/>
                        <a:pt x="454747" y="934375"/>
                        <a:pt x="459039" y="943315"/>
                      </a:cubicBezTo>
                      <a:cubicBezTo>
                        <a:pt x="471734" y="969779"/>
                        <a:pt x="514827" y="973355"/>
                        <a:pt x="530741" y="948680"/>
                      </a:cubicBezTo>
                      <a:cubicBezTo>
                        <a:pt x="535390" y="941348"/>
                        <a:pt x="538788" y="932229"/>
                        <a:pt x="539682" y="923646"/>
                      </a:cubicBezTo>
                      <a:cubicBezTo>
                        <a:pt x="545761" y="864997"/>
                        <a:pt x="551126" y="806168"/>
                        <a:pt x="556669" y="747340"/>
                      </a:cubicBezTo>
                      <a:cubicBezTo>
                        <a:pt x="559351" y="718194"/>
                        <a:pt x="562033" y="689227"/>
                        <a:pt x="564894" y="660081"/>
                      </a:cubicBezTo>
                      <a:cubicBezTo>
                        <a:pt x="565073" y="657578"/>
                        <a:pt x="565788" y="655253"/>
                        <a:pt x="566682" y="651498"/>
                      </a:cubicBezTo>
                      <a:cubicBezTo>
                        <a:pt x="569543" y="655432"/>
                        <a:pt x="571689" y="658114"/>
                        <a:pt x="573656" y="660975"/>
                      </a:cubicBezTo>
                      <a:cubicBezTo>
                        <a:pt x="610312" y="714439"/>
                        <a:pt x="636418" y="774698"/>
                        <a:pt x="673074" y="828162"/>
                      </a:cubicBezTo>
                      <a:cubicBezTo>
                        <a:pt x="680405" y="838712"/>
                        <a:pt x="689167" y="847295"/>
                        <a:pt x="701683" y="851228"/>
                      </a:cubicBezTo>
                      <a:cubicBezTo>
                        <a:pt x="724034" y="858381"/>
                        <a:pt x="756041" y="837997"/>
                        <a:pt x="756578" y="814572"/>
                      </a:cubicBezTo>
                      <a:cubicBezTo>
                        <a:pt x="756935" y="804202"/>
                        <a:pt x="754611" y="792400"/>
                        <a:pt x="749425" y="783460"/>
                      </a:cubicBezTo>
                      <a:cubicBezTo>
                        <a:pt x="701147" y="698704"/>
                        <a:pt x="652332" y="614485"/>
                        <a:pt x="602802" y="530444"/>
                      </a:cubicBezTo>
                      <a:cubicBezTo>
                        <a:pt x="588676" y="506484"/>
                        <a:pt x="567397" y="493967"/>
                        <a:pt x="538251" y="499152"/>
                      </a:cubicBezTo>
                      <a:cubicBezTo>
                        <a:pt x="499450" y="506126"/>
                        <a:pt x="464224" y="512384"/>
                        <a:pt x="425422" y="519179"/>
                      </a:cubicBezTo>
                      <a:cubicBezTo>
                        <a:pt x="423813" y="519537"/>
                        <a:pt x="422383" y="519716"/>
                        <a:pt x="419164" y="520073"/>
                      </a:cubicBezTo>
                      <a:cubicBezTo>
                        <a:pt x="415588" y="501477"/>
                        <a:pt x="394846" y="357535"/>
                        <a:pt x="388945" y="304071"/>
                      </a:cubicBezTo>
                      <a:cubicBezTo>
                        <a:pt x="387515" y="291912"/>
                        <a:pt x="390376" y="286190"/>
                        <a:pt x="401104" y="279574"/>
                      </a:cubicBezTo>
                      <a:cubicBezTo>
                        <a:pt x="447953" y="250965"/>
                        <a:pt x="481926" y="221998"/>
                        <a:pt x="528059" y="192315"/>
                      </a:cubicBezTo>
                      <a:cubicBezTo>
                        <a:pt x="541649" y="183554"/>
                        <a:pt x="550589" y="171216"/>
                        <a:pt x="550947" y="154408"/>
                      </a:cubicBezTo>
                      <a:cubicBezTo>
                        <a:pt x="551126" y="145825"/>
                        <a:pt x="545046" y="127944"/>
                        <a:pt x="527523" y="118646"/>
                      </a:cubicBezTo>
                      <a:cubicBezTo>
                        <a:pt x="466728" y="86818"/>
                        <a:pt x="430250" y="69473"/>
                        <a:pt x="369634" y="37645"/>
                      </a:cubicBezTo>
                      <a:cubicBezTo>
                        <a:pt x="366415" y="35857"/>
                        <a:pt x="361945" y="34069"/>
                        <a:pt x="358727" y="34784"/>
                      </a:cubicBezTo>
                      <a:cubicBezTo>
                        <a:pt x="347283" y="37824"/>
                        <a:pt x="341561" y="30671"/>
                        <a:pt x="334587" y="24056"/>
                      </a:cubicBezTo>
                      <a:cubicBezTo>
                        <a:pt x="293819" y="-14031"/>
                        <a:pt x="228196" y="-5806"/>
                        <a:pt x="198156" y="41042"/>
                      </a:cubicBezTo>
                      <a:cubicBezTo>
                        <a:pt x="193864" y="47837"/>
                        <a:pt x="189036" y="52129"/>
                        <a:pt x="181526" y="55526"/>
                      </a:cubicBezTo>
                      <a:cubicBezTo>
                        <a:pt x="164897" y="63036"/>
                        <a:pt x="36333" y="131520"/>
                        <a:pt x="24532" y="137600"/>
                      </a:cubicBezTo>
                      <a:cubicBezTo>
                        <a:pt x="-3363" y="152083"/>
                        <a:pt x="-7118" y="182838"/>
                        <a:pt x="11478" y="202507"/>
                      </a:cubicBezTo>
                      <a:cubicBezTo>
                        <a:pt x="17200" y="208587"/>
                        <a:pt x="23637" y="213951"/>
                        <a:pt x="30611" y="218421"/>
                      </a:cubicBezTo>
                      <a:cubicBezTo>
                        <a:pt x="77459" y="248819"/>
                        <a:pt x="152023" y="303535"/>
                        <a:pt x="152023" y="303535"/>
                      </a:cubicBezTo>
                      <a:cubicBezTo>
                        <a:pt x="170261" y="314085"/>
                        <a:pt x="177235" y="330177"/>
                        <a:pt x="179917" y="352350"/>
                      </a:cubicBezTo>
                      <a:cubicBezTo>
                        <a:pt x="181169" y="361827"/>
                        <a:pt x="223725" y="618597"/>
                        <a:pt x="223725" y="618597"/>
                      </a:cubicBezTo>
                      <a:cubicBezTo>
                        <a:pt x="233202" y="656505"/>
                        <a:pt x="266818" y="675101"/>
                        <a:pt x="304547" y="664372"/>
                      </a:cubicBezTo>
                      <a:cubicBezTo>
                        <a:pt x="356402" y="649531"/>
                        <a:pt x="408078" y="634511"/>
                        <a:pt x="459754" y="619670"/>
                      </a:cubicBezTo>
                      <a:cubicBezTo>
                        <a:pt x="462257" y="619134"/>
                        <a:pt x="465297" y="618240"/>
                        <a:pt x="469946" y="616988"/>
                      </a:cubicBezTo>
                      <a:close/>
                      <a:moveTo>
                        <a:pt x="190288" y="126513"/>
                      </a:moveTo>
                      <a:cubicBezTo>
                        <a:pt x="210136" y="166030"/>
                        <a:pt x="236778" y="168891"/>
                        <a:pt x="280944" y="164063"/>
                      </a:cubicBezTo>
                      <a:cubicBezTo>
                        <a:pt x="326720" y="159057"/>
                        <a:pt x="346567" y="140818"/>
                        <a:pt x="358190" y="108632"/>
                      </a:cubicBezTo>
                      <a:cubicBezTo>
                        <a:pt x="366237" y="111493"/>
                        <a:pt x="417018" y="137421"/>
                        <a:pt x="447058" y="155302"/>
                      </a:cubicBezTo>
                      <a:cubicBezTo>
                        <a:pt x="443661" y="157269"/>
                        <a:pt x="383760" y="189097"/>
                        <a:pt x="353541" y="205011"/>
                      </a:cubicBezTo>
                      <a:cubicBezTo>
                        <a:pt x="348713" y="207514"/>
                        <a:pt x="341203" y="209481"/>
                        <a:pt x="341203" y="209481"/>
                      </a:cubicBezTo>
                      <a:lnTo>
                        <a:pt x="201195" y="223965"/>
                      </a:lnTo>
                      <a:cubicBezTo>
                        <a:pt x="199586" y="225216"/>
                        <a:pt x="195116" y="223786"/>
                        <a:pt x="192612" y="222534"/>
                      </a:cubicBezTo>
                      <a:cubicBezTo>
                        <a:pt x="165970" y="209123"/>
                        <a:pt x="139506" y="195534"/>
                        <a:pt x="113042" y="181944"/>
                      </a:cubicBezTo>
                      <a:cubicBezTo>
                        <a:pt x="110896" y="180871"/>
                        <a:pt x="108930" y="179441"/>
                        <a:pt x="106069" y="177474"/>
                      </a:cubicBezTo>
                      <a:cubicBezTo>
                        <a:pt x="143797" y="152620"/>
                        <a:pt x="183314" y="130805"/>
                        <a:pt x="190288" y="126513"/>
                      </a:cubicBezTo>
                      <a:close/>
                    </a:path>
                  </a:pathLst>
                </a:custGeom>
                <a:solidFill>
                  <a:schemeClr val="bg1"/>
                </a:solidFill>
                <a:ln w="17859" cap="flat">
                  <a:noFill/>
                  <a:prstDash val="solid"/>
                  <a:miter/>
                </a:ln>
              </p:spPr>
              <p:txBody>
                <a:bodyPr rtlCol="0" anchor="ctr"/>
                <a:lstStyle/>
                <a:p>
                  <a:endParaRPr lang="en-US"/>
                </a:p>
              </p:txBody>
            </p:sp>
            <p:sp>
              <p:nvSpPr>
                <p:cNvPr id="78" name="Freeform: Shape 99">
                  <a:extLst>
                    <a:ext uri="{FF2B5EF4-FFF2-40B4-BE49-F238E27FC236}">
                      <a16:creationId xmlns:a16="http://schemas.microsoft.com/office/drawing/2014/main" id="{DC1A0910-D367-8E38-77C7-6206B4503ECF}"/>
                    </a:ext>
                  </a:extLst>
                </p:cNvPr>
                <p:cNvSpPr/>
                <p:nvPr/>
              </p:nvSpPr>
              <p:spPr>
                <a:xfrm>
                  <a:off x="4054433" y="4548065"/>
                  <a:ext cx="203306" cy="202065"/>
                </a:xfrm>
                <a:custGeom>
                  <a:avLst/>
                  <a:gdLst>
                    <a:gd name="connsiteX0" fmla="*/ 100670 w 203306"/>
                    <a:gd name="connsiteY0" fmla="*/ 2 h 202065"/>
                    <a:gd name="connsiteX1" fmla="*/ 203306 w 203306"/>
                    <a:gd name="connsiteY1" fmla="*/ 100851 h 202065"/>
                    <a:gd name="connsiteX2" fmla="*/ 102637 w 203306"/>
                    <a:gd name="connsiteY2" fmla="*/ 202057 h 202065"/>
                    <a:gd name="connsiteX3" fmla="*/ 0 w 203306"/>
                    <a:gd name="connsiteY3" fmla="*/ 100493 h 202065"/>
                    <a:gd name="connsiteX4" fmla="*/ 100670 w 203306"/>
                    <a:gd name="connsiteY4" fmla="*/ 2 h 202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306" h="202065">
                      <a:moveTo>
                        <a:pt x="100670" y="2"/>
                      </a:moveTo>
                      <a:cubicBezTo>
                        <a:pt x="157889" y="-355"/>
                        <a:pt x="203306" y="44347"/>
                        <a:pt x="203306" y="100851"/>
                      </a:cubicBezTo>
                      <a:cubicBezTo>
                        <a:pt x="203128" y="156103"/>
                        <a:pt x="158246" y="201163"/>
                        <a:pt x="102637" y="202057"/>
                      </a:cubicBezTo>
                      <a:cubicBezTo>
                        <a:pt x="46669" y="202772"/>
                        <a:pt x="0" y="156639"/>
                        <a:pt x="0" y="100493"/>
                      </a:cubicBezTo>
                      <a:cubicBezTo>
                        <a:pt x="179" y="44883"/>
                        <a:pt x="44702" y="360"/>
                        <a:pt x="100670" y="2"/>
                      </a:cubicBezTo>
                    </a:path>
                  </a:pathLst>
                </a:custGeom>
                <a:solidFill>
                  <a:schemeClr val="bg1"/>
                </a:solidFill>
                <a:ln w="17859" cap="flat">
                  <a:noFill/>
                  <a:prstDash val="solid"/>
                  <a:miter/>
                </a:ln>
              </p:spPr>
              <p:txBody>
                <a:bodyPr rtlCol="0" anchor="ctr"/>
                <a:lstStyle/>
                <a:p>
                  <a:endParaRPr lang="en-US"/>
                </a:p>
              </p:txBody>
            </p:sp>
            <p:sp>
              <p:nvSpPr>
                <p:cNvPr id="79" name="Freeform: Shape 100">
                  <a:extLst>
                    <a:ext uri="{FF2B5EF4-FFF2-40B4-BE49-F238E27FC236}">
                      <a16:creationId xmlns:a16="http://schemas.microsoft.com/office/drawing/2014/main" id="{23642C4D-D388-1ED3-E38E-0B11E5B2E9E4}"/>
                    </a:ext>
                  </a:extLst>
                </p:cNvPr>
                <p:cNvSpPr/>
                <p:nvPr/>
              </p:nvSpPr>
              <p:spPr>
                <a:xfrm>
                  <a:off x="3979333" y="4920169"/>
                  <a:ext cx="324360" cy="407864"/>
                </a:xfrm>
                <a:custGeom>
                  <a:avLst/>
                  <a:gdLst>
                    <a:gd name="connsiteX0" fmla="*/ 0 w 324360"/>
                    <a:gd name="connsiteY0" fmla="*/ 0 h 407864"/>
                    <a:gd name="connsiteX1" fmla="*/ 99060 w 324360"/>
                    <a:gd name="connsiteY1" fmla="*/ 407865 h 407864"/>
                    <a:gd name="connsiteX2" fmla="*/ 324360 w 324360"/>
                    <a:gd name="connsiteY2" fmla="*/ 343672 h 407864"/>
                  </a:gdLst>
                  <a:ahLst/>
                  <a:cxnLst>
                    <a:cxn ang="0">
                      <a:pos x="connsiteX0" y="connsiteY0"/>
                    </a:cxn>
                    <a:cxn ang="0">
                      <a:pos x="connsiteX1" y="connsiteY1"/>
                    </a:cxn>
                    <a:cxn ang="0">
                      <a:pos x="connsiteX2" y="connsiteY2"/>
                    </a:cxn>
                  </a:cxnLst>
                  <a:rect l="l" t="t" r="r" b="b"/>
                  <a:pathLst>
                    <a:path w="324360" h="407864">
                      <a:moveTo>
                        <a:pt x="0" y="0"/>
                      </a:moveTo>
                      <a:lnTo>
                        <a:pt x="99060" y="407865"/>
                      </a:lnTo>
                      <a:lnTo>
                        <a:pt x="324360" y="343672"/>
                      </a:lnTo>
                    </a:path>
                  </a:pathLst>
                </a:custGeom>
                <a:noFill/>
                <a:ln w="9525" cap="rnd">
                  <a:solidFill>
                    <a:schemeClr val="bg1"/>
                  </a:solidFill>
                  <a:prstDash val="solid"/>
                  <a:round/>
                </a:ln>
              </p:spPr>
              <p:txBody>
                <a:bodyPr rtlCol="0" anchor="ctr"/>
                <a:lstStyle/>
                <a:p>
                  <a:endParaRPr lang="en-US"/>
                </a:p>
              </p:txBody>
            </p:sp>
          </p:grpSp>
        </p:grpSp>
      </p:grpSp>
      <p:sp>
        <p:nvSpPr>
          <p:cNvPr id="84" name="Fußzeilenplatzhalter 4">
            <a:extLst>
              <a:ext uri="{FF2B5EF4-FFF2-40B4-BE49-F238E27FC236}">
                <a16:creationId xmlns:a16="http://schemas.microsoft.com/office/drawing/2014/main" id="{830287CC-5935-FB5E-0191-FBD8F3EB78CB}"/>
              </a:ext>
            </a:extLst>
          </p:cNvPr>
          <p:cNvSpPr txBox="1">
            <a:spLocks/>
          </p:cNvSpPr>
          <p:nvPr/>
        </p:nvSpPr>
        <p:spPr>
          <a:xfrm>
            <a:off x="304799" y="6494833"/>
            <a:ext cx="11582399" cy="304800"/>
          </a:xfrm>
          <a:prstGeom prst="rect">
            <a:avLst/>
          </a:prstGeom>
        </p:spPr>
        <p:txBody>
          <a:bodyPr/>
          <a:lstStyle>
            <a:defPPr>
              <a:defRPr lang="en-US"/>
            </a:defPPr>
            <a:lvl1pPr lvl="0" algn="l" rtl="0">
              <a:defRPr lang="en-US" sz="1800" dirty="0">
                <a:solidFill>
                  <a:schemeClr val="tx1"/>
                </a:solidFill>
                <a:latin typeface="+mn-lt"/>
              </a:defRPr>
            </a:lvl1pPr>
            <a:lvl2pPr marL="457200" lvl="1" algn="l" rtl="0">
              <a:defRPr lang="en-US" sz="1800" dirty="0">
                <a:solidFill>
                  <a:schemeClr val="tx1"/>
                </a:solidFill>
                <a:latin typeface="+mn-lt"/>
              </a:defRPr>
            </a:lvl2pPr>
            <a:lvl3pPr marL="914400" lvl="2" algn="l" rtl="0">
              <a:defRPr lang="en-US" sz="1800" dirty="0">
                <a:solidFill>
                  <a:schemeClr val="tx1"/>
                </a:solidFill>
                <a:latin typeface="+mn-lt"/>
              </a:defRPr>
            </a:lvl3pPr>
            <a:lvl4pPr marL="1371600" lvl="3" algn="l" rtl="0">
              <a:defRPr lang="en-US" sz="1800" dirty="0">
                <a:solidFill>
                  <a:schemeClr val="tx1"/>
                </a:solidFill>
                <a:latin typeface="+mn-lt"/>
              </a:defRPr>
            </a:lvl4pPr>
            <a:lvl5pPr marL="1828800" lvl="4" algn="l" rtl="0">
              <a:defRPr lang="en-US" sz="1800" dirty="0">
                <a:solidFill>
                  <a:schemeClr val="tx1"/>
                </a:solidFill>
                <a:latin typeface="+mn-lt"/>
              </a:defRPr>
            </a:lvl5pPr>
            <a:lvl6pPr marL="2286000" lvl="5" algn="l" rtl="0">
              <a:defRPr lang="en-US" sz="1800" dirty="0">
                <a:solidFill>
                  <a:schemeClr val="tx1"/>
                </a:solidFill>
                <a:latin typeface="+mn-lt"/>
              </a:defRPr>
            </a:lvl6pPr>
            <a:lvl7pPr marL="2743200" lvl="6" algn="l" rtl="0">
              <a:defRPr lang="en-US" sz="1800" dirty="0">
                <a:solidFill>
                  <a:schemeClr val="tx1"/>
                </a:solidFill>
                <a:latin typeface="+mn-lt"/>
              </a:defRPr>
            </a:lvl7pPr>
            <a:lvl8pPr marL="3200400" lvl="7" algn="l" rtl="0">
              <a:defRPr lang="en-US" sz="1800" dirty="0">
                <a:solidFill>
                  <a:schemeClr val="tx1"/>
                </a:solidFill>
                <a:latin typeface="+mn-lt"/>
              </a:defRPr>
            </a:lvl8pPr>
            <a:lvl9pPr marL="3657600" lvl="8" algn="l" rtl="0">
              <a:defRPr lang="en-US" sz="1800" dirty="0">
                <a:solidFill>
                  <a:schemeClr val="tx1"/>
                </a:solidFill>
                <a:latin typeface="+mn-lt"/>
              </a:defRPr>
            </a:lvl9pPr>
          </a:lstStyle>
          <a:p>
            <a:endParaRPr lang="en-US"/>
          </a:p>
          <a:p>
            <a:r>
              <a:rPr lang="en-US"/>
              <a:t>Thermo Fisher Scientific products are distributed globally, so uses, applications, and availability of product in each country depend on local regulatory marketing authorization status. </a:t>
            </a:r>
            <a:r>
              <a:rPr lang="en-US">
                <a:sym typeface="+mn-lt"/>
              </a:rPr>
              <a:t>| system.support.fi@thermofisher.com | </a:t>
            </a:r>
            <a:r>
              <a:rPr lang="en-US"/>
              <a:t>September 2020</a:t>
            </a:r>
            <a:endParaRPr lang="en-US">
              <a:sym typeface="+mn-lt"/>
            </a:endParaRPr>
          </a:p>
        </p:txBody>
      </p:sp>
    </p:spTree>
    <p:extLst>
      <p:ext uri="{BB962C8B-B14F-4D97-AF65-F5344CB8AC3E}">
        <p14:creationId xmlns:p14="http://schemas.microsoft.com/office/powerpoint/2010/main" val="24225747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2A6D2F-F7CA-EB6A-F157-FD575B4B671E}"/>
              </a:ext>
            </a:extLst>
          </p:cNvPr>
          <p:cNvSpPr txBox="1">
            <a:spLocks/>
          </p:cNvSpPr>
          <p:nvPr/>
        </p:nvSpPr>
        <p:spPr>
          <a:xfrm>
            <a:off x="304800" y="304799"/>
            <a:ext cx="11353795" cy="381001"/>
          </a:xfrm>
          <a:prstGeom prst="rect">
            <a:avLst/>
          </a:prstGeom>
        </p:spPr>
        <p:txBody>
          <a:bodyPr/>
          <a:lstStyle>
            <a:lvl1pPr lvl="0" algn="l" rtl="0">
              <a:lnSpc>
                <a:spcPct val="90000"/>
              </a:lnSpc>
              <a:spcBef>
                <a:spcPct val="0"/>
              </a:spcBef>
              <a:buNone/>
              <a:defRPr lang="en-US" sz="4400" dirty="0">
                <a:solidFill>
                  <a:schemeClr val="tx1"/>
                </a:solidFill>
                <a:latin typeface="+mj-lt"/>
              </a:defRPr>
            </a:lvl1pPr>
          </a:lstStyle>
          <a:p>
            <a:r>
              <a:rPr lang="pl-PL" sz="3600" dirty="0" err="1">
                <a:solidFill>
                  <a:srgbClr val="FF0000"/>
                </a:solidFill>
                <a:sym typeface="+mj-lt"/>
              </a:rPr>
              <a:t>Indiko</a:t>
            </a:r>
            <a:r>
              <a:rPr lang="pl-PL" sz="3600" dirty="0">
                <a:solidFill>
                  <a:srgbClr val="FF0000"/>
                </a:solidFill>
                <a:sym typeface="+mj-lt"/>
              </a:rPr>
              <a:t> vs. </a:t>
            </a:r>
            <a:r>
              <a:rPr lang="pl-PL" sz="3600" dirty="0" err="1">
                <a:solidFill>
                  <a:srgbClr val="FF0000"/>
                </a:solidFill>
                <a:sym typeface="+mj-lt"/>
              </a:rPr>
              <a:t>Indiko</a:t>
            </a:r>
            <a:r>
              <a:rPr lang="pl-PL" sz="3600" dirty="0">
                <a:solidFill>
                  <a:srgbClr val="FF0000"/>
                </a:solidFill>
                <a:sym typeface="+mj-lt"/>
              </a:rPr>
              <a:t> Plus </a:t>
            </a:r>
            <a:r>
              <a:rPr lang="pl-PL" altLang="fi-FI" sz="3600" dirty="0">
                <a:solidFill>
                  <a:srgbClr val="FF0000"/>
                </a:solidFill>
              </a:rPr>
              <a:t>– widok wewnętrzny</a:t>
            </a:r>
            <a:endParaRPr lang="pl-PL" sz="3600" dirty="0">
              <a:solidFill>
                <a:srgbClr val="FF0000"/>
              </a:solidFill>
              <a:sym typeface="+mj-lt"/>
            </a:endParaRPr>
          </a:p>
        </p:txBody>
      </p:sp>
      <p:pic>
        <p:nvPicPr>
          <p:cNvPr id="4" name="Grafik 6" descr="Ein Bild, das Tisch, Telefon enthält.&#10;&#10;Automatisch generierte Beschreibung">
            <a:extLst>
              <a:ext uri="{FF2B5EF4-FFF2-40B4-BE49-F238E27FC236}">
                <a16:creationId xmlns:a16="http://schemas.microsoft.com/office/drawing/2014/main" id="{D33B07D8-33B5-AD41-31C6-568287717CD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20453" y="1420037"/>
            <a:ext cx="3898925" cy="4677487"/>
          </a:xfrm>
          <a:prstGeom prst="rect">
            <a:avLst/>
          </a:prstGeom>
        </p:spPr>
      </p:pic>
      <p:pic>
        <p:nvPicPr>
          <p:cNvPr id="5" name="Picture 7">
            <a:extLst>
              <a:ext uri="{FF2B5EF4-FFF2-40B4-BE49-F238E27FC236}">
                <a16:creationId xmlns:a16="http://schemas.microsoft.com/office/drawing/2014/main" id="{ECE4812E-9019-BE5C-88E6-4AFBA2A8F929}"/>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73985" y="866025"/>
            <a:ext cx="768061" cy="606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rafik 8">
            <a:extLst>
              <a:ext uri="{FF2B5EF4-FFF2-40B4-BE49-F238E27FC236}">
                <a16:creationId xmlns:a16="http://schemas.microsoft.com/office/drawing/2014/main" id="{213A4D02-4A08-0B3C-B77C-A09F64EAA0BF}"/>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6405867" y="1318056"/>
            <a:ext cx="4973840" cy="4593264"/>
          </a:xfrm>
          <a:prstGeom prst="rect">
            <a:avLst/>
          </a:prstGeom>
        </p:spPr>
      </p:pic>
      <p:pic>
        <p:nvPicPr>
          <p:cNvPr id="7" name="Picture 6">
            <a:extLst>
              <a:ext uri="{FF2B5EF4-FFF2-40B4-BE49-F238E27FC236}">
                <a16:creationId xmlns:a16="http://schemas.microsoft.com/office/drawing/2014/main" id="{CD8FC55B-C05A-BB2A-D2EA-AAA80F88345B}"/>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228835" y="816620"/>
            <a:ext cx="957776" cy="658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11">
            <a:extLst>
              <a:ext uri="{FF2B5EF4-FFF2-40B4-BE49-F238E27FC236}">
                <a16:creationId xmlns:a16="http://schemas.microsoft.com/office/drawing/2014/main" id="{C78001F5-CF0A-BF5B-816E-2CDA6D2C05A2}"/>
              </a:ext>
            </a:extLst>
          </p:cNvPr>
          <p:cNvCxnSpPr>
            <a:cxnSpLocks/>
          </p:cNvCxnSpPr>
          <p:nvPr/>
        </p:nvCxnSpPr>
        <p:spPr>
          <a:xfrm>
            <a:off x="6096000" y="1447800"/>
            <a:ext cx="0" cy="460795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 name="TextBox 21">
            <a:extLst>
              <a:ext uri="{FF2B5EF4-FFF2-40B4-BE49-F238E27FC236}">
                <a16:creationId xmlns:a16="http://schemas.microsoft.com/office/drawing/2014/main" id="{007F5644-82AF-3BF7-4A42-F4FE524B8CFB}"/>
              </a:ext>
            </a:extLst>
          </p:cNvPr>
          <p:cNvSpPr txBox="1">
            <a:spLocks noChangeArrowheads="1"/>
          </p:cNvSpPr>
          <p:nvPr/>
        </p:nvSpPr>
        <p:spPr bwMode="auto">
          <a:xfrm>
            <a:off x="7239756" y="1653509"/>
            <a:ext cx="1163313" cy="330072"/>
          </a:xfrm>
          <a:prstGeom prst="rect">
            <a:avLst/>
          </a:prstGeom>
          <a:solidFill>
            <a:schemeClr val="bg1"/>
          </a:solidFill>
          <a:ln>
            <a:solidFill>
              <a:schemeClr val="tx1"/>
            </a:solidFill>
          </a:ln>
        </p:spPr>
        <p:txBody>
          <a:bodyPr wrap="none" lIns="72000" tIns="72000" rIns="72000" bIns="72000">
            <a:spAutoFit/>
          </a:bodyPr>
          <a:lstStyle>
            <a:defPPr>
              <a:defRPr lang="en-US"/>
            </a:defPPr>
            <a:lvl1pPr algn="ctr">
              <a:defRPr sz="1600">
                <a:solidFill>
                  <a:schemeClr val="bg1"/>
                </a:solidFill>
                <a:latin typeface="Arial" panose="020B0604020202020204" pitchFamily="34" charset="0"/>
              </a:defRPr>
            </a:lvl1pPr>
            <a:lvl2pPr marL="742950" indent="-285750">
              <a:defRPr sz="2400">
                <a:latin typeface="Arial" panose="020B0604020202020204" pitchFamily="34" charset="0"/>
              </a:defRPr>
            </a:lvl2pPr>
            <a:lvl3pPr marL="1143000" indent="-228600">
              <a:defRPr sz="2400">
                <a:latin typeface="Arial" panose="020B0604020202020204" pitchFamily="34" charset="0"/>
              </a:defRPr>
            </a:lvl3pPr>
            <a:lvl4pPr marL="1600200" indent="-228600">
              <a:defRPr sz="2400">
                <a:latin typeface="Arial" panose="020B0604020202020204" pitchFamily="34" charset="0"/>
              </a:defRPr>
            </a:lvl4pPr>
            <a:lvl5pPr marL="2057400" indent="-228600">
              <a:defRPr sz="2400">
                <a:latin typeface="Arial" panose="020B0604020202020204" pitchFamily="34" charset="0"/>
              </a:defRPr>
            </a:lvl5pPr>
            <a:lvl6pPr marL="2514600" indent="-228600" eaLnBrk="0" fontAlgn="base" hangingPunct="0">
              <a:spcBef>
                <a:spcPct val="0"/>
              </a:spcBef>
              <a:spcAft>
                <a:spcPct val="0"/>
              </a:spcAft>
              <a:defRPr sz="2400">
                <a:latin typeface="Arial" panose="020B0604020202020204" pitchFamily="34" charset="0"/>
              </a:defRPr>
            </a:lvl6pPr>
            <a:lvl7pPr marL="2971800" indent="-228600" eaLnBrk="0" fontAlgn="base" hangingPunct="0">
              <a:spcBef>
                <a:spcPct val="0"/>
              </a:spcBef>
              <a:spcAft>
                <a:spcPct val="0"/>
              </a:spcAft>
              <a:defRPr sz="2400">
                <a:latin typeface="Arial" panose="020B0604020202020204" pitchFamily="34" charset="0"/>
              </a:defRPr>
            </a:lvl7pPr>
            <a:lvl8pPr marL="3429000" indent="-228600" eaLnBrk="0" fontAlgn="base" hangingPunct="0">
              <a:spcBef>
                <a:spcPct val="0"/>
              </a:spcBef>
              <a:spcAft>
                <a:spcPct val="0"/>
              </a:spcAft>
              <a:defRPr sz="2400">
                <a:latin typeface="Arial" panose="020B0604020202020204" pitchFamily="34" charset="0"/>
              </a:defRPr>
            </a:lvl8pPr>
            <a:lvl9pPr marL="3886200" indent="-228600" eaLnBrk="0" fontAlgn="base" hangingPunct="0">
              <a:spcBef>
                <a:spcPct val="0"/>
              </a:spcBef>
              <a:spcAft>
                <a:spcPct val="0"/>
              </a:spcAft>
              <a:defRPr sz="2400">
                <a:latin typeface="Arial" panose="020B0604020202020204" pitchFamily="34" charset="0"/>
              </a:defRPr>
            </a:lvl9pPr>
          </a:lstStyle>
          <a:p>
            <a:pPr algn="r"/>
            <a:r>
              <a:rPr lang="en-US" altLang="fi-FI" sz="1200" b="1" dirty="0">
                <a:solidFill>
                  <a:schemeClr val="tx1"/>
                </a:solidFill>
                <a:latin typeface="+mn-lt"/>
                <a:sym typeface="+mn-lt"/>
              </a:rPr>
              <a:t>Sample probe</a:t>
            </a:r>
          </a:p>
        </p:txBody>
      </p:sp>
      <p:sp>
        <p:nvSpPr>
          <p:cNvPr id="10" name="TextBox 26">
            <a:extLst>
              <a:ext uri="{FF2B5EF4-FFF2-40B4-BE49-F238E27FC236}">
                <a16:creationId xmlns:a16="http://schemas.microsoft.com/office/drawing/2014/main" id="{DEF5D45B-E9FB-D0C6-6F6F-0B31043C526A}"/>
              </a:ext>
            </a:extLst>
          </p:cNvPr>
          <p:cNvSpPr txBox="1">
            <a:spLocks noChangeArrowheads="1"/>
          </p:cNvSpPr>
          <p:nvPr/>
        </p:nvSpPr>
        <p:spPr bwMode="auto">
          <a:xfrm>
            <a:off x="10058401" y="1578610"/>
            <a:ext cx="546157" cy="330072"/>
          </a:xfrm>
          <a:prstGeom prst="rect">
            <a:avLst/>
          </a:prstGeom>
          <a:solidFill>
            <a:schemeClr val="bg1"/>
          </a:solidFill>
          <a:ln>
            <a:solidFill>
              <a:schemeClr val="tx1"/>
            </a:solidFill>
          </a:ln>
        </p:spPr>
        <p:txBody>
          <a:bodyPr wrap="none" lIns="72000" tIns="72000" rIns="72000" bIns="72000">
            <a:spAutoFit/>
          </a:bodyPr>
          <a:lstStyle>
            <a:defPPr>
              <a:defRPr lang="en-US"/>
            </a:defPPr>
            <a:lvl1pPr algn="ctr">
              <a:defRPr sz="1600">
                <a:solidFill>
                  <a:schemeClr val="bg1"/>
                </a:solidFill>
                <a:latin typeface="Arial" panose="020B0604020202020204" pitchFamily="34" charset="0"/>
              </a:defRPr>
            </a:lvl1pPr>
            <a:lvl2pPr marL="742950" indent="-285750">
              <a:defRPr sz="2400">
                <a:latin typeface="Arial" panose="020B0604020202020204" pitchFamily="34" charset="0"/>
              </a:defRPr>
            </a:lvl2pPr>
            <a:lvl3pPr marL="1143000" indent="-228600">
              <a:defRPr sz="2400">
                <a:latin typeface="Arial" panose="020B0604020202020204" pitchFamily="34" charset="0"/>
              </a:defRPr>
            </a:lvl3pPr>
            <a:lvl4pPr marL="1600200" indent="-228600">
              <a:defRPr sz="2400">
                <a:latin typeface="Arial" panose="020B0604020202020204" pitchFamily="34" charset="0"/>
              </a:defRPr>
            </a:lvl4pPr>
            <a:lvl5pPr marL="2057400" indent="-228600">
              <a:defRPr sz="2400">
                <a:latin typeface="Arial" panose="020B0604020202020204" pitchFamily="34" charset="0"/>
              </a:defRPr>
            </a:lvl5pPr>
            <a:lvl6pPr marL="2514600" indent="-228600" eaLnBrk="0" fontAlgn="base" hangingPunct="0">
              <a:spcBef>
                <a:spcPct val="0"/>
              </a:spcBef>
              <a:spcAft>
                <a:spcPct val="0"/>
              </a:spcAft>
              <a:defRPr sz="2400">
                <a:latin typeface="Arial" panose="020B0604020202020204" pitchFamily="34" charset="0"/>
              </a:defRPr>
            </a:lvl6pPr>
            <a:lvl7pPr marL="2971800" indent="-228600" eaLnBrk="0" fontAlgn="base" hangingPunct="0">
              <a:spcBef>
                <a:spcPct val="0"/>
              </a:spcBef>
              <a:spcAft>
                <a:spcPct val="0"/>
              </a:spcAft>
              <a:defRPr sz="2400">
                <a:latin typeface="Arial" panose="020B0604020202020204" pitchFamily="34" charset="0"/>
              </a:defRPr>
            </a:lvl7pPr>
            <a:lvl8pPr marL="3429000" indent="-228600" eaLnBrk="0" fontAlgn="base" hangingPunct="0">
              <a:spcBef>
                <a:spcPct val="0"/>
              </a:spcBef>
              <a:spcAft>
                <a:spcPct val="0"/>
              </a:spcAft>
              <a:defRPr sz="2400">
                <a:latin typeface="Arial" panose="020B0604020202020204" pitchFamily="34" charset="0"/>
              </a:defRPr>
            </a:lvl8pPr>
            <a:lvl9pPr marL="3886200" indent="-228600" eaLnBrk="0" fontAlgn="base" hangingPunct="0">
              <a:spcBef>
                <a:spcPct val="0"/>
              </a:spcBef>
              <a:spcAft>
                <a:spcPct val="0"/>
              </a:spcAft>
              <a:defRPr sz="2400">
                <a:latin typeface="Arial" panose="020B0604020202020204" pitchFamily="34" charset="0"/>
              </a:defRPr>
            </a:lvl9pPr>
          </a:lstStyle>
          <a:p>
            <a:r>
              <a:rPr lang="en-US" altLang="fi-FI" sz="1200" b="1" dirty="0">
                <a:solidFill>
                  <a:schemeClr val="tx1"/>
                </a:solidFill>
                <a:latin typeface="+mn-lt"/>
                <a:sym typeface="+mn-lt"/>
              </a:rPr>
              <a:t>Mixer</a:t>
            </a:r>
          </a:p>
        </p:txBody>
      </p:sp>
      <p:sp>
        <p:nvSpPr>
          <p:cNvPr id="11" name="TextBox 29">
            <a:extLst>
              <a:ext uri="{FF2B5EF4-FFF2-40B4-BE49-F238E27FC236}">
                <a16:creationId xmlns:a16="http://schemas.microsoft.com/office/drawing/2014/main" id="{2EE4BEC7-95E9-204A-EC6A-BDCA5B203711}"/>
              </a:ext>
            </a:extLst>
          </p:cNvPr>
          <p:cNvSpPr txBox="1">
            <a:spLocks noChangeArrowheads="1"/>
          </p:cNvSpPr>
          <p:nvPr/>
        </p:nvSpPr>
        <p:spPr bwMode="auto">
          <a:xfrm>
            <a:off x="10750194" y="2586283"/>
            <a:ext cx="1222624" cy="330072"/>
          </a:xfrm>
          <a:prstGeom prst="rect">
            <a:avLst/>
          </a:prstGeom>
          <a:solidFill>
            <a:schemeClr val="bg1"/>
          </a:solidFill>
          <a:ln>
            <a:solidFill>
              <a:schemeClr val="tx1"/>
            </a:solidFill>
          </a:ln>
        </p:spPr>
        <p:txBody>
          <a:bodyPr wrap="none" lIns="72000" tIns="72000" rIns="72000" bIns="72000">
            <a:spAutoFit/>
          </a:bodyPr>
          <a:lstStyle>
            <a:defPPr>
              <a:defRPr lang="en-US"/>
            </a:defPPr>
            <a:lvl1pPr algn="ctr">
              <a:defRPr sz="1600">
                <a:solidFill>
                  <a:schemeClr val="bg1"/>
                </a:solidFill>
                <a:latin typeface="Arial" panose="020B0604020202020204" pitchFamily="34" charset="0"/>
              </a:defRPr>
            </a:lvl1pPr>
            <a:lvl2pPr marL="742950" indent="-285750">
              <a:defRPr sz="2400">
                <a:latin typeface="Arial" panose="020B0604020202020204" pitchFamily="34" charset="0"/>
              </a:defRPr>
            </a:lvl2pPr>
            <a:lvl3pPr marL="1143000" indent="-228600">
              <a:defRPr sz="2400">
                <a:latin typeface="Arial" panose="020B0604020202020204" pitchFamily="34" charset="0"/>
              </a:defRPr>
            </a:lvl3pPr>
            <a:lvl4pPr marL="1600200" indent="-228600">
              <a:defRPr sz="2400">
                <a:latin typeface="Arial" panose="020B0604020202020204" pitchFamily="34" charset="0"/>
              </a:defRPr>
            </a:lvl4pPr>
            <a:lvl5pPr marL="2057400" indent="-228600">
              <a:defRPr sz="2400">
                <a:latin typeface="Arial" panose="020B0604020202020204" pitchFamily="34" charset="0"/>
              </a:defRPr>
            </a:lvl5pPr>
            <a:lvl6pPr marL="2514600" indent="-228600" eaLnBrk="0" fontAlgn="base" hangingPunct="0">
              <a:spcBef>
                <a:spcPct val="0"/>
              </a:spcBef>
              <a:spcAft>
                <a:spcPct val="0"/>
              </a:spcAft>
              <a:defRPr sz="2400">
                <a:latin typeface="Arial" panose="020B0604020202020204" pitchFamily="34" charset="0"/>
              </a:defRPr>
            </a:lvl6pPr>
            <a:lvl7pPr marL="2971800" indent="-228600" eaLnBrk="0" fontAlgn="base" hangingPunct="0">
              <a:spcBef>
                <a:spcPct val="0"/>
              </a:spcBef>
              <a:spcAft>
                <a:spcPct val="0"/>
              </a:spcAft>
              <a:defRPr sz="2400">
                <a:latin typeface="Arial" panose="020B0604020202020204" pitchFamily="34" charset="0"/>
              </a:defRPr>
            </a:lvl7pPr>
            <a:lvl8pPr marL="3429000" indent="-228600" eaLnBrk="0" fontAlgn="base" hangingPunct="0">
              <a:spcBef>
                <a:spcPct val="0"/>
              </a:spcBef>
              <a:spcAft>
                <a:spcPct val="0"/>
              </a:spcAft>
              <a:defRPr sz="2400">
                <a:latin typeface="Arial" panose="020B0604020202020204" pitchFamily="34" charset="0"/>
              </a:defRPr>
            </a:lvl8pPr>
            <a:lvl9pPr marL="3886200" indent="-228600" eaLnBrk="0" fontAlgn="base" hangingPunct="0">
              <a:spcBef>
                <a:spcPct val="0"/>
              </a:spcBef>
              <a:spcAft>
                <a:spcPct val="0"/>
              </a:spcAft>
              <a:defRPr sz="2400">
                <a:latin typeface="Arial" panose="020B0604020202020204" pitchFamily="34" charset="0"/>
              </a:defRPr>
            </a:lvl9pPr>
          </a:lstStyle>
          <a:p>
            <a:pPr algn="l"/>
            <a:r>
              <a:rPr lang="en-US" altLang="fi-FI" sz="1200" b="1" dirty="0">
                <a:solidFill>
                  <a:schemeClr val="tx1"/>
                </a:solidFill>
                <a:latin typeface="+mn-lt"/>
                <a:sym typeface="+mn-lt"/>
              </a:rPr>
              <a:t>Reagent probe</a:t>
            </a:r>
          </a:p>
        </p:txBody>
      </p:sp>
      <p:sp>
        <p:nvSpPr>
          <p:cNvPr id="12" name="TextBox 36">
            <a:extLst>
              <a:ext uri="{FF2B5EF4-FFF2-40B4-BE49-F238E27FC236}">
                <a16:creationId xmlns:a16="http://schemas.microsoft.com/office/drawing/2014/main" id="{2755A07D-1076-CFC7-A1F8-88A516062E54}"/>
              </a:ext>
            </a:extLst>
          </p:cNvPr>
          <p:cNvSpPr txBox="1">
            <a:spLocks noChangeArrowheads="1"/>
          </p:cNvSpPr>
          <p:nvPr/>
        </p:nvSpPr>
        <p:spPr bwMode="auto">
          <a:xfrm>
            <a:off x="10701769" y="4791632"/>
            <a:ext cx="1147283" cy="514738"/>
          </a:xfrm>
          <a:prstGeom prst="rect">
            <a:avLst/>
          </a:prstGeom>
          <a:solidFill>
            <a:schemeClr val="bg1"/>
          </a:solidFill>
          <a:ln>
            <a:solidFill>
              <a:schemeClr val="tx1"/>
            </a:solidFill>
          </a:ln>
        </p:spPr>
        <p:txBody>
          <a:bodyPr wrap="none" lIns="72000" tIns="72000" rIns="72000" bIns="72000">
            <a:spAutoFit/>
          </a:bodyPr>
          <a:lstStyle>
            <a:defPPr>
              <a:defRPr lang="en-US"/>
            </a:defPPr>
            <a:lvl1pPr algn="ctr">
              <a:defRPr sz="1600">
                <a:solidFill>
                  <a:schemeClr val="bg1"/>
                </a:solidFill>
                <a:latin typeface="Arial" panose="020B0604020202020204" pitchFamily="34" charset="0"/>
              </a:defRPr>
            </a:lvl1pPr>
            <a:lvl2pPr marL="742950" indent="-285750">
              <a:defRPr sz="2400">
                <a:latin typeface="Arial" panose="020B0604020202020204" pitchFamily="34" charset="0"/>
              </a:defRPr>
            </a:lvl2pPr>
            <a:lvl3pPr marL="1143000" indent="-228600">
              <a:defRPr sz="2400">
                <a:latin typeface="Arial" panose="020B0604020202020204" pitchFamily="34" charset="0"/>
              </a:defRPr>
            </a:lvl3pPr>
            <a:lvl4pPr marL="1600200" indent="-228600">
              <a:defRPr sz="2400">
                <a:latin typeface="Arial" panose="020B0604020202020204" pitchFamily="34" charset="0"/>
              </a:defRPr>
            </a:lvl4pPr>
            <a:lvl5pPr marL="2057400" indent="-228600">
              <a:defRPr sz="2400">
                <a:latin typeface="Arial" panose="020B0604020202020204" pitchFamily="34" charset="0"/>
              </a:defRPr>
            </a:lvl5pPr>
            <a:lvl6pPr marL="2514600" indent="-228600" eaLnBrk="0" fontAlgn="base" hangingPunct="0">
              <a:spcBef>
                <a:spcPct val="0"/>
              </a:spcBef>
              <a:spcAft>
                <a:spcPct val="0"/>
              </a:spcAft>
              <a:defRPr sz="2400">
                <a:latin typeface="Arial" panose="020B0604020202020204" pitchFamily="34" charset="0"/>
              </a:defRPr>
            </a:lvl6pPr>
            <a:lvl7pPr marL="2971800" indent="-228600" eaLnBrk="0" fontAlgn="base" hangingPunct="0">
              <a:spcBef>
                <a:spcPct val="0"/>
              </a:spcBef>
              <a:spcAft>
                <a:spcPct val="0"/>
              </a:spcAft>
              <a:defRPr sz="2400">
                <a:latin typeface="Arial" panose="020B0604020202020204" pitchFamily="34" charset="0"/>
              </a:defRPr>
            </a:lvl7pPr>
            <a:lvl8pPr marL="3429000" indent="-228600" eaLnBrk="0" fontAlgn="base" hangingPunct="0">
              <a:spcBef>
                <a:spcPct val="0"/>
              </a:spcBef>
              <a:spcAft>
                <a:spcPct val="0"/>
              </a:spcAft>
              <a:defRPr sz="2400">
                <a:latin typeface="Arial" panose="020B0604020202020204" pitchFamily="34" charset="0"/>
              </a:defRPr>
            </a:lvl8pPr>
            <a:lvl9pPr marL="3886200" indent="-228600" eaLnBrk="0" fontAlgn="base" hangingPunct="0">
              <a:spcBef>
                <a:spcPct val="0"/>
              </a:spcBef>
              <a:spcAft>
                <a:spcPct val="0"/>
              </a:spcAft>
              <a:defRPr sz="2400">
                <a:latin typeface="Arial" panose="020B0604020202020204" pitchFamily="34" charset="0"/>
              </a:defRPr>
            </a:lvl9pPr>
          </a:lstStyle>
          <a:p>
            <a:r>
              <a:rPr lang="en-US" altLang="fi-FI" sz="1200" b="1" dirty="0">
                <a:solidFill>
                  <a:schemeClr val="tx1"/>
                </a:solidFill>
                <a:latin typeface="+mn-lt"/>
                <a:sym typeface="+mn-lt"/>
              </a:rPr>
              <a:t>Reagent disk</a:t>
            </a:r>
            <a:br>
              <a:rPr lang="en-US" altLang="fi-FI" sz="1200" b="1" dirty="0">
                <a:solidFill>
                  <a:schemeClr val="tx1"/>
                </a:solidFill>
                <a:latin typeface="+mn-lt"/>
                <a:sym typeface="+mn-lt"/>
              </a:rPr>
            </a:br>
            <a:r>
              <a:rPr lang="en-US" altLang="fi-FI" sz="1200" b="1" dirty="0">
                <a:solidFill>
                  <a:schemeClr val="tx1"/>
                </a:solidFill>
                <a:latin typeface="+mn-lt"/>
                <a:sym typeface="+mn-lt"/>
              </a:rPr>
              <a:t>(42 positions)</a:t>
            </a:r>
          </a:p>
        </p:txBody>
      </p:sp>
      <p:sp>
        <p:nvSpPr>
          <p:cNvPr id="13" name="Rectangle 40">
            <a:extLst>
              <a:ext uri="{FF2B5EF4-FFF2-40B4-BE49-F238E27FC236}">
                <a16:creationId xmlns:a16="http://schemas.microsoft.com/office/drawing/2014/main" id="{B673789B-6FDF-D483-49DC-C352D3394ED0}"/>
              </a:ext>
            </a:extLst>
          </p:cNvPr>
          <p:cNvSpPr>
            <a:spLocks noChangeArrowheads="1"/>
          </p:cNvSpPr>
          <p:nvPr/>
        </p:nvSpPr>
        <p:spPr bwMode="auto">
          <a:xfrm>
            <a:off x="6750039" y="5534233"/>
            <a:ext cx="2142748" cy="514738"/>
          </a:xfrm>
          <a:prstGeom prst="rect">
            <a:avLst/>
          </a:prstGeom>
          <a:solidFill>
            <a:schemeClr val="bg1"/>
          </a:solidFill>
          <a:ln>
            <a:solidFill>
              <a:schemeClr val="tx1"/>
            </a:solidFill>
          </a:ln>
        </p:spPr>
        <p:txBody>
          <a:bodyPr wrap="none" lIns="72000" tIns="72000" rIns="72000" bIns="72000">
            <a:spAutoFit/>
          </a:bodyPr>
          <a:lstStyle/>
          <a:p>
            <a:pPr algn="r"/>
            <a:r>
              <a:rPr lang="en-US" altLang="fi-FI" sz="1200" b="1" dirty="0">
                <a:sym typeface="+mn-lt"/>
              </a:rPr>
              <a:t>Cuvette storage</a:t>
            </a:r>
          </a:p>
          <a:p>
            <a:pPr algn="r"/>
            <a:r>
              <a:rPr lang="en-US" altLang="fi-FI" sz="1200" b="1" dirty="0">
                <a:sym typeface="+mn-lt"/>
              </a:rPr>
              <a:t>36x10 TENCELL</a:t>
            </a:r>
            <a:r>
              <a:rPr lang="en-US" altLang="fi-FI" sz="1200" b="1" baseline="30000" dirty="0">
                <a:sym typeface="+mn-lt"/>
              </a:rPr>
              <a:t>™</a:t>
            </a:r>
            <a:r>
              <a:rPr lang="en-US" altLang="fi-FI" sz="1200" b="1" dirty="0">
                <a:sym typeface="+mn-lt"/>
              </a:rPr>
              <a:t> cuvettes</a:t>
            </a:r>
          </a:p>
        </p:txBody>
      </p:sp>
      <p:sp>
        <p:nvSpPr>
          <p:cNvPr id="14" name="TextBox 41">
            <a:extLst>
              <a:ext uri="{FF2B5EF4-FFF2-40B4-BE49-F238E27FC236}">
                <a16:creationId xmlns:a16="http://schemas.microsoft.com/office/drawing/2014/main" id="{C516E550-3F88-4485-C40B-240C8EFCB3FA}"/>
              </a:ext>
            </a:extLst>
          </p:cNvPr>
          <p:cNvSpPr txBox="1">
            <a:spLocks noChangeArrowheads="1"/>
          </p:cNvSpPr>
          <p:nvPr/>
        </p:nvSpPr>
        <p:spPr bwMode="auto">
          <a:xfrm>
            <a:off x="6271618" y="4660128"/>
            <a:ext cx="1203388" cy="699404"/>
          </a:xfrm>
          <a:prstGeom prst="rect">
            <a:avLst/>
          </a:prstGeom>
          <a:solidFill>
            <a:schemeClr val="bg1"/>
          </a:solidFill>
          <a:ln>
            <a:solidFill>
              <a:schemeClr val="tx1"/>
            </a:solidFill>
          </a:ln>
        </p:spPr>
        <p:txBody>
          <a:bodyPr wrap="none" lIns="72000" tIns="72000" rIns="72000" bIns="72000">
            <a:spAutoFit/>
          </a:bodyPr>
          <a:lstStyle>
            <a:defPPr>
              <a:defRPr lang="en-US"/>
            </a:defPPr>
            <a:lvl1pPr algn="ctr">
              <a:defRPr sz="1600">
                <a:solidFill>
                  <a:schemeClr val="bg1"/>
                </a:solidFill>
                <a:latin typeface="Arial" panose="020B0604020202020204" pitchFamily="34" charset="0"/>
              </a:defRPr>
            </a:lvl1pPr>
            <a:lvl2pPr marL="742950" indent="-285750">
              <a:defRPr sz="2400">
                <a:latin typeface="Arial" panose="020B0604020202020204" pitchFamily="34" charset="0"/>
              </a:defRPr>
            </a:lvl2pPr>
            <a:lvl3pPr marL="1143000" indent="-228600">
              <a:defRPr sz="2400">
                <a:latin typeface="Arial" panose="020B0604020202020204" pitchFamily="34" charset="0"/>
              </a:defRPr>
            </a:lvl3pPr>
            <a:lvl4pPr marL="1600200" indent="-228600">
              <a:defRPr sz="2400">
                <a:latin typeface="Arial" panose="020B0604020202020204" pitchFamily="34" charset="0"/>
              </a:defRPr>
            </a:lvl4pPr>
            <a:lvl5pPr marL="2057400" indent="-228600">
              <a:defRPr sz="2400">
                <a:latin typeface="Arial" panose="020B0604020202020204" pitchFamily="34" charset="0"/>
              </a:defRPr>
            </a:lvl5pPr>
            <a:lvl6pPr marL="2514600" indent="-228600" eaLnBrk="0" fontAlgn="base" hangingPunct="0">
              <a:spcBef>
                <a:spcPct val="0"/>
              </a:spcBef>
              <a:spcAft>
                <a:spcPct val="0"/>
              </a:spcAft>
              <a:defRPr sz="2400">
                <a:latin typeface="Arial" panose="020B0604020202020204" pitchFamily="34" charset="0"/>
              </a:defRPr>
            </a:lvl6pPr>
            <a:lvl7pPr marL="2971800" indent="-228600" eaLnBrk="0" fontAlgn="base" hangingPunct="0">
              <a:spcBef>
                <a:spcPct val="0"/>
              </a:spcBef>
              <a:spcAft>
                <a:spcPct val="0"/>
              </a:spcAft>
              <a:defRPr sz="2400">
                <a:latin typeface="Arial" panose="020B0604020202020204" pitchFamily="34" charset="0"/>
              </a:defRPr>
            </a:lvl7pPr>
            <a:lvl8pPr marL="3429000" indent="-228600" eaLnBrk="0" fontAlgn="base" hangingPunct="0">
              <a:spcBef>
                <a:spcPct val="0"/>
              </a:spcBef>
              <a:spcAft>
                <a:spcPct val="0"/>
              </a:spcAft>
              <a:defRPr sz="2400">
                <a:latin typeface="Arial" panose="020B0604020202020204" pitchFamily="34" charset="0"/>
              </a:defRPr>
            </a:lvl8pPr>
            <a:lvl9pPr marL="3886200" indent="-228600" eaLnBrk="0" fontAlgn="base" hangingPunct="0">
              <a:spcBef>
                <a:spcPct val="0"/>
              </a:spcBef>
              <a:spcAft>
                <a:spcPct val="0"/>
              </a:spcAft>
              <a:defRPr sz="2400">
                <a:latin typeface="Arial" panose="020B0604020202020204" pitchFamily="34" charset="0"/>
              </a:defRPr>
            </a:lvl9pPr>
          </a:lstStyle>
          <a:p>
            <a:pPr algn="r"/>
            <a:r>
              <a:rPr lang="en-US" altLang="fi-FI" sz="1200" b="1" dirty="0">
                <a:solidFill>
                  <a:schemeClr val="tx1"/>
                </a:solidFill>
                <a:latin typeface="+mn-lt"/>
                <a:sym typeface="+mn-lt"/>
              </a:rPr>
              <a:t>Sample disk</a:t>
            </a:r>
          </a:p>
          <a:p>
            <a:pPr algn="r"/>
            <a:r>
              <a:rPr lang="en-US" altLang="fi-FI" sz="1200" b="1" dirty="0">
                <a:solidFill>
                  <a:schemeClr val="tx1"/>
                </a:solidFill>
                <a:latin typeface="+mn-lt"/>
                <a:sym typeface="+mn-lt"/>
              </a:rPr>
              <a:t>(max 6 sample</a:t>
            </a:r>
            <a:br>
              <a:rPr lang="en-US" altLang="fi-FI" sz="1200" b="1" dirty="0">
                <a:solidFill>
                  <a:schemeClr val="tx1"/>
                </a:solidFill>
                <a:latin typeface="+mn-lt"/>
                <a:sym typeface="+mn-lt"/>
              </a:rPr>
            </a:br>
            <a:r>
              <a:rPr lang="en-US" altLang="fi-FI" sz="1200" b="1" dirty="0">
                <a:solidFill>
                  <a:schemeClr val="tx1"/>
                </a:solidFill>
                <a:latin typeface="+mn-lt"/>
                <a:sym typeface="+mn-lt"/>
              </a:rPr>
              <a:t>racks)</a:t>
            </a:r>
          </a:p>
        </p:txBody>
      </p:sp>
      <p:sp>
        <p:nvSpPr>
          <p:cNvPr id="15" name="TextBox 18">
            <a:extLst>
              <a:ext uri="{FF2B5EF4-FFF2-40B4-BE49-F238E27FC236}">
                <a16:creationId xmlns:a16="http://schemas.microsoft.com/office/drawing/2014/main" id="{B7C1748B-9DDC-2836-764C-E9D3389B2688}"/>
              </a:ext>
            </a:extLst>
          </p:cNvPr>
          <p:cNvSpPr txBox="1">
            <a:spLocks noChangeArrowheads="1"/>
          </p:cNvSpPr>
          <p:nvPr/>
        </p:nvSpPr>
        <p:spPr bwMode="auto">
          <a:xfrm>
            <a:off x="6271618" y="2091423"/>
            <a:ext cx="720885" cy="330072"/>
          </a:xfrm>
          <a:prstGeom prst="rect">
            <a:avLst/>
          </a:prstGeom>
          <a:solidFill>
            <a:schemeClr val="bg1"/>
          </a:solidFill>
          <a:ln>
            <a:solidFill>
              <a:schemeClr val="tx1"/>
            </a:solidFill>
          </a:ln>
        </p:spPr>
        <p:txBody>
          <a:bodyPr wrap="none" lIns="72000" tIns="72000" rIns="72000" bIns="72000">
            <a:spAutoFit/>
          </a:bodyPr>
          <a:lstStyle>
            <a:defPPr>
              <a:defRPr lang="en-US"/>
            </a:defPPr>
            <a:lvl1pPr algn="ctr">
              <a:defRPr sz="1200">
                <a:latin typeface="Arial" panose="020B0604020202020204" pitchFamily="34" charset="0"/>
              </a:defRPr>
            </a:lvl1pPr>
            <a:lvl2pPr marL="742950" indent="-285750">
              <a:defRPr sz="2400">
                <a:latin typeface="Arial" panose="020B0604020202020204" pitchFamily="34" charset="0"/>
              </a:defRPr>
            </a:lvl2pPr>
            <a:lvl3pPr marL="1143000" indent="-228600">
              <a:defRPr sz="2400">
                <a:latin typeface="Arial" panose="020B0604020202020204" pitchFamily="34" charset="0"/>
              </a:defRPr>
            </a:lvl3pPr>
            <a:lvl4pPr marL="1600200" indent="-228600">
              <a:defRPr sz="2400">
                <a:latin typeface="Arial" panose="020B0604020202020204" pitchFamily="34" charset="0"/>
              </a:defRPr>
            </a:lvl4pPr>
            <a:lvl5pPr marL="2057400" indent="-228600">
              <a:defRPr sz="2400">
                <a:latin typeface="Arial" panose="020B0604020202020204" pitchFamily="34" charset="0"/>
              </a:defRPr>
            </a:lvl5pPr>
            <a:lvl6pPr marL="2514600" indent="-228600" eaLnBrk="0" fontAlgn="base" hangingPunct="0">
              <a:spcBef>
                <a:spcPct val="0"/>
              </a:spcBef>
              <a:spcAft>
                <a:spcPct val="0"/>
              </a:spcAft>
              <a:defRPr sz="2400">
                <a:latin typeface="Arial" panose="020B0604020202020204" pitchFamily="34" charset="0"/>
              </a:defRPr>
            </a:lvl6pPr>
            <a:lvl7pPr marL="2971800" indent="-228600" eaLnBrk="0" fontAlgn="base" hangingPunct="0">
              <a:spcBef>
                <a:spcPct val="0"/>
              </a:spcBef>
              <a:spcAft>
                <a:spcPct val="0"/>
              </a:spcAft>
              <a:defRPr sz="2400">
                <a:latin typeface="Arial" panose="020B0604020202020204" pitchFamily="34" charset="0"/>
              </a:defRPr>
            </a:lvl7pPr>
            <a:lvl8pPr marL="3429000" indent="-228600" eaLnBrk="0" fontAlgn="base" hangingPunct="0">
              <a:spcBef>
                <a:spcPct val="0"/>
              </a:spcBef>
              <a:spcAft>
                <a:spcPct val="0"/>
              </a:spcAft>
              <a:defRPr sz="2400">
                <a:latin typeface="Arial" panose="020B0604020202020204" pitchFamily="34" charset="0"/>
              </a:defRPr>
            </a:lvl8pPr>
            <a:lvl9pPr marL="3886200" indent="-228600" eaLnBrk="0" fontAlgn="base" hangingPunct="0">
              <a:spcBef>
                <a:spcPct val="0"/>
              </a:spcBef>
              <a:spcAft>
                <a:spcPct val="0"/>
              </a:spcAft>
              <a:defRPr sz="2400">
                <a:latin typeface="Arial" panose="020B0604020202020204" pitchFamily="34" charset="0"/>
              </a:defRPr>
            </a:lvl9pPr>
          </a:lstStyle>
          <a:p>
            <a:r>
              <a:rPr lang="en-US" altLang="fi-FI" b="1" dirty="0">
                <a:latin typeface="+mn-lt"/>
                <a:sym typeface="+mn-lt"/>
              </a:rPr>
              <a:t>ISE unit</a:t>
            </a:r>
          </a:p>
        </p:txBody>
      </p:sp>
      <p:sp>
        <p:nvSpPr>
          <p:cNvPr id="16" name="TextBox 22">
            <a:extLst>
              <a:ext uri="{FF2B5EF4-FFF2-40B4-BE49-F238E27FC236}">
                <a16:creationId xmlns:a16="http://schemas.microsoft.com/office/drawing/2014/main" id="{6F82F92A-CD33-6591-3471-02F2FF5AFAD4}"/>
              </a:ext>
            </a:extLst>
          </p:cNvPr>
          <p:cNvSpPr txBox="1">
            <a:spLocks noChangeArrowheads="1"/>
          </p:cNvSpPr>
          <p:nvPr/>
        </p:nvSpPr>
        <p:spPr bwMode="auto">
          <a:xfrm>
            <a:off x="399787" y="5534233"/>
            <a:ext cx="2142748" cy="514738"/>
          </a:xfrm>
          <a:prstGeom prst="rect">
            <a:avLst/>
          </a:prstGeom>
          <a:solidFill>
            <a:schemeClr val="bg2"/>
          </a:solidFill>
          <a:ln>
            <a:solidFill>
              <a:schemeClr val="tx1"/>
            </a:solidFill>
          </a:ln>
        </p:spPr>
        <p:txBody>
          <a:bodyPr wrap="none" lIns="72000" tIns="72000" rIns="72000" bIns="72000">
            <a:spAutoFit/>
          </a:bodyPr>
          <a:lstStyle>
            <a:defPPr>
              <a:defRPr lang="en-US"/>
            </a:defPPr>
            <a:lvl1pPr algn="ctr">
              <a:defRPr sz="1200">
                <a:latin typeface="Arial" panose="020B0604020202020204" pitchFamily="34" charset="0"/>
              </a:defRPr>
            </a:lvl1pPr>
            <a:lvl2pPr marL="742950" indent="-285750">
              <a:defRPr sz="2400">
                <a:latin typeface="Arial" panose="020B0604020202020204" pitchFamily="34" charset="0"/>
              </a:defRPr>
            </a:lvl2pPr>
            <a:lvl3pPr marL="1143000" indent="-228600">
              <a:defRPr sz="2400">
                <a:latin typeface="Arial" panose="020B0604020202020204" pitchFamily="34" charset="0"/>
              </a:defRPr>
            </a:lvl3pPr>
            <a:lvl4pPr marL="1600200" indent="-228600">
              <a:defRPr sz="2400">
                <a:latin typeface="Arial" panose="020B0604020202020204" pitchFamily="34" charset="0"/>
              </a:defRPr>
            </a:lvl4pPr>
            <a:lvl5pPr marL="2057400" indent="-228600">
              <a:defRPr sz="2400">
                <a:latin typeface="Arial" panose="020B0604020202020204" pitchFamily="34" charset="0"/>
              </a:defRPr>
            </a:lvl5pPr>
            <a:lvl6pPr marL="2514600" indent="-228600" eaLnBrk="0" fontAlgn="base" hangingPunct="0">
              <a:spcBef>
                <a:spcPct val="0"/>
              </a:spcBef>
              <a:spcAft>
                <a:spcPct val="0"/>
              </a:spcAft>
              <a:defRPr sz="2400">
                <a:latin typeface="Arial" panose="020B0604020202020204" pitchFamily="34" charset="0"/>
              </a:defRPr>
            </a:lvl6pPr>
            <a:lvl7pPr marL="2971800" indent="-228600" eaLnBrk="0" fontAlgn="base" hangingPunct="0">
              <a:spcBef>
                <a:spcPct val="0"/>
              </a:spcBef>
              <a:spcAft>
                <a:spcPct val="0"/>
              </a:spcAft>
              <a:defRPr sz="2400">
                <a:latin typeface="Arial" panose="020B0604020202020204" pitchFamily="34" charset="0"/>
              </a:defRPr>
            </a:lvl7pPr>
            <a:lvl8pPr marL="3429000" indent="-228600" eaLnBrk="0" fontAlgn="base" hangingPunct="0">
              <a:spcBef>
                <a:spcPct val="0"/>
              </a:spcBef>
              <a:spcAft>
                <a:spcPct val="0"/>
              </a:spcAft>
              <a:defRPr sz="2400">
                <a:latin typeface="Arial" panose="020B0604020202020204" pitchFamily="34" charset="0"/>
              </a:defRPr>
            </a:lvl8pPr>
            <a:lvl9pPr marL="3886200" indent="-228600" eaLnBrk="0" fontAlgn="base" hangingPunct="0">
              <a:spcBef>
                <a:spcPct val="0"/>
              </a:spcBef>
              <a:spcAft>
                <a:spcPct val="0"/>
              </a:spcAft>
              <a:defRPr sz="2400">
                <a:latin typeface="Arial" panose="020B0604020202020204" pitchFamily="34" charset="0"/>
              </a:defRPr>
            </a:lvl9pPr>
          </a:lstStyle>
          <a:p>
            <a:pPr algn="r"/>
            <a:r>
              <a:rPr lang="en-US" altLang="fi-FI" b="1" dirty="0">
                <a:latin typeface="+mn-lt"/>
                <a:sym typeface="+mn-lt"/>
              </a:rPr>
              <a:t>Cuvette storage</a:t>
            </a:r>
            <a:br>
              <a:rPr lang="en-US" altLang="fi-FI" b="1" dirty="0">
                <a:latin typeface="+mn-lt"/>
                <a:sym typeface="+mn-lt"/>
              </a:rPr>
            </a:br>
            <a:r>
              <a:rPr lang="en-US" altLang="fi-FI" b="1" dirty="0">
                <a:latin typeface="+mn-lt"/>
                <a:sym typeface="+mn-lt"/>
              </a:rPr>
              <a:t>36x10 TENCELL</a:t>
            </a:r>
            <a:r>
              <a:rPr lang="en-US" altLang="fi-FI" b="1" baseline="30000" dirty="0">
                <a:latin typeface="+mn-lt"/>
                <a:sym typeface="+mn-lt"/>
              </a:rPr>
              <a:t>™</a:t>
            </a:r>
            <a:r>
              <a:rPr lang="en-US" altLang="fi-FI" b="1" dirty="0">
                <a:latin typeface="+mn-lt"/>
                <a:sym typeface="+mn-lt"/>
              </a:rPr>
              <a:t> cuvettes</a:t>
            </a:r>
          </a:p>
        </p:txBody>
      </p:sp>
      <p:sp>
        <p:nvSpPr>
          <p:cNvPr id="17" name="TextBox 23">
            <a:extLst>
              <a:ext uri="{FF2B5EF4-FFF2-40B4-BE49-F238E27FC236}">
                <a16:creationId xmlns:a16="http://schemas.microsoft.com/office/drawing/2014/main" id="{B4388317-A1A2-E10C-9642-997931368EA0}"/>
              </a:ext>
            </a:extLst>
          </p:cNvPr>
          <p:cNvSpPr txBox="1">
            <a:spLocks noChangeArrowheads="1"/>
          </p:cNvSpPr>
          <p:nvPr/>
        </p:nvSpPr>
        <p:spPr bwMode="auto">
          <a:xfrm>
            <a:off x="4438095" y="4791632"/>
            <a:ext cx="1514371" cy="699404"/>
          </a:xfrm>
          <a:prstGeom prst="rect">
            <a:avLst/>
          </a:prstGeom>
          <a:solidFill>
            <a:schemeClr val="bg2"/>
          </a:solidFill>
          <a:ln>
            <a:solidFill>
              <a:schemeClr val="tx1"/>
            </a:solidFill>
          </a:ln>
        </p:spPr>
        <p:txBody>
          <a:bodyPr wrap="none" lIns="72000" tIns="72000" rIns="72000" bIns="72000">
            <a:spAutoFit/>
          </a:bodyPr>
          <a:lstStyle>
            <a:defPPr>
              <a:defRPr lang="en-US"/>
            </a:defPPr>
            <a:lvl1pPr algn="ctr">
              <a:defRPr sz="1200">
                <a:latin typeface="Arial" panose="020B0604020202020204" pitchFamily="34" charset="0"/>
              </a:defRPr>
            </a:lvl1pPr>
            <a:lvl2pPr marL="742950" indent="-285750">
              <a:defRPr sz="2400">
                <a:latin typeface="Arial" panose="020B0604020202020204" pitchFamily="34" charset="0"/>
              </a:defRPr>
            </a:lvl2pPr>
            <a:lvl3pPr marL="1143000" indent="-228600">
              <a:defRPr sz="2400">
                <a:latin typeface="Arial" panose="020B0604020202020204" pitchFamily="34" charset="0"/>
              </a:defRPr>
            </a:lvl3pPr>
            <a:lvl4pPr marL="1600200" indent="-228600">
              <a:defRPr sz="2400">
                <a:latin typeface="Arial" panose="020B0604020202020204" pitchFamily="34" charset="0"/>
              </a:defRPr>
            </a:lvl4pPr>
            <a:lvl5pPr marL="2057400" indent="-228600">
              <a:defRPr sz="2400">
                <a:latin typeface="Arial" panose="020B0604020202020204" pitchFamily="34" charset="0"/>
              </a:defRPr>
            </a:lvl5pPr>
            <a:lvl6pPr marL="2514600" indent="-228600" eaLnBrk="0" fontAlgn="base" hangingPunct="0">
              <a:spcBef>
                <a:spcPct val="0"/>
              </a:spcBef>
              <a:spcAft>
                <a:spcPct val="0"/>
              </a:spcAft>
              <a:defRPr sz="2400">
                <a:latin typeface="Arial" panose="020B0604020202020204" pitchFamily="34" charset="0"/>
              </a:defRPr>
            </a:lvl6pPr>
            <a:lvl7pPr marL="2971800" indent="-228600" eaLnBrk="0" fontAlgn="base" hangingPunct="0">
              <a:spcBef>
                <a:spcPct val="0"/>
              </a:spcBef>
              <a:spcAft>
                <a:spcPct val="0"/>
              </a:spcAft>
              <a:defRPr sz="2400">
                <a:latin typeface="Arial" panose="020B0604020202020204" pitchFamily="34" charset="0"/>
              </a:defRPr>
            </a:lvl7pPr>
            <a:lvl8pPr marL="3429000" indent="-228600" eaLnBrk="0" fontAlgn="base" hangingPunct="0">
              <a:spcBef>
                <a:spcPct val="0"/>
              </a:spcBef>
              <a:spcAft>
                <a:spcPct val="0"/>
              </a:spcAft>
              <a:defRPr sz="2400">
                <a:latin typeface="Arial" panose="020B0604020202020204" pitchFamily="34" charset="0"/>
              </a:defRPr>
            </a:lvl8pPr>
            <a:lvl9pPr marL="3886200" indent="-228600" eaLnBrk="0" fontAlgn="base" hangingPunct="0">
              <a:spcBef>
                <a:spcPct val="0"/>
              </a:spcBef>
              <a:spcAft>
                <a:spcPct val="0"/>
              </a:spcAft>
              <a:defRPr sz="2400">
                <a:latin typeface="Arial" panose="020B0604020202020204" pitchFamily="34" charset="0"/>
              </a:defRPr>
            </a:lvl9pPr>
          </a:lstStyle>
          <a:p>
            <a:pPr algn="l"/>
            <a:r>
              <a:rPr lang="en-US" altLang="fi-FI" b="1" dirty="0">
                <a:latin typeface="+mn-lt"/>
                <a:sym typeface="+mn-lt"/>
              </a:rPr>
              <a:t>Combined sample/</a:t>
            </a:r>
            <a:br>
              <a:rPr lang="en-US" altLang="fi-FI" b="1" dirty="0">
                <a:latin typeface="+mn-lt"/>
                <a:sym typeface="+mn-lt"/>
              </a:rPr>
            </a:br>
            <a:r>
              <a:rPr lang="en-US" altLang="fi-FI" b="1" dirty="0">
                <a:latin typeface="+mn-lt"/>
                <a:sym typeface="+mn-lt"/>
              </a:rPr>
              <a:t>reagent disk</a:t>
            </a:r>
            <a:br>
              <a:rPr lang="en-US" altLang="fi-FI" b="1" dirty="0">
                <a:latin typeface="+mn-lt"/>
                <a:sym typeface="+mn-lt"/>
              </a:rPr>
            </a:br>
            <a:r>
              <a:rPr lang="en-US" altLang="fi-FI" b="1" dirty="0">
                <a:latin typeface="+mn-lt"/>
                <a:sym typeface="+mn-lt"/>
              </a:rPr>
              <a:t>(max 6 racks)</a:t>
            </a:r>
          </a:p>
        </p:txBody>
      </p:sp>
      <p:sp>
        <p:nvSpPr>
          <p:cNvPr id="18" name="TextBox 24">
            <a:extLst>
              <a:ext uri="{FF2B5EF4-FFF2-40B4-BE49-F238E27FC236}">
                <a16:creationId xmlns:a16="http://schemas.microsoft.com/office/drawing/2014/main" id="{80CE1608-1FB5-6782-A79F-B97C8ABA364D}"/>
              </a:ext>
            </a:extLst>
          </p:cNvPr>
          <p:cNvSpPr txBox="1">
            <a:spLocks noChangeArrowheads="1"/>
          </p:cNvSpPr>
          <p:nvPr/>
        </p:nvSpPr>
        <p:spPr bwMode="auto">
          <a:xfrm>
            <a:off x="563455" y="1981420"/>
            <a:ext cx="720885" cy="330072"/>
          </a:xfrm>
          <a:prstGeom prst="rect">
            <a:avLst/>
          </a:prstGeom>
          <a:solidFill>
            <a:schemeClr val="bg2"/>
          </a:solidFill>
          <a:ln>
            <a:solidFill>
              <a:schemeClr val="tx1"/>
            </a:solidFill>
          </a:ln>
        </p:spPr>
        <p:txBody>
          <a:bodyPr wrap="none" lIns="72000" tIns="72000" rIns="72000" bIns="72000">
            <a:spAutoFit/>
          </a:bodyPr>
          <a:lstStyle>
            <a:defPPr>
              <a:defRPr lang="en-US"/>
            </a:defPPr>
            <a:lvl1pPr algn="ctr">
              <a:defRPr sz="1200">
                <a:latin typeface="Arial" panose="020B0604020202020204" pitchFamily="34" charset="0"/>
              </a:defRPr>
            </a:lvl1pPr>
            <a:lvl2pPr marL="742950" indent="-285750">
              <a:defRPr sz="2400">
                <a:latin typeface="Arial" panose="020B0604020202020204" pitchFamily="34" charset="0"/>
              </a:defRPr>
            </a:lvl2pPr>
            <a:lvl3pPr marL="1143000" indent="-228600">
              <a:defRPr sz="2400">
                <a:latin typeface="Arial" panose="020B0604020202020204" pitchFamily="34" charset="0"/>
              </a:defRPr>
            </a:lvl3pPr>
            <a:lvl4pPr marL="1600200" indent="-228600">
              <a:defRPr sz="2400">
                <a:latin typeface="Arial" panose="020B0604020202020204" pitchFamily="34" charset="0"/>
              </a:defRPr>
            </a:lvl4pPr>
            <a:lvl5pPr marL="2057400" indent="-228600">
              <a:defRPr sz="2400">
                <a:latin typeface="Arial" panose="020B0604020202020204" pitchFamily="34" charset="0"/>
              </a:defRPr>
            </a:lvl5pPr>
            <a:lvl6pPr marL="2514600" indent="-228600" eaLnBrk="0" fontAlgn="base" hangingPunct="0">
              <a:spcBef>
                <a:spcPct val="0"/>
              </a:spcBef>
              <a:spcAft>
                <a:spcPct val="0"/>
              </a:spcAft>
              <a:defRPr sz="2400">
                <a:latin typeface="Arial" panose="020B0604020202020204" pitchFamily="34" charset="0"/>
              </a:defRPr>
            </a:lvl6pPr>
            <a:lvl7pPr marL="2971800" indent="-228600" eaLnBrk="0" fontAlgn="base" hangingPunct="0">
              <a:spcBef>
                <a:spcPct val="0"/>
              </a:spcBef>
              <a:spcAft>
                <a:spcPct val="0"/>
              </a:spcAft>
              <a:defRPr sz="2400">
                <a:latin typeface="Arial" panose="020B0604020202020204" pitchFamily="34" charset="0"/>
              </a:defRPr>
            </a:lvl7pPr>
            <a:lvl8pPr marL="3429000" indent="-228600" eaLnBrk="0" fontAlgn="base" hangingPunct="0">
              <a:spcBef>
                <a:spcPct val="0"/>
              </a:spcBef>
              <a:spcAft>
                <a:spcPct val="0"/>
              </a:spcAft>
              <a:defRPr sz="2400">
                <a:latin typeface="Arial" panose="020B0604020202020204" pitchFamily="34" charset="0"/>
              </a:defRPr>
            </a:lvl8pPr>
            <a:lvl9pPr marL="3886200" indent="-228600" eaLnBrk="0" fontAlgn="base" hangingPunct="0">
              <a:spcBef>
                <a:spcPct val="0"/>
              </a:spcBef>
              <a:spcAft>
                <a:spcPct val="0"/>
              </a:spcAft>
              <a:defRPr sz="2400">
                <a:latin typeface="Arial" panose="020B0604020202020204" pitchFamily="34" charset="0"/>
              </a:defRPr>
            </a:lvl9pPr>
          </a:lstStyle>
          <a:p>
            <a:r>
              <a:rPr lang="en-US" altLang="fi-FI" b="1" dirty="0">
                <a:latin typeface="+mn-lt"/>
                <a:sym typeface="+mn-lt"/>
              </a:rPr>
              <a:t>ISE unit</a:t>
            </a:r>
          </a:p>
        </p:txBody>
      </p:sp>
      <p:sp>
        <p:nvSpPr>
          <p:cNvPr id="19" name="TextBox 25">
            <a:extLst>
              <a:ext uri="{FF2B5EF4-FFF2-40B4-BE49-F238E27FC236}">
                <a16:creationId xmlns:a16="http://schemas.microsoft.com/office/drawing/2014/main" id="{5BB26BE8-6066-2C64-BDF5-888691786BD4}"/>
              </a:ext>
            </a:extLst>
          </p:cNvPr>
          <p:cNvSpPr txBox="1">
            <a:spLocks noChangeArrowheads="1"/>
          </p:cNvSpPr>
          <p:nvPr/>
        </p:nvSpPr>
        <p:spPr bwMode="auto">
          <a:xfrm>
            <a:off x="4366746" y="2525895"/>
            <a:ext cx="1289950" cy="514738"/>
          </a:xfrm>
          <a:prstGeom prst="rect">
            <a:avLst/>
          </a:prstGeom>
          <a:solidFill>
            <a:schemeClr val="bg2"/>
          </a:solidFill>
          <a:ln>
            <a:solidFill>
              <a:schemeClr val="tx1"/>
            </a:solidFill>
          </a:ln>
        </p:spPr>
        <p:txBody>
          <a:bodyPr wrap="none" lIns="72000" tIns="72000" rIns="72000" bIns="72000">
            <a:spAutoFit/>
          </a:bodyPr>
          <a:lstStyle>
            <a:defPPr>
              <a:defRPr lang="en-US"/>
            </a:defPPr>
            <a:lvl1pPr algn="ctr">
              <a:defRPr sz="1200">
                <a:latin typeface="Arial" panose="020B0604020202020204" pitchFamily="34" charset="0"/>
              </a:defRPr>
            </a:lvl1pPr>
            <a:lvl2pPr marL="742950" indent="-285750">
              <a:defRPr sz="2400">
                <a:latin typeface="Arial" panose="020B0604020202020204" pitchFamily="34" charset="0"/>
              </a:defRPr>
            </a:lvl2pPr>
            <a:lvl3pPr marL="1143000" indent="-228600">
              <a:defRPr sz="2400">
                <a:latin typeface="Arial" panose="020B0604020202020204" pitchFamily="34" charset="0"/>
              </a:defRPr>
            </a:lvl3pPr>
            <a:lvl4pPr marL="1600200" indent="-228600">
              <a:defRPr sz="2400">
                <a:latin typeface="Arial" panose="020B0604020202020204" pitchFamily="34" charset="0"/>
              </a:defRPr>
            </a:lvl4pPr>
            <a:lvl5pPr marL="2057400" indent="-228600">
              <a:defRPr sz="2400">
                <a:latin typeface="Arial" panose="020B0604020202020204" pitchFamily="34" charset="0"/>
              </a:defRPr>
            </a:lvl5pPr>
            <a:lvl6pPr marL="2514600" indent="-228600" eaLnBrk="0" fontAlgn="base" hangingPunct="0">
              <a:spcBef>
                <a:spcPct val="0"/>
              </a:spcBef>
              <a:spcAft>
                <a:spcPct val="0"/>
              </a:spcAft>
              <a:defRPr sz="2400">
                <a:latin typeface="Arial" panose="020B0604020202020204" pitchFamily="34" charset="0"/>
              </a:defRPr>
            </a:lvl6pPr>
            <a:lvl7pPr marL="2971800" indent="-228600" eaLnBrk="0" fontAlgn="base" hangingPunct="0">
              <a:spcBef>
                <a:spcPct val="0"/>
              </a:spcBef>
              <a:spcAft>
                <a:spcPct val="0"/>
              </a:spcAft>
              <a:defRPr sz="2400">
                <a:latin typeface="Arial" panose="020B0604020202020204" pitchFamily="34" charset="0"/>
              </a:defRPr>
            </a:lvl7pPr>
            <a:lvl8pPr marL="3429000" indent="-228600" eaLnBrk="0" fontAlgn="base" hangingPunct="0">
              <a:spcBef>
                <a:spcPct val="0"/>
              </a:spcBef>
              <a:spcAft>
                <a:spcPct val="0"/>
              </a:spcAft>
              <a:defRPr sz="2400">
                <a:latin typeface="Arial" panose="020B0604020202020204" pitchFamily="34" charset="0"/>
              </a:defRPr>
            </a:lvl8pPr>
            <a:lvl9pPr marL="3886200" indent="-228600" eaLnBrk="0" fontAlgn="base" hangingPunct="0">
              <a:spcBef>
                <a:spcPct val="0"/>
              </a:spcBef>
              <a:spcAft>
                <a:spcPct val="0"/>
              </a:spcAft>
              <a:defRPr sz="2400">
                <a:latin typeface="Arial" panose="020B0604020202020204" pitchFamily="34" charset="0"/>
              </a:defRPr>
            </a:lvl9pPr>
          </a:lstStyle>
          <a:p>
            <a:pPr algn="l"/>
            <a:r>
              <a:rPr lang="en-US" altLang="fi-FI" b="1" dirty="0">
                <a:latin typeface="+mn-lt"/>
                <a:sym typeface="+mn-lt"/>
              </a:rPr>
              <a:t>Sample/reagent</a:t>
            </a:r>
            <a:br>
              <a:rPr lang="en-US" altLang="fi-FI" b="1" dirty="0">
                <a:latin typeface="+mn-lt"/>
                <a:sym typeface="+mn-lt"/>
              </a:rPr>
            </a:br>
            <a:r>
              <a:rPr lang="en-US" altLang="fi-FI" b="1" dirty="0">
                <a:latin typeface="+mn-lt"/>
                <a:sym typeface="+mn-lt"/>
              </a:rPr>
              <a:t>probe</a:t>
            </a:r>
          </a:p>
        </p:txBody>
      </p:sp>
      <p:sp>
        <p:nvSpPr>
          <p:cNvPr id="20" name="TextBox 26">
            <a:extLst>
              <a:ext uri="{FF2B5EF4-FFF2-40B4-BE49-F238E27FC236}">
                <a16:creationId xmlns:a16="http://schemas.microsoft.com/office/drawing/2014/main" id="{04D05D79-2E5A-7322-26CA-BCDF7517442E}"/>
              </a:ext>
            </a:extLst>
          </p:cNvPr>
          <p:cNvSpPr txBox="1">
            <a:spLocks noChangeArrowheads="1"/>
          </p:cNvSpPr>
          <p:nvPr/>
        </p:nvSpPr>
        <p:spPr bwMode="auto">
          <a:xfrm>
            <a:off x="3640253" y="1701056"/>
            <a:ext cx="546157" cy="330072"/>
          </a:xfrm>
          <a:prstGeom prst="rect">
            <a:avLst/>
          </a:prstGeom>
          <a:solidFill>
            <a:schemeClr val="bg2"/>
          </a:solidFill>
          <a:ln>
            <a:solidFill>
              <a:schemeClr val="tx1"/>
            </a:solidFill>
          </a:ln>
        </p:spPr>
        <p:txBody>
          <a:bodyPr wrap="none" lIns="72000" tIns="72000" rIns="72000" bIns="72000">
            <a:spAutoFit/>
          </a:bodyPr>
          <a:lstStyle>
            <a:defPPr>
              <a:defRPr lang="en-US"/>
            </a:defPPr>
            <a:lvl1pPr algn="ctr">
              <a:defRPr sz="1600">
                <a:solidFill>
                  <a:schemeClr val="bg1"/>
                </a:solidFill>
                <a:latin typeface="Arial" panose="020B0604020202020204" pitchFamily="34" charset="0"/>
              </a:defRPr>
            </a:lvl1pPr>
            <a:lvl2pPr marL="742950" indent="-285750">
              <a:defRPr sz="2400">
                <a:latin typeface="Arial" panose="020B0604020202020204" pitchFamily="34" charset="0"/>
              </a:defRPr>
            </a:lvl2pPr>
            <a:lvl3pPr marL="1143000" indent="-228600">
              <a:defRPr sz="2400">
                <a:latin typeface="Arial" panose="020B0604020202020204" pitchFamily="34" charset="0"/>
              </a:defRPr>
            </a:lvl3pPr>
            <a:lvl4pPr marL="1600200" indent="-228600">
              <a:defRPr sz="2400">
                <a:latin typeface="Arial" panose="020B0604020202020204" pitchFamily="34" charset="0"/>
              </a:defRPr>
            </a:lvl4pPr>
            <a:lvl5pPr marL="2057400" indent="-228600">
              <a:defRPr sz="2400">
                <a:latin typeface="Arial" panose="020B0604020202020204" pitchFamily="34" charset="0"/>
              </a:defRPr>
            </a:lvl5pPr>
            <a:lvl6pPr marL="2514600" indent="-228600" eaLnBrk="0" fontAlgn="base" hangingPunct="0">
              <a:spcBef>
                <a:spcPct val="0"/>
              </a:spcBef>
              <a:spcAft>
                <a:spcPct val="0"/>
              </a:spcAft>
              <a:defRPr sz="2400">
                <a:latin typeface="Arial" panose="020B0604020202020204" pitchFamily="34" charset="0"/>
              </a:defRPr>
            </a:lvl6pPr>
            <a:lvl7pPr marL="2971800" indent="-228600" eaLnBrk="0" fontAlgn="base" hangingPunct="0">
              <a:spcBef>
                <a:spcPct val="0"/>
              </a:spcBef>
              <a:spcAft>
                <a:spcPct val="0"/>
              </a:spcAft>
              <a:defRPr sz="2400">
                <a:latin typeface="Arial" panose="020B0604020202020204" pitchFamily="34" charset="0"/>
              </a:defRPr>
            </a:lvl7pPr>
            <a:lvl8pPr marL="3429000" indent="-228600" eaLnBrk="0" fontAlgn="base" hangingPunct="0">
              <a:spcBef>
                <a:spcPct val="0"/>
              </a:spcBef>
              <a:spcAft>
                <a:spcPct val="0"/>
              </a:spcAft>
              <a:defRPr sz="2400">
                <a:latin typeface="Arial" panose="020B0604020202020204" pitchFamily="34" charset="0"/>
              </a:defRPr>
            </a:lvl8pPr>
            <a:lvl9pPr marL="3886200" indent="-228600" eaLnBrk="0" fontAlgn="base" hangingPunct="0">
              <a:spcBef>
                <a:spcPct val="0"/>
              </a:spcBef>
              <a:spcAft>
                <a:spcPct val="0"/>
              </a:spcAft>
              <a:defRPr sz="2400">
                <a:latin typeface="Arial" panose="020B0604020202020204" pitchFamily="34" charset="0"/>
              </a:defRPr>
            </a:lvl9pPr>
          </a:lstStyle>
          <a:p>
            <a:r>
              <a:rPr lang="en-US" altLang="fi-FI" sz="1200" b="1" dirty="0">
                <a:solidFill>
                  <a:schemeClr val="tx1"/>
                </a:solidFill>
                <a:latin typeface="+mn-lt"/>
                <a:sym typeface="+mn-lt"/>
              </a:rPr>
              <a:t>Mixer</a:t>
            </a:r>
          </a:p>
        </p:txBody>
      </p:sp>
      <p:cxnSp>
        <p:nvCxnSpPr>
          <p:cNvPr id="21" name="Straight Connector 33">
            <a:extLst>
              <a:ext uri="{FF2B5EF4-FFF2-40B4-BE49-F238E27FC236}">
                <a16:creationId xmlns:a16="http://schemas.microsoft.com/office/drawing/2014/main" id="{93D9E103-739E-E350-8F1F-882A6CB1A6A2}"/>
              </a:ext>
            </a:extLst>
          </p:cNvPr>
          <p:cNvCxnSpPr/>
          <p:nvPr/>
        </p:nvCxnSpPr>
        <p:spPr>
          <a:xfrm>
            <a:off x="8312149" y="2016842"/>
            <a:ext cx="0" cy="546972"/>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34">
            <a:extLst>
              <a:ext uri="{FF2B5EF4-FFF2-40B4-BE49-F238E27FC236}">
                <a16:creationId xmlns:a16="http://schemas.microsoft.com/office/drawing/2014/main" id="{4EEC5E2F-43B1-881A-BF4C-CEB9C2E9A2F4}"/>
              </a:ext>
            </a:extLst>
          </p:cNvPr>
          <p:cNvCxnSpPr>
            <a:cxnSpLocks/>
          </p:cNvCxnSpPr>
          <p:nvPr/>
        </p:nvCxnSpPr>
        <p:spPr>
          <a:xfrm>
            <a:off x="10435903" y="2742112"/>
            <a:ext cx="27348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36">
            <a:extLst>
              <a:ext uri="{FF2B5EF4-FFF2-40B4-BE49-F238E27FC236}">
                <a16:creationId xmlns:a16="http://schemas.microsoft.com/office/drawing/2014/main" id="{C8CBE40B-8FB9-FED0-7C63-EAB419C78916}"/>
              </a:ext>
            </a:extLst>
          </p:cNvPr>
          <p:cNvCxnSpPr>
            <a:cxnSpLocks/>
          </p:cNvCxnSpPr>
          <p:nvPr/>
        </p:nvCxnSpPr>
        <p:spPr>
          <a:xfrm>
            <a:off x="4049667" y="2870894"/>
            <a:ext cx="273486"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Fußzeilenplatzhalter 4">
            <a:extLst>
              <a:ext uri="{FF2B5EF4-FFF2-40B4-BE49-F238E27FC236}">
                <a16:creationId xmlns:a16="http://schemas.microsoft.com/office/drawing/2014/main" id="{B366A7D3-72F3-A7D5-2178-597D9315E9E9}"/>
              </a:ext>
            </a:extLst>
          </p:cNvPr>
          <p:cNvSpPr txBox="1">
            <a:spLocks/>
          </p:cNvSpPr>
          <p:nvPr/>
        </p:nvSpPr>
        <p:spPr>
          <a:xfrm>
            <a:off x="217247" y="6494833"/>
            <a:ext cx="11582399" cy="304800"/>
          </a:xfrm>
          <a:prstGeom prst="rect">
            <a:avLst/>
          </a:prstGeom>
        </p:spPr>
        <p:txBody>
          <a:bodyPr/>
          <a:lstStyle>
            <a:defPPr>
              <a:defRPr lang="en-US"/>
            </a:defPPr>
            <a:lvl1pPr lvl="0" algn="l" rtl="0">
              <a:defRPr lang="en-US" sz="1800" dirty="0">
                <a:solidFill>
                  <a:schemeClr val="tx1"/>
                </a:solidFill>
                <a:latin typeface="+mn-lt"/>
              </a:defRPr>
            </a:lvl1pPr>
            <a:lvl2pPr marL="457200" lvl="1" algn="l" rtl="0">
              <a:defRPr lang="en-US" sz="1800" dirty="0">
                <a:solidFill>
                  <a:schemeClr val="tx1"/>
                </a:solidFill>
                <a:latin typeface="+mn-lt"/>
              </a:defRPr>
            </a:lvl2pPr>
            <a:lvl3pPr marL="914400" lvl="2" algn="l" rtl="0">
              <a:defRPr lang="en-US" sz="1800" dirty="0">
                <a:solidFill>
                  <a:schemeClr val="tx1"/>
                </a:solidFill>
                <a:latin typeface="+mn-lt"/>
              </a:defRPr>
            </a:lvl3pPr>
            <a:lvl4pPr marL="1371600" lvl="3" algn="l" rtl="0">
              <a:defRPr lang="en-US" sz="1800" dirty="0">
                <a:solidFill>
                  <a:schemeClr val="tx1"/>
                </a:solidFill>
                <a:latin typeface="+mn-lt"/>
              </a:defRPr>
            </a:lvl4pPr>
            <a:lvl5pPr marL="1828800" lvl="4" algn="l" rtl="0">
              <a:defRPr lang="en-US" sz="1800" dirty="0">
                <a:solidFill>
                  <a:schemeClr val="tx1"/>
                </a:solidFill>
                <a:latin typeface="+mn-lt"/>
              </a:defRPr>
            </a:lvl5pPr>
            <a:lvl6pPr marL="2286000" lvl="5" algn="l" rtl="0">
              <a:defRPr lang="en-US" sz="1800" dirty="0">
                <a:solidFill>
                  <a:schemeClr val="tx1"/>
                </a:solidFill>
                <a:latin typeface="+mn-lt"/>
              </a:defRPr>
            </a:lvl6pPr>
            <a:lvl7pPr marL="2743200" lvl="6" algn="l" rtl="0">
              <a:defRPr lang="en-US" sz="1800" dirty="0">
                <a:solidFill>
                  <a:schemeClr val="tx1"/>
                </a:solidFill>
                <a:latin typeface="+mn-lt"/>
              </a:defRPr>
            </a:lvl7pPr>
            <a:lvl8pPr marL="3200400" lvl="7" algn="l" rtl="0">
              <a:defRPr lang="en-US" sz="1800" dirty="0">
                <a:solidFill>
                  <a:schemeClr val="tx1"/>
                </a:solidFill>
                <a:latin typeface="+mn-lt"/>
              </a:defRPr>
            </a:lvl8pPr>
            <a:lvl9pPr marL="3657600" lvl="8" algn="l" rtl="0">
              <a:defRPr lang="en-US" sz="1800" dirty="0">
                <a:solidFill>
                  <a:schemeClr val="tx1"/>
                </a:solidFill>
                <a:latin typeface="+mn-lt"/>
              </a:defRPr>
            </a:lvl9pPr>
          </a:lstStyle>
          <a:p>
            <a:endParaRPr lang="en-US"/>
          </a:p>
          <a:p>
            <a:r>
              <a:rPr lang="en-US"/>
              <a:t>Thermo Fisher Scientific products are distributed globally, so uses, applications, and availability of product in each country depend on local regulatory marketing authorization status. </a:t>
            </a:r>
            <a:r>
              <a:rPr lang="en-US">
                <a:sym typeface="+mn-lt"/>
              </a:rPr>
              <a:t>| system.support.fi@thermofisher.com | </a:t>
            </a:r>
            <a:r>
              <a:rPr lang="en-US"/>
              <a:t>September 2020</a:t>
            </a:r>
            <a:endParaRPr lang="en-US">
              <a:sym typeface="+mn-lt"/>
            </a:endParaRPr>
          </a:p>
        </p:txBody>
      </p:sp>
    </p:spTree>
    <p:extLst>
      <p:ext uri="{BB962C8B-B14F-4D97-AF65-F5344CB8AC3E}">
        <p14:creationId xmlns:p14="http://schemas.microsoft.com/office/powerpoint/2010/main" val="349624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10" presetClass="entr" presetSubtype="0" fill="hold" nodeType="with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par>
                                <p:cTn id="35" presetID="10" presetClass="entr" presetSubtype="0" fill="hold" nodeType="with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childTnLst>
                          </p:cTn>
                        </p:par>
                        <p:par>
                          <p:cTn id="42" fill="hold">
                            <p:stCondLst>
                              <p:cond delay="1000"/>
                            </p:stCondLst>
                            <p:childTnLst>
                              <p:par>
                                <p:cTn id="43" presetID="10" presetClass="entr" presetSubtype="0" fill="hold" grpId="0" nodeType="afterEffect">
                                  <p:stCondLst>
                                    <p:cond delay="0"/>
                                  </p:stCondLst>
                                  <p:childTnLst>
                                    <p:set>
                                      <p:cBhvr>
                                        <p:cTn id="44" dur="1" fill="hold">
                                          <p:stCondLst>
                                            <p:cond delay="0"/>
                                          </p:stCondLst>
                                        </p:cTn>
                                        <p:tgtEl>
                                          <p:spTgt spid="9"/>
                                        </p:tgtEl>
                                        <p:attrNameLst>
                                          <p:attrName>style.visibility</p:attrName>
                                        </p:attrNameLst>
                                      </p:cBhvr>
                                      <p:to>
                                        <p:strVal val="visible"/>
                                      </p:to>
                                    </p:set>
                                    <p:animEffect transition="in" filter="fade">
                                      <p:cBhvr>
                                        <p:cTn id="45" dur="500"/>
                                        <p:tgtEl>
                                          <p:spTgt spid="9"/>
                                        </p:tgtEl>
                                      </p:cBhvr>
                                    </p:animEffect>
                                  </p:childTnLst>
                                </p:cTn>
                              </p:par>
                              <p:par>
                                <p:cTn id="46" presetID="10" presetClass="entr" presetSubtype="0" fill="hold"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cTn>
                              </p:par>
                            </p:childTnLst>
                          </p:cTn>
                        </p:par>
                        <p:par>
                          <p:cTn id="49" fill="hold">
                            <p:stCondLst>
                              <p:cond delay="1500"/>
                            </p:stCondLst>
                            <p:childTnLst>
                              <p:par>
                                <p:cTn id="50" presetID="10" presetClass="entr" presetSubtype="0" fill="hold" grpId="0"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500"/>
                                        <p:tgtEl>
                                          <p:spTgt spid="15"/>
                                        </p:tgtEl>
                                      </p:cBhvr>
                                    </p:animEffect>
                                  </p:childTnLst>
                                </p:cTn>
                              </p:par>
                            </p:childTnLst>
                          </p:cTn>
                        </p:par>
                        <p:par>
                          <p:cTn id="53" fill="hold">
                            <p:stCondLst>
                              <p:cond delay="2000"/>
                            </p:stCondLst>
                            <p:childTnLst>
                              <p:par>
                                <p:cTn id="54" presetID="10" presetClass="entr" presetSubtype="0" fill="hold" grpId="0"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childTnLst>
                          </p:cTn>
                        </p:par>
                        <p:par>
                          <p:cTn id="57" fill="hold">
                            <p:stCondLst>
                              <p:cond delay="2500"/>
                            </p:stCondLst>
                            <p:childTnLst>
                              <p:par>
                                <p:cTn id="58" presetID="10" presetClass="entr" presetSubtype="0" fill="hold" grpId="0" nodeType="afterEffect">
                                  <p:stCondLst>
                                    <p:cond delay="0"/>
                                  </p:stCondLst>
                                  <p:childTnLst>
                                    <p:set>
                                      <p:cBhvr>
                                        <p:cTn id="59" dur="1" fill="hold">
                                          <p:stCondLst>
                                            <p:cond delay="0"/>
                                          </p:stCondLst>
                                        </p:cTn>
                                        <p:tgtEl>
                                          <p:spTgt spid="11"/>
                                        </p:tgtEl>
                                        <p:attrNameLst>
                                          <p:attrName>style.visibility</p:attrName>
                                        </p:attrNameLst>
                                      </p:cBhvr>
                                      <p:to>
                                        <p:strVal val="visible"/>
                                      </p:to>
                                    </p:set>
                                    <p:animEffect transition="in" filter="fade">
                                      <p:cBhvr>
                                        <p:cTn id="60" dur="500"/>
                                        <p:tgtEl>
                                          <p:spTgt spid="11"/>
                                        </p:tgtEl>
                                      </p:cBhvr>
                                    </p:animEffect>
                                  </p:childTnLst>
                                </p:cTn>
                              </p:par>
                              <p:par>
                                <p:cTn id="61" presetID="10" presetClass="entr" presetSubtype="0" fill="hold" nodeType="withEffect">
                                  <p:stCondLst>
                                    <p:cond delay="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childTnLst>
                          </p:cTn>
                        </p:par>
                        <p:par>
                          <p:cTn id="64" fill="hold">
                            <p:stCondLst>
                              <p:cond delay="3000"/>
                            </p:stCondLst>
                            <p:childTnLst>
                              <p:par>
                                <p:cTn id="65" presetID="10" presetClass="entr" presetSubtype="0" fill="hold" grpId="0" nodeType="after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fade">
                                      <p:cBhvr>
                                        <p:cTn id="67" dur="500"/>
                                        <p:tgtEl>
                                          <p:spTgt spid="12"/>
                                        </p:tgtEl>
                                      </p:cBhvr>
                                    </p:animEffect>
                                  </p:childTnLst>
                                </p:cTn>
                              </p:par>
                            </p:childTnLst>
                          </p:cTn>
                        </p:par>
                        <p:par>
                          <p:cTn id="68" fill="hold">
                            <p:stCondLst>
                              <p:cond delay="3500"/>
                            </p:stCondLst>
                            <p:childTnLst>
                              <p:par>
                                <p:cTn id="69" presetID="10" presetClass="entr" presetSubtype="0" fill="hold" grpId="0"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fade">
                                      <p:cBhvr>
                                        <p:cTn id="7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platzhalter 13" descr="Ein Bild, das drinnen, Auto, Haushaltsgerät, Katze enthält.&#10;&#10;Automatisch generierte Beschreibung">
            <a:extLst>
              <a:ext uri="{FF2B5EF4-FFF2-40B4-BE49-F238E27FC236}">
                <a16:creationId xmlns:a16="http://schemas.microsoft.com/office/drawing/2014/main" id="{3C13276A-E159-A8F1-663D-980F7E2AD6E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60459" y="-1"/>
            <a:ext cx="6631541" cy="6858000"/>
          </a:xfrm>
          <a:custGeom>
            <a:avLst/>
            <a:gdLst>
              <a:gd name="connsiteX0" fmla="*/ 4761301 w 6631541"/>
              <a:gd name="connsiteY0" fmla="*/ 1 h 6858000"/>
              <a:gd name="connsiteX1" fmla="*/ 4761301 w 6631541"/>
              <a:gd name="connsiteY1" fmla="*/ 673805 h 6858000"/>
              <a:gd name="connsiteX2" fmla="*/ 6326740 w 6631541"/>
              <a:gd name="connsiteY2" fmla="*/ 673805 h 6858000"/>
              <a:gd name="connsiteX3" fmla="*/ 6326740 w 6631541"/>
              <a:gd name="connsiteY3" fmla="*/ 1 h 6858000"/>
              <a:gd name="connsiteX4" fmla="*/ 2183862 w 6631541"/>
              <a:gd name="connsiteY4" fmla="*/ 0 h 6858000"/>
              <a:gd name="connsiteX5" fmla="*/ 6631541 w 6631541"/>
              <a:gd name="connsiteY5" fmla="*/ 0 h 6858000"/>
              <a:gd name="connsiteX6" fmla="*/ 6631541 w 6631541"/>
              <a:gd name="connsiteY6" fmla="*/ 6858000 h 6858000"/>
              <a:gd name="connsiteX7" fmla="*/ 0 w 6631541"/>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1541" h="6858000">
                <a:moveTo>
                  <a:pt x="4761301" y="1"/>
                </a:moveTo>
                <a:lnTo>
                  <a:pt x="4761301" y="673805"/>
                </a:lnTo>
                <a:lnTo>
                  <a:pt x="6326740" y="673805"/>
                </a:lnTo>
                <a:lnTo>
                  <a:pt x="6326740" y="1"/>
                </a:lnTo>
                <a:close/>
                <a:moveTo>
                  <a:pt x="2183862" y="0"/>
                </a:moveTo>
                <a:lnTo>
                  <a:pt x="6631541" y="0"/>
                </a:lnTo>
                <a:lnTo>
                  <a:pt x="6631541" y="6858000"/>
                </a:lnTo>
                <a:lnTo>
                  <a:pt x="0" y="6858000"/>
                </a:lnTo>
                <a:close/>
              </a:path>
            </a:pathLst>
          </a:custGeom>
        </p:spPr>
      </p:pic>
      <p:sp>
        <p:nvSpPr>
          <p:cNvPr id="4" name="Titel 1">
            <a:extLst>
              <a:ext uri="{FF2B5EF4-FFF2-40B4-BE49-F238E27FC236}">
                <a16:creationId xmlns:a16="http://schemas.microsoft.com/office/drawing/2014/main" id="{BC33A6CC-3C1F-3C12-4665-83DA43008271}"/>
              </a:ext>
            </a:extLst>
          </p:cNvPr>
          <p:cNvSpPr txBox="1">
            <a:spLocks/>
          </p:cNvSpPr>
          <p:nvPr/>
        </p:nvSpPr>
        <p:spPr>
          <a:xfrm>
            <a:off x="304801" y="304799"/>
            <a:ext cx="9753600" cy="381001"/>
          </a:xfrm>
          <a:prstGeom prst="rect">
            <a:avLst/>
          </a:prstGeom>
        </p:spPr>
        <p:txBody>
          <a:bodyPr/>
          <a:lstStyle>
            <a:lvl1pPr lvl="0" algn="l" rtl="0">
              <a:lnSpc>
                <a:spcPct val="90000"/>
              </a:lnSpc>
              <a:spcBef>
                <a:spcPct val="0"/>
              </a:spcBef>
              <a:buNone/>
              <a:defRPr lang="en-US" sz="4400" dirty="0">
                <a:solidFill>
                  <a:schemeClr val="tx1"/>
                </a:solidFill>
                <a:latin typeface="+mj-lt"/>
              </a:defRPr>
            </a:lvl1pPr>
          </a:lstStyle>
          <a:p>
            <a:r>
              <a:rPr lang="pl-PL" altLang="fi-FI" sz="3200" dirty="0">
                <a:solidFill>
                  <a:srgbClr val="C00000"/>
                </a:solidFill>
                <a:sym typeface="+mj-lt"/>
              </a:rPr>
              <a:t>Samodzielny </a:t>
            </a:r>
            <a:r>
              <a:rPr lang="pl-PL" altLang="fi-FI" sz="3200" dirty="0" err="1">
                <a:solidFill>
                  <a:srgbClr val="C00000"/>
                </a:solidFill>
                <a:sym typeface="+mj-lt"/>
              </a:rPr>
              <a:t>analiztor</a:t>
            </a:r>
            <a:endParaRPr lang="pl-PL" sz="3200" dirty="0">
              <a:solidFill>
                <a:srgbClr val="C00000"/>
              </a:solidFill>
              <a:sym typeface="+mj-lt"/>
            </a:endParaRPr>
          </a:p>
        </p:txBody>
      </p:sp>
      <p:sp>
        <p:nvSpPr>
          <p:cNvPr id="5" name="Inhaltsplatzhalter 8">
            <a:extLst>
              <a:ext uri="{FF2B5EF4-FFF2-40B4-BE49-F238E27FC236}">
                <a16:creationId xmlns:a16="http://schemas.microsoft.com/office/drawing/2014/main" id="{6C8615AA-3F3C-50A4-C98B-AA7A3620A580}"/>
              </a:ext>
            </a:extLst>
          </p:cNvPr>
          <p:cNvSpPr txBox="1">
            <a:spLocks/>
          </p:cNvSpPr>
          <p:nvPr/>
        </p:nvSpPr>
        <p:spPr>
          <a:xfrm>
            <a:off x="304800" y="1447800"/>
            <a:ext cx="5791200" cy="4607956"/>
          </a:xfrm>
          <a:prstGeom prst="rect">
            <a:avLst/>
          </a:prstGeom>
        </p:spPr>
        <p:txBody>
          <a:bodyPr anchor="t"/>
          <a:lstStyle>
            <a:lvl1pPr marL="228600" lvl="0" indent="-228600" algn="l" rtl="0">
              <a:lnSpc>
                <a:spcPct val="90000"/>
              </a:lnSpc>
              <a:spcBef>
                <a:spcPts val="1000"/>
              </a:spcBef>
              <a:buFont typeface="Arial"/>
              <a:buChar char="•"/>
              <a:defRPr lang="en-US" sz="2800" dirty="0">
                <a:solidFill>
                  <a:schemeClr val="tx1"/>
                </a:solidFill>
                <a:latin typeface="+mn-lt"/>
              </a:defRPr>
            </a:lvl1pPr>
            <a:lvl2pPr marL="685800" lvl="1" indent="-228600" algn="l" rtl="0">
              <a:lnSpc>
                <a:spcPct val="90000"/>
              </a:lnSpc>
              <a:spcBef>
                <a:spcPts val="500"/>
              </a:spcBef>
              <a:buFont typeface="Arial"/>
              <a:buChar char="•"/>
              <a:defRPr lang="en-US" sz="2400" dirty="0">
                <a:solidFill>
                  <a:schemeClr val="tx1"/>
                </a:solidFill>
                <a:latin typeface="+mn-lt"/>
              </a:defRPr>
            </a:lvl2pPr>
            <a:lvl3pPr marL="1143000" lvl="2" indent="-228600" algn="l" rtl="0">
              <a:lnSpc>
                <a:spcPct val="90000"/>
              </a:lnSpc>
              <a:spcBef>
                <a:spcPts val="500"/>
              </a:spcBef>
              <a:buFont typeface="Arial"/>
              <a:buChar char="•"/>
              <a:defRPr lang="en-US" sz="2000" dirty="0">
                <a:solidFill>
                  <a:schemeClr val="tx1"/>
                </a:solidFill>
                <a:latin typeface="+mn-lt"/>
              </a:defRPr>
            </a:lvl3pPr>
            <a:lvl4pPr marL="1600200" lvl="3" indent="-228600" algn="l" rtl="0">
              <a:lnSpc>
                <a:spcPct val="90000"/>
              </a:lnSpc>
              <a:spcBef>
                <a:spcPts val="500"/>
              </a:spcBef>
              <a:buFont typeface="Arial"/>
              <a:buChar char="•"/>
              <a:defRPr lang="en-US" sz="1800" dirty="0">
                <a:solidFill>
                  <a:schemeClr val="tx1"/>
                </a:solidFill>
                <a:latin typeface="+mn-lt"/>
              </a:defRPr>
            </a:lvl4pPr>
            <a:lvl5pPr marL="2057400" lvl="4" indent="-228600" algn="l" rtl="0">
              <a:lnSpc>
                <a:spcPct val="90000"/>
              </a:lnSpc>
              <a:spcBef>
                <a:spcPts val="500"/>
              </a:spcBef>
              <a:buFont typeface="Arial"/>
              <a:buChar char="•"/>
              <a:defRPr lang="en-US" sz="1800" dirty="0">
                <a:solidFill>
                  <a:schemeClr val="tx1"/>
                </a:solidFill>
                <a:latin typeface="+mn-lt"/>
              </a:defRPr>
            </a:lvl5pPr>
            <a:lvl6pPr marL="2514600" lvl="5" indent="-228600" algn="l" rtl="0">
              <a:lnSpc>
                <a:spcPct val="90000"/>
              </a:lnSpc>
              <a:spcBef>
                <a:spcPts val="500"/>
              </a:spcBef>
              <a:buFont typeface="Arial"/>
              <a:buChar char="•"/>
              <a:defRPr lang="en-US" sz="1800" dirty="0">
                <a:solidFill>
                  <a:schemeClr val="tx1"/>
                </a:solidFill>
                <a:latin typeface="+mn-lt"/>
              </a:defRPr>
            </a:lvl6pPr>
            <a:lvl7pPr marL="2971800" lvl="6" indent="-228600" algn="l" rtl="0">
              <a:lnSpc>
                <a:spcPct val="90000"/>
              </a:lnSpc>
              <a:spcBef>
                <a:spcPts val="500"/>
              </a:spcBef>
              <a:buFont typeface="Arial"/>
              <a:buChar char="•"/>
              <a:defRPr lang="en-US" sz="1800" dirty="0">
                <a:solidFill>
                  <a:schemeClr val="tx1"/>
                </a:solidFill>
                <a:latin typeface="+mn-lt"/>
              </a:defRPr>
            </a:lvl7pPr>
            <a:lvl8pPr marL="3429000" lvl="7" indent="-228600" algn="l" rtl="0">
              <a:lnSpc>
                <a:spcPct val="90000"/>
              </a:lnSpc>
              <a:spcBef>
                <a:spcPts val="500"/>
              </a:spcBef>
              <a:buFont typeface="Arial"/>
              <a:buChar char="•"/>
              <a:defRPr lang="en-US" sz="1800" dirty="0">
                <a:solidFill>
                  <a:schemeClr val="tx1"/>
                </a:solidFill>
                <a:latin typeface="+mn-lt"/>
              </a:defRPr>
            </a:lvl8pPr>
            <a:lvl9pPr marL="3886200" lvl="8" indent="-228600" algn="l" rtl="0">
              <a:lnSpc>
                <a:spcPct val="90000"/>
              </a:lnSpc>
              <a:spcBef>
                <a:spcPts val="500"/>
              </a:spcBef>
              <a:buFont typeface="Arial"/>
              <a:buChar char="•"/>
              <a:defRPr lang="en-US" sz="1800" dirty="0">
                <a:solidFill>
                  <a:schemeClr val="tx1"/>
                </a:solidFill>
                <a:latin typeface="+mn-lt"/>
              </a:defRPr>
            </a:lvl9pPr>
          </a:lstStyle>
          <a:p>
            <a:r>
              <a:rPr lang="pl-PL" sz="2400" dirty="0">
                <a:sym typeface="+mn-lt"/>
              </a:rPr>
              <a:t>Nie wymaga żadnych zewnętrznych pojemników na wodę lub bezpośredniego złącza zasilającego w wodę</a:t>
            </a:r>
          </a:p>
          <a:p>
            <a:endParaRPr lang="pl-PL" sz="2400" dirty="0">
              <a:sym typeface="+mn-lt"/>
            </a:endParaRPr>
          </a:p>
          <a:p>
            <a:r>
              <a:rPr lang="pl-PL" sz="2400" dirty="0"/>
              <a:t>Szybkość i prostota montażu </a:t>
            </a:r>
            <a:endParaRPr lang="en-US" sz="2400" dirty="0">
              <a:sym typeface="+mn-lt"/>
            </a:endParaRPr>
          </a:p>
          <a:p>
            <a:pPr lvl="1"/>
            <a:endParaRPr lang="en-US" sz="2000" dirty="0">
              <a:sym typeface="+mn-lt"/>
            </a:endParaRPr>
          </a:p>
          <a:p>
            <a:r>
              <a:rPr lang="pl-PL" sz="2400" dirty="0">
                <a:sym typeface="+mn-lt"/>
              </a:rPr>
              <a:t>Minimalne zużycie wody</a:t>
            </a:r>
            <a:endParaRPr lang="en-US" sz="2400" dirty="0">
              <a:sym typeface="+mn-lt"/>
            </a:endParaRPr>
          </a:p>
        </p:txBody>
      </p:sp>
      <p:sp>
        <p:nvSpPr>
          <p:cNvPr id="6" name="Parallelogram 50">
            <a:extLst>
              <a:ext uri="{FF2B5EF4-FFF2-40B4-BE49-F238E27FC236}">
                <a16:creationId xmlns:a16="http://schemas.microsoft.com/office/drawing/2014/main" id="{C47291E4-B143-D5D0-ADBC-DA677FA05111}"/>
              </a:ext>
            </a:extLst>
          </p:cNvPr>
          <p:cNvSpPr/>
          <p:nvPr/>
        </p:nvSpPr>
        <p:spPr bwMode="auto">
          <a:xfrm>
            <a:off x="5815013" y="4299253"/>
            <a:ext cx="7023476" cy="1763911"/>
          </a:xfrm>
          <a:prstGeom prst="parallelogram">
            <a:avLst>
              <a:gd name="adj" fmla="val 31844"/>
            </a:avLst>
          </a:prstGeom>
          <a:solidFill>
            <a:schemeClr val="accent2"/>
          </a:solidFill>
          <a:ln w="317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dirty="0">
              <a:solidFill>
                <a:schemeClr val="bg1"/>
              </a:solidFill>
              <a:sym typeface="+mn-lt"/>
            </a:endParaRPr>
          </a:p>
        </p:txBody>
      </p:sp>
      <p:sp>
        <p:nvSpPr>
          <p:cNvPr id="7" name="Parallelogram 14">
            <a:extLst>
              <a:ext uri="{FF2B5EF4-FFF2-40B4-BE49-F238E27FC236}">
                <a16:creationId xmlns:a16="http://schemas.microsoft.com/office/drawing/2014/main" id="{AED757B5-4F98-9964-ACE3-31613F2BF1BC}"/>
              </a:ext>
            </a:extLst>
          </p:cNvPr>
          <p:cNvSpPr/>
          <p:nvPr/>
        </p:nvSpPr>
        <p:spPr bwMode="auto">
          <a:xfrm>
            <a:off x="6350553" y="4544334"/>
            <a:ext cx="6626524" cy="1273747"/>
          </a:xfrm>
          <a:prstGeom prst="rect">
            <a:avLst/>
          </a:prstGeom>
          <a:noFill/>
          <a:ln w="317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defTabSz="914400" eaLnBrk="0" fontAlgn="base" hangingPunct="0">
              <a:lnSpc>
                <a:spcPct val="120000"/>
              </a:lnSpc>
              <a:spcBef>
                <a:spcPct val="0"/>
              </a:spcBef>
              <a:spcAft>
                <a:spcPct val="0"/>
              </a:spcAft>
            </a:pPr>
            <a:r>
              <a:rPr lang="pl-PL" sz="2200" b="1" dirty="0">
                <a:solidFill>
                  <a:schemeClr val="bg1"/>
                </a:solidFill>
                <a:sym typeface="+mn-lt"/>
              </a:rPr>
              <a:t>Tylko</a:t>
            </a:r>
            <a:r>
              <a:rPr lang="en-US" sz="2200" b="1" dirty="0">
                <a:solidFill>
                  <a:schemeClr val="bg1"/>
                </a:solidFill>
                <a:sym typeface="+mn-lt"/>
              </a:rPr>
              <a:t> 1.5–2.5 lit</a:t>
            </a:r>
            <a:r>
              <a:rPr lang="pl-PL" sz="2200" b="1" dirty="0" err="1">
                <a:solidFill>
                  <a:schemeClr val="bg1"/>
                </a:solidFill>
                <a:sym typeface="+mn-lt"/>
              </a:rPr>
              <a:t>ra</a:t>
            </a:r>
            <a:r>
              <a:rPr lang="pl-PL" sz="2200" b="1" dirty="0">
                <a:solidFill>
                  <a:schemeClr val="bg1"/>
                </a:solidFill>
                <a:sym typeface="+mn-lt"/>
              </a:rPr>
              <a:t> wody</a:t>
            </a:r>
            <a:r>
              <a:rPr lang="en-US" sz="2200" b="1" dirty="0">
                <a:solidFill>
                  <a:schemeClr val="bg1"/>
                </a:solidFill>
                <a:sym typeface="+mn-lt"/>
              </a:rPr>
              <a:t>/</a:t>
            </a:r>
            <a:r>
              <a:rPr lang="pl-PL" sz="2200" b="1" dirty="0">
                <a:solidFill>
                  <a:schemeClr val="bg1"/>
                </a:solidFill>
                <a:sym typeface="+mn-lt"/>
              </a:rPr>
              <a:t>godzinę </a:t>
            </a:r>
            <a:endParaRPr lang="en-US" sz="2200" b="1" dirty="0">
              <a:solidFill>
                <a:schemeClr val="bg1"/>
              </a:solidFill>
              <a:sym typeface="+mn-lt"/>
            </a:endParaRPr>
          </a:p>
          <a:p>
            <a:pPr marL="452438" indent="-452438" defTabSz="914400" eaLnBrk="0" fontAlgn="base" hangingPunct="0">
              <a:lnSpc>
                <a:spcPct val="120000"/>
              </a:lnSpc>
              <a:spcBef>
                <a:spcPct val="0"/>
              </a:spcBef>
              <a:spcAft>
                <a:spcPct val="0"/>
              </a:spcAft>
              <a:buFont typeface="Wingdings" panose="05000000000000000000" pitchFamily="2" charset="2"/>
              <a:buChar char="ü"/>
            </a:pPr>
            <a:r>
              <a:rPr lang="pl-PL" sz="2200" dirty="0">
                <a:solidFill>
                  <a:schemeClr val="bg1"/>
                </a:solidFill>
                <a:sym typeface="+mn-lt"/>
              </a:rPr>
              <a:t>Przyjazny środowisku</a:t>
            </a:r>
            <a:endParaRPr lang="en-US" sz="2200" dirty="0">
              <a:solidFill>
                <a:schemeClr val="bg1"/>
              </a:solidFill>
              <a:sym typeface="+mn-lt"/>
            </a:endParaRPr>
          </a:p>
          <a:p>
            <a:pPr marL="452438" indent="-452438" defTabSz="914400" eaLnBrk="0" fontAlgn="base" hangingPunct="0">
              <a:lnSpc>
                <a:spcPct val="120000"/>
              </a:lnSpc>
              <a:spcBef>
                <a:spcPct val="0"/>
              </a:spcBef>
              <a:spcAft>
                <a:spcPct val="0"/>
              </a:spcAft>
              <a:buFont typeface="Wingdings" panose="05000000000000000000" pitchFamily="2" charset="2"/>
              <a:buChar char="ü"/>
            </a:pPr>
            <a:r>
              <a:rPr lang="pl-PL" sz="2200" dirty="0">
                <a:solidFill>
                  <a:schemeClr val="bg1"/>
                </a:solidFill>
                <a:sym typeface="+mn-lt"/>
              </a:rPr>
              <a:t>Niski koszt eksploatacji</a:t>
            </a:r>
            <a:endParaRPr lang="en-US" sz="2200" dirty="0">
              <a:solidFill>
                <a:schemeClr val="bg1"/>
              </a:solidFill>
              <a:sym typeface="+mn-lt"/>
            </a:endParaRPr>
          </a:p>
        </p:txBody>
      </p:sp>
      <p:sp>
        <p:nvSpPr>
          <p:cNvPr id="8" name="Rechteck 18">
            <a:extLst>
              <a:ext uri="{FF2B5EF4-FFF2-40B4-BE49-F238E27FC236}">
                <a16:creationId xmlns:a16="http://schemas.microsoft.com/office/drawing/2014/main" id="{EA7D2395-D810-265B-CC16-1771A6931383}"/>
              </a:ext>
            </a:extLst>
          </p:cNvPr>
          <p:cNvSpPr/>
          <p:nvPr/>
        </p:nvSpPr>
        <p:spPr bwMode="auto">
          <a:xfrm flipH="1">
            <a:off x="12191999" y="-489162"/>
            <a:ext cx="1203875" cy="7423150"/>
          </a:xfrm>
          <a:prstGeom prst="rect">
            <a:avLst/>
          </a:prstGeom>
          <a:solidFill>
            <a:srgbClr val="E6E6E6"/>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sym typeface="+mn-lt"/>
            </a:endParaRPr>
          </a:p>
        </p:txBody>
      </p:sp>
      <p:grpSp>
        <p:nvGrpSpPr>
          <p:cNvPr id="9" name="Group 75">
            <a:extLst>
              <a:ext uri="{FF2B5EF4-FFF2-40B4-BE49-F238E27FC236}">
                <a16:creationId xmlns:a16="http://schemas.microsoft.com/office/drawing/2014/main" id="{B0351697-5BDD-5F80-6161-B765A588DBA3}"/>
              </a:ext>
            </a:extLst>
          </p:cNvPr>
          <p:cNvGrpSpPr>
            <a:grpSpLocks noChangeAspect="1"/>
          </p:cNvGrpSpPr>
          <p:nvPr/>
        </p:nvGrpSpPr>
        <p:grpSpPr>
          <a:xfrm>
            <a:off x="10292953" y="893063"/>
            <a:ext cx="1608310" cy="584939"/>
            <a:chOff x="343668" y="1851251"/>
            <a:chExt cx="11514733" cy="4187886"/>
          </a:xfrm>
        </p:grpSpPr>
        <p:sp>
          <p:nvSpPr>
            <p:cNvPr id="10" name="Rectangle 76">
              <a:extLst>
                <a:ext uri="{FF2B5EF4-FFF2-40B4-BE49-F238E27FC236}">
                  <a16:creationId xmlns:a16="http://schemas.microsoft.com/office/drawing/2014/main" id="{56DBCF29-F32D-6BE7-53CF-FB2B12CAD300}"/>
                </a:ext>
              </a:extLst>
            </p:cNvPr>
            <p:cNvSpPr/>
            <p:nvPr/>
          </p:nvSpPr>
          <p:spPr bwMode="auto">
            <a:xfrm>
              <a:off x="343668" y="4455137"/>
              <a:ext cx="3139200" cy="1584000"/>
            </a:xfrm>
            <a:prstGeom prst="rect">
              <a:avLst/>
            </a:prstGeom>
            <a:solidFill>
              <a:schemeClr val="tx2">
                <a:lumMod val="75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11" name="Rectangle 77">
              <a:extLst>
                <a:ext uri="{FF2B5EF4-FFF2-40B4-BE49-F238E27FC236}">
                  <a16:creationId xmlns:a16="http://schemas.microsoft.com/office/drawing/2014/main" id="{CED97160-7D85-72A6-66DD-3C2D81DC8AB3}"/>
                </a:ext>
              </a:extLst>
            </p:cNvPr>
            <p:cNvSpPr/>
            <p:nvPr/>
          </p:nvSpPr>
          <p:spPr bwMode="auto">
            <a:xfrm>
              <a:off x="4296205" y="4455137"/>
              <a:ext cx="3139200" cy="1584000"/>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12" name="Rectangle 78">
              <a:extLst>
                <a:ext uri="{FF2B5EF4-FFF2-40B4-BE49-F238E27FC236}">
                  <a16:creationId xmlns:a16="http://schemas.microsoft.com/office/drawing/2014/main" id="{C6990D2B-7A03-3353-7767-5DC5EC69E81D}"/>
                </a:ext>
              </a:extLst>
            </p:cNvPr>
            <p:cNvSpPr/>
            <p:nvPr/>
          </p:nvSpPr>
          <p:spPr bwMode="auto">
            <a:xfrm>
              <a:off x="8258401" y="4455137"/>
              <a:ext cx="3139200" cy="1584000"/>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13" name="Parallelogram 79">
              <a:extLst>
                <a:ext uri="{FF2B5EF4-FFF2-40B4-BE49-F238E27FC236}">
                  <a16:creationId xmlns:a16="http://schemas.microsoft.com/office/drawing/2014/main" id="{EDF1063C-0243-4BAA-6B83-445E607E0BFE}"/>
                </a:ext>
              </a:extLst>
            </p:cNvPr>
            <p:cNvSpPr/>
            <p:nvPr/>
          </p:nvSpPr>
          <p:spPr bwMode="auto">
            <a:xfrm>
              <a:off x="343668" y="3028232"/>
              <a:ext cx="3600000" cy="1440000"/>
            </a:xfrm>
            <a:prstGeom prst="parallelogram">
              <a:avLst>
                <a:gd name="adj" fmla="val 31844"/>
              </a:avLst>
            </a:prstGeom>
            <a:solidFill>
              <a:schemeClr val="tx2"/>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14" name="Group 80">
              <a:extLst>
                <a:ext uri="{FF2B5EF4-FFF2-40B4-BE49-F238E27FC236}">
                  <a16:creationId xmlns:a16="http://schemas.microsoft.com/office/drawing/2014/main" id="{EBB0A400-14FB-815A-1F09-F232957CF3F4}"/>
                </a:ext>
              </a:extLst>
            </p:cNvPr>
            <p:cNvGrpSpPr/>
            <p:nvPr/>
          </p:nvGrpSpPr>
          <p:grpSpPr>
            <a:xfrm>
              <a:off x="1571478" y="1851251"/>
              <a:ext cx="1504370" cy="1504370"/>
              <a:chOff x="5343815" y="1101555"/>
              <a:chExt cx="1504370" cy="1504370"/>
            </a:xfrm>
          </p:grpSpPr>
          <p:sp>
            <p:nvSpPr>
              <p:cNvPr id="26" name="Freeform: Shape 92">
                <a:extLst>
                  <a:ext uri="{FF2B5EF4-FFF2-40B4-BE49-F238E27FC236}">
                    <a16:creationId xmlns:a16="http://schemas.microsoft.com/office/drawing/2014/main" id="{20C51E85-7975-75B9-241F-376B1E354CF2}"/>
                  </a:ext>
                </a:extLst>
              </p:cNvPr>
              <p:cNvSpPr/>
              <p:nvPr/>
            </p:nvSpPr>
            <p:spPr>
              <a:xfrm>
                <a:off x="5343815" y="1101555"/>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tx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marL="0" lvl="0" indent="0" algn="ctr" defTabSz="1289050">
                  <a:lnSpc>
                    <a:spcPct val="90000"/>
                  </a:lnSpc>
                  <a:spcBef>
                    <a:spcPct val="0"/>
                  </a:spcBef>
                  <a:spcAft>
                    <a:spcPct val="35000"/>
                  </a:spcAft>
                  <a:buNone/>
                </a:pPr>
                <a:endParaRPr lang="en-US" sz="2900" kern="1200"/>
              </a:p>
            </p:txBody>
          </p:sp>
          <p:pic>
            <p:nvPicPr>
              <p:cNvPr id="27" name="Graphic 93">
                <a:extLst>
                  <a:ext uri="{FF2B5EF4-FFF2-40B4-BE49-F238E27FC236}">
                    <a16:creationId xmlns:a16="http://schemas.microsoft.com/office/drawing/2014/main" id="{D408141B-ECC6-A8B9-F653-526366AEE5EF}"/>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23810" y="1281550"/>
                <a:ext cx="1144381" cy="1144381"/>
              </a:xfrm>
              <a:prstGeom prst="rect">
                <a:avLst/>
              </a:prstGeom>
            </p:spPr>
          </p:pic>
        </p:grpSp>
        <p:sp>
          <p:nvSpPr>
            <p:cNvPr id="15" name="Parallelogram 81">
              <a:extLst>
                <a:ext uri="{FF2B5EF4-FFF2-40B4-BE49-F238E27FC236}">
                  <a16:creationId xmlns:a16="http://schemas.microsoft.com/office/drawing/2014/main" id="{20688F2E-2387-BCDE-CD18-B8FE8C1C04ED}"/>
                </a:ext>
              </a:extLst>
            </p:cNvPr>
            <p:cNvSpPr/>
            <p:nvPr/>
          </p:nvSpPr>
          <p:spPr bwMode="auto">
            <a:xfrm>
              <a:off x="8258401" y="3028232"/>
              <a:ext cx="3600000" cy="1440000"/>
            </a:xfrm>
            <a:prstGeom prst="parallelogram">
              <a:avLst>
                <a:gd name="adj" fmla="val 31844"/>
              </a:avLst>
            </a:prstGeom>
            <a:solidFill>
              <a:schemeClr val="bg2">
                <a:lumMod val="75000"/>
              </a:schemeClr>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16" name="Group 82">
              <a:extLst>
                <a:ext uri="{FF2B5EF4-FFF2-40B4-BE49-F238E27FC236}">
                  <a16:creationId xmlns:a16="http://schemas.microsoft.com/office/drawing/2014/main" id="{7C4FE4D2-D4AC-1C73-8119-FD611D69CF21}"/>
                </a:ext>
              </a:extLst>
            </p:cNvPr>
            <p:cNvGrpSpPr/>
            <p:nvPr/>
          </p:nvGrpSpPr>
          <p:grpSpPr>
            <a:xfrm>
              <a:off x="9486211" y="1851251"/>
              <a:ext cx="1504370" cy="1504370"/>
              <a:chOff x="7167592" y="4260429"/>
              <a:chExt cx="1504370" cy="1504370"/>
            </a:xfrm>
          </p:grpSpPr>
          <p:sp>
            <p:nvSpPr>
              <p:cNvPr id="24" name="Freeform: Shape 90">
                <a:extLst>
                  <a:ext uri="{FF2B5EF4-FFF2-40B4-BE49-F238E27FC236}">
                    <a16:creationId xmlns:a16="http://schemas.microsoft.com/office/drawing/2014/main" id="{708C20EA-6404-27AF-72B9-3A88E5B1AF52}"/>
                  </a:ext>
                </a:extLst>
              </p:cNvPr>
              <p:cNvSpPr/>
              <p:nvPr/>
            </p:nvSpPr>
            <p:spPr>
              <a:xfrm>
                <a:off x="7167592" y="4260429"/>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marL="0" lvl="0" indent="0" algn="ctr" defTabSz="1289050">
                  <a:lnSpc>
                    <a:spcPct val="90000"/>
                  </a:lnSpc>
                  <a:spcBef>
                    <a:spcPct val="0"/>
                  </a:spcBef>
                  <a:spcAft>
                    <a:spcPct val="35000"/>
                  </a:spcAft>
                  <a:buNone/>
                </a:pPr>
                <a:endParaRPr lang="en-US" sz="2900" kern="1200"/>
              </a:p>
            </p:txBody>
          </p:sp>
          <p:pic>
            <p:nvPicPr>
              <p:cNvPr id="25" name="Graphic 91">
                <a:extLst>
                  <a:ext uri="{FF2B5EF4-FFF2-40B4-BE49-F238E27FC236}">
                    <a16:creationId xmlns:a16="http://schemas.microsoft.com/office/drawing/2014/main" id="{1F5A58EF-9860-2B05-83EF-489F5B367D7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47587" y="4440424"/>
                <a:ext cx="1144381" cy="1144381"/>
              </a:xfrm>
              <a:prstGeom prst="rect">
                <a:avLst/>
              </a:prstGeom>
            </p:spPr>
          </p:pic>
        </p:grpSp>
        <p:sp>
          <p:nvSpPr>
            <p:cNvPr id="17" name="Parallelogram 83">
              <a:extLst>
                <a:ext uri="{FF2B5EF4-FFF2-40B4-BE49-F238E27FC236}">
                  <a16:creationId xmlns:a16="http://schemas.microsoft.com/office/drawing/2014/main" id="{53344038-8138-CA62-644B-F357A44D7931}"/>
                </a:ext>
              </a:extLst>
            </p:cNvPr>
            <p:cNvSpPr/>
            <p:nvPr/>
          </p:nvSpPr>
          <p:spPr bwMode="auto">
            <a:xfrm>
              <a:off x="4296205" y="3028232"/>
              <a:ext cx="3600000" cy="1440000"/>
            </a:xfrm>
            <a:prstGeom prst="parallelogram">
              <a:avLst>
                <a:gd name="adj" fmla="val 31844"/>
              </a:avLst>
            </a:prstGeom>
            <a:solidFill>
              <a:schemeClr val="bg2">
                <a:lumMod val="75000"/>
              </a:schemeClr>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18" name="Group 84">
              <a:extLst>
                <a:ext uri="{FF2B5EF4-FFF2-40B4-BE49-F238E27FC236}">
                  <a16:creationId xmlns:a16="http://schemas.microsoft.com/office/drawing/2014/main" id="{50485AA7-FD8A-63E0-7814-AEF03CF55336}"/>
                </a:ext>
              </a:extLst>
            </p:cNvPr>
            <p:cNvGrpSpPr/>
            <p:nvPr/>
          </p:nvGrpSpPr>
          <p:grpSpPr>
            <a:xfrm>
              <a:off x="5528845" y="1851251"/>
              <a:ext cx="1504370" cy="1504370"/>
              <a:chOff x="3520038" y="4260429"/>
              <a:chExt cx="1504370" cy="1504370"/>
            </a:xfrm>
          </p:grpSpPr>
          <p:sp>
            <p:nvSpPr>
              <p:cNvPr id="19" name="Freeform: Shape 85">
                <a:extLst>
                  <a:ext uri="{FF2B5EF4-FFF2-40B4-BE49-F238E27FC236}">
                    <a16:creationId xmlns:a16="http://schemas.microsoft.com/office/drawing/2014/main" id="{61E01953-2771-6E0E-13D6-9EC00E6744DD}"/>
                  </a:ext>
                </a:extLst>
              </p:cNvPr>
              <p:cNvSpPr/>
              <p:nvPr/>
            </p:nvSpPr>
            <p:spPr>
              <a:xfrm>
                <a:off x="3520038" y="4260429"/>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marL="0" lvl="0" indent="0" algn="ctr" defTabSz="1289050">
                  <a:lnSpc>
                    <a:spcPct val="90000"/>
                  </a:lnSpc>
                  <a:spcBef>
                    <a:spcPct val="0"/>
                  </a:spcBef>
                  <a:spcAft>
                    <a:spcPct val="35000"/>
                  </a:spcAft>
                  <a:buNone/>
                </a:pPr>
                <a:endParaRPr lang="en-US" sz="2900" kern="1200"/>
              </a:p>
            </p:txBody>
          </p:sp>
          <p:grpSp>
            <p:nvGrpSpPr>
              <p:cNvPr id="20" name="Group 86">
                <a:extLst>
                  <a:ext uri="{FF2B5EF4-FFF2-40B4-BE49-F238E27FC236}">
                    <a16:creationId xmlns:a16="http://schemas.microsoft.com/office/drawing/2014/main" id="{A07178F8-26FB-56BE-2CDD-76C58135D978}"/>
                  </a:ext>
                </a:extLst>
              </p:cNvPr>
              <p:cNvGrpSpPr/>
              <p:nvPr/>
            </p:nvGrpSpPr>
            <p:grpSpPr>
              <a:xfrm>
                <a:off x="3886675" y="4548065"/>
                <a:ext cx="756613" cy="987042"/>
                <a:chOff x="3886675" y="4548065"/>
                <a:chExt cx="756613" cy="987042"/>
              </a:xfrm>
            </p:grpSpPr>
            <p:sp>
              <p:nvSpPr>
                <p:cNvPr id="21" name="Freeform: Shape 87">
                  <a:extLst>
                    <a:ext uri="{FF2B5EF4-FFF2-40B4-BE49-F238E27FC236}">
                      <a16:creationId xmlns:a16="http://schemas.microsoft.com/office/drawing/2014/main" id="{72F7B353-CB78-4592-6BB2-ACEE8FDD1BA2}"/>
                    </a:ext>
                  </a:extLst>
                </p:cNvPr>
                <p:cNvSpPr/>
                <p:nvPr/>
              </p:nvSpPr>
              <p:spPr>
                <a:xfrm>
                  <a:off x="3886675" y="4569787"/>
                  <a:ext cx="756613" cy="965320"/>
                </a:xfrm>
                <a:custGeom>
                  <a:avLst/>
                  <a:gdLst>
                    <a:gd name="connsiteX0" fmla="*/ 469946 w 756613"/>
                    <a:gd name="connsiteY0" fmla="*/ 616988 h 965320"/>
                    <a:gd name="connsiteX1" fmla="*/ 469946 w 756613"/>
                    <a:gd name="connsiteY1" fmla="*/ 628611 h 965320"/>
                    <a:gd name="connsiteX2" fmla="*/ 452959 w 756613"/>
                    <a:gd name="connsiteY2" fmla="*/ 913633 h 965320"/>
                    <a:gd name="connsiteX3" fmla="*/ 459039 w 756613"/>
                    <a:gd name="connsiteY3" fmla="*/ 943315 h 965320"/>
                    <a:gd name="connsiteX4" fmla="*/ 530741 w 756613"/>
                    <a:gd name="connsiteY4" fmla="*/ 948680 h 965320"/>
                    <a:gd name="connsiteX5" fmla="*/ 539682 w 756613"/>
                    <a:gd name="connsiteY5" fmla="*/ 923646 h 965320"/>
                    <a:gd name="connsiteX6" fmla="*/ 556669 w 756613"/>
                    <a:gd name="connsiteY6" fmla="*/ 747340 h 965320"/>
                    <a:gd name="connsiteX7" fmla="*/ 564894 w 756613"/>
                    <a:gd name="connsiteY7" fmla="*/ 660081 h 965320"/>
                    <a:gd name="connsiteX8" fmla="*/ 566682 w 756613"/>
                    <a:gd name="connsiteY8" fmla="*/ 651498 h 965320"/>
                    <a:gd name="connsiteX9" fmla="*/ 573656 w 756613"/>
                    <a:gd name="connsiteY9" fmla="*/ 660975 h 965320"/>
                    <a:gd name="connsiteX10" fmla="*/ 673074 w 756613"/>
                    <a:gd name="connsiteY10" fmla="*/ 828162 h 965320"/>
                    <a:gd name="connsiteX11" fmla="*/ 701683 w 756613"/>
                    <a:gd name="connsiteY11" fmla="*/ 851228 h 965320"/>
                    <a:gd name="connsiteX12" fmla="*/ 756578 w 756613"/>
                    <a:gd name="connsiteY12" fmla="*/ 814572 h 965320"/>
                    <a:gd name="connsiteX13" fmla="*/ 749425 w 756613"/>
                    <a:gd name="connsiteY13" fmla="*/ 783460 h 965320"/>
                    <a:gd name="connsiteX14" fmla="*/ 602802 w 756613"/>
                    <a:gd name="connsiteY14" fmla="*/ 530444 h 965320"/>
                    <a:gd name="connsiteX15" fmla="*/ 538251 w 756613"/>
                    <a:gd name="connsiteY15" fmla="*/ 499152 h 965320"/>
                    <a:gd name="connsiteX16" fmla="*/ 425422 w 756613"/>
                    <a:gd name="connsiteY16" fmla="*/ 519179 h 965320"/>
                    <a:gd name="connsiteX17" fmla="*/ 419164 w 756613"/>
                    <a:gd name="connsiteY17" fmla="*/ 520073 h 965320"/>
                    <a:gd name="connsiteX18" fmla="*/ 388945 w 756613"/>
                    <a:gd name="connsiteY18" fmla="*/ 304071 h 965320"/>
                    <a:gd name="connsiteX19" fmla="*/ 401104 w 756613"/>
                    <a:gd name="connsiteY19" fmla="*/ 279574 h 965320"/>
                    <a:gd name="connsiteX20" fmla="*/ 528059 w 756613"/>
                    <a:gd name="connsiteY20" fmla="*/ 192315 h 965320"/>
                    <a:gd name="connsiteX21" fmla="*/ 550947 w 756613"/>
                    <a:gd name="connsiteY21" fmla="*/ 154408 h 965320"/>
                    <a:gd name="connsiteX22" fmla="*/ 527523 w 756613"/>
                    <a:gd name="connsiteY22" fmla="*/ 118646 h 965320"/>
                    <a:gd name="connsiteX23" fmla="*/ 369634 w 756613"/>
                    <a:gd name="connsiteY23" fmla="*/ 37645 h 965320"/>
                    <a:gd name="connsiteX24" fmla="*/ 358727 w 756613"/>
                    <a:gd name="connsiteY24" fmla="*/ 34784 h 965320"/>
                    <a:gd name="connsiteX25" fmla="*/ 334587 w 756613"/>
                    <a:gd name="connsiteY25" fmla="*/ 24056 h 965320"/>
                    <a:gd name="connsiteX26" fmla="*/ 198156 w 756613"/>
                    <a:gd name="connsiteY26" fmla="*/ 41042 h 965320"/>
                    <a:gd name="connsiteX27" fmla="*/ 181526 w 756613"/>
                    <a:gd name="connsiteY27" fmla="*/ 55526 h 965320"/>
                    <a:gd name="connsiteX28" fmla="*/ 24532 w 756613"/>
                    <a:gd name="connsiteY28" fmla="*/ 137600 h 965320"/>
                    <a:gd name="connsiteX29" fmla="*/ 11478 w 756613"/>
                    <a:gd name="connsiteY29" fmla="*/ 202507 h 965320"/>
                    <a:gd name="connsiteX30" fmla="*/ 30611 w 756613"/>
                    <a:gd name="connsiteY30" fmla="*/ 218421 h 965320"/>
                    <a:gd name="connsiteX31" fmla="*/ 152023 w 756613"/>
                    <a:gd name="connsiteY31" fmla="*/ 303535 h 965320"/>
                    <a:gd name="connsiteX32" fmla="*/ 179917 w 756613"/>
                    <a:gd name="connsiteY32" fmla="*/ 352350 h 965320"/>
                    <a:gd name="connsiteX33" fmla="*/ 223725 w 756613"/>
                    <a:gd name="connsiteY33" fmla="*/ 618597 h 965320"/>
                    <a:gd name="connsiteX34" fmla="*/ 304547 w 756613"/>
                    <a:gd name="connsiteY34" fmla="*/ 664372 h 965320"/>
                    <a:gd name="connsiteX35" fmla="*/ 459754 w 756613"/>
                    <a:gd name="connsiteY35" fmla="*/ 619670 h 965320"/>
                    <a:gd name="connsiteX36" fmla="*/ 469946 w 756613"/>
                    <a:gd name="connsiteY36" fmla="*/ 616988 h 965320"/>
                    <a:gd name="connsiteX37" fmla="*/ 190288 w 756613"/>
                    <a:gd name="connsiteY37" fmla="*/ 126513 h 965320"/>
                    <a:gd name="connsiteX38" fmla="*/ 280944 w 756613"/>
                    <a:gd name="connsiteY38" fmla="*/ 164063 h 965320"/>
                    <a:gd name="connsiteX39" fmla="*/ 358190 w 756613"/>
                    <a:gd name="connsiteY39" fmla="*/ 108632 h 965320"/>
                    <a:gd name="connsiteX40" fmla="*/ 447058 w 756613"/>
                    <a:gd name="connsiteY40" fmla="*/ 155302 h 965320"/>
                    <a:gd name="connsiteX41" fmla="*/ 353541 w 756613"/>
                    <a:gd name="connsiteY41" fmla="*/ 205011 h 965320"/>
                    <a:gd name="connsiteX42" fmla="*/ 341203 w 756613"/>
                    <a:gd name="connsiteY42" fmla="*/ 209481 h 965320"/>
                    <a:gd name="connsiteX43" fmla="*/ 201195 w 756613"/>
                    <a:gd name="connsiteY43" fmla="*/ 223965 h 965320"/>
                    <a:gd name="connsiteX44" fmla="*/ 192612 w 756613"/>
                    <a:gd name="connsiteY44" fmla="*/ 222534 h 965320"/>
                    <a:gd name="connsiteX45" fmla="*/ 113042 w 756613"/>
                    <a:gd name="connsiteY45" fmla="*/ 181944 h 965320"/>
                    <a:gd name="connsiteX46" fmla="*/ 106069 w 756613"/>
                    <a:gd name="connsiteY46" fmla="*/ 177474 h 965320"/>
                    <a:gd name="connsiteX47" fmla="*/ 190288 w 756613"/>
                    <a:gd name="connsiteY47" fmla="*/ 126513 h 96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56613" h="965320">
                      <a:moveTo>
                        <a:pt x="469946" y="616988"/>
                      </a:moveTo>
                      <a:cubicBezTo>
                        <a:pt x="469946" y="621637"/>
                        <a:pt x="469946" y="625213"/>
                        <a:pt x="469946" y="628611"/>
                      </a:cubicBezTo>
                      <a:cubicBezTo>
                        <a:pt x="467979" y="724274"/>
                        <a:pt x="454390" y="817970"/>
                        <a:pt x="452959" y="913633"/>
                      </a:cubicBezTo>
                      <a:cubicBezTo>
                        <a:pt x="452780" y="923468"/>
                        <a:pt x="454747" y="934375"/>
                        <a:pt x="459039" y="943315"/>
                      </a:cubicBezTo>
                      <a:cubicBezTo>
                        <a:pt x="471734" y="969779"/>
                        <a:pt x="514827" y="973355"/>
                        <a:pt x="530741" y="948680"/>
                      </a:cubicBezTo>
                      <a:cubicBezTo>
                        <a:pt x="535390" y="941348"/>
                        <a:pt x="538788" y="932229"/>
                        <a:pt x="539682" y="923646"/>
                      </a:cubicBezTo>
                      <a:cubicBezTo>
                        <a:pt x="545761" y="864997"/>
                        <a:pt x="551126" y="806168"/>
                        <a:pt x="556669" y="747340"/>
                      </a:cubicBezTo>
                      <a:cubicBezTo>
                        <a:pt x="559351" y="718194"/>
                        <a:pt x="562033" y="689227"/>
                        <a:pt x="564894" y="660081"/>
                      </a:cubicBezTo>
                      <a:cubicBezTo>
                        <a:pt x="565073" y="657578"/>
                        <a:pt x="565788" y="655253"/>
                        <a:pt x="566682" y="651498"/>
                      </a:cubicBezTo>
                      <a:cubicBezTo>
                        <a:pt x="569543" y="655432"/>
                        <a:pt x="571689" y="658114"/>
                        <a:pt x="573656" y="660975"/>
                      </a:cubicBezTo>
                      <a:cubicBezTo>
                        <a:pt x="610312" y="714439"/>
                        <a:pt x="636418" y="774698"/>
                        <a:pt x="673074" y="828162"/>
                      </a:cubicBezTo>
                      <a:cubicBezTo>
                        <a:pt x="680405" y="838712"/>
                        <a:pt x="689167" y="847295"/>
                        <a:pt x="701683" y="851228"/>
                      </a:cubicBezTo>
                      <a:cubicBezTo>
                        <a:pt x="724034" y="858381"/>
                        <a:pt x="756041" y="837997"/>
                        <a:pt x="756578" y="814572"/>
                      </a:cubicBezTo>
                      <a:cubicBezTo>
                        <a:pt x="756935" y="804202"/>
                        <a:pt x="754611" y="792400"/>
                        <a:pt x="749425" y="783460"/>
                      </a:cubicBezTo>
                      <a:cubicBezTo>
                        <a:pt x="701147" y="698704"/>
                        <a:pt x="652332" y="614485"/>
                        <a:pt x="602802" y="530444"/>
                      </a:cubicBezTo>
                      <a:cubicBezTo>
                        <a:pt x="588676" y="506484"/>
                        <a:pt x="567397" y="493967"/>
                        <a:pt x="538251" y="499152"/>
                      </a:cubicBezTo>
                      <a:cubicBezTo>
                        <a:pt x="499450" y="506126"/>
                        <a:pt x="464224" y="512384"/>
                        <a:pt x="425422" y="519179"/>
                      </a:cubicBezTo>
                      <a:cubicBezTo>
                        <a:pt x="423813" y="519537"/>
                        <a:pt x="422383" y="519716"/>
                        <a:pt x="419164" y="520073"/>
                      </a:cubicBezTo>
                      <a:cubicBezTo>
                        <a:pt x="415588" y="501477"/>
                        <a:pt x="394846" y="357535"/>
                        <a:pt x="388945" y="304071"/>
                      </a:cubicBezTo>
                      <a:cubicBezTo>
                        <a:pt x="387515" y="291912"/>
                        <a:pt x="390376" y="286190"/>
                        <a:pt x="401104" y="279574"/>
                      </a:cubicBezTo>
                      <a:cubicBezTo>
                        <a:pt x="447953" y="250965"/>
                        <a:pt x="481926" y="221998"/>
                        <a:pt x="528059" y="192315"/>
                      </a:cubicBezTo>
                      <a:cubicBezTo>
                        <a:pt x="541649" y="183554"/>
                        <a:pt x="550589" y="171216"/>
                        <a:pt x="550947" y="154408"/>
                      </a:cubicBezTo>
                      <a:cubicBezTo>
                        <a:pt x="551126" y="145825"/>
                        <a:pt x="545046" y="127944"/>
                        <a:pt x="527523" y="118646"/>
                      </a:cubicBezTo>
                      <a:cubicBezTo>
                        <a:pt x="466728" y="86818"/>
                        <a:pt x="430250" y="69473"/>
                        <a:pt x="369634" y="37645"/>
                      </a:cubicBezTo>
                      <a:cubicBezTo>
                        <a:pt x="366415" y="35857"/>
                        <a:pt x="361945" y="34069"/>
                        <a:pt x="358727" y="34784"/>
                      </a:cubicBezTo>
                      <a:cubicBezTo>
                        <a:pt x="347283" y="37824"/>
                        <a:pt x="341561" y="30671"/>
                        <a:pt x="334587" y="24056"/>
                      </a:cubicBezTo>
                      <a:cubicBezTo>
                        <a:pt x="293819" y="-14031"/>
                        <a:pt x="228196" y="-5806"/>
                        <a:pt x="198156" y="41042"/>
                      </a:cubicBezTo>
                      <a:cubicBezTo>
                        <a:pt x="193864" y="47837"/>
                        <a:pt x="189036" y="52129"/>
                        <a:pt x="181526" y="55526"/>
                      </a:cubicBezTo>
                      <a:cubicBezTo>
                        <a:pt x="164897" y="63036"/>
                        <a:pt x="36333" y="131520"/>
                        <a:pt x="24532" y="137600"/>
                      </a:cubicBezTo>
                      <a:cubicBezTo>
                        <a:pt x="-3363" y="152083"/>
                        <a:pt x="-7118" y="182838"/>
                        <a:pt x="11478" y="202507"/>
                      </a:cubicBezTo>
                      <a:cubicBezTo>
                        <a:pt x="17200" y="208587"/>
                        <a:pt x="23637" y="213951"/>
                        <a:pt x="30611" y="218421"/>
                      </a:cubicBezTo>
                      <a:cubicBezTo>
                        <a:pt x="77459" y="248819"/>
                        <a:pt x="152023" y="303535"/>
                        <a:pt x="152023" y="303535"/>
                      </a:cubicBezTo>
                      <a:cubicBezTo>
                        <a:pt x="170261" y="314085"/>
                        <a:pt x="177235" y="330177"/>
                        <a:pt x="179917" y="352350"/>
                      </a:cubicBezTo>
                      <a:cubicBezTo>
                        <a:pt x="181169" y="361827"/>
                        <a:pt x="223725" y="618597"/>
                        <a:pt x="223725" y="618597"/>
                      </a:cubicBezTo>
                      <a:cubicBezTo>
                        <a:pt x="233202" y="656505"/>
                        <a:pt x="266818" y="675101"/>
                        <a:pt x="304547" y="664372"/>
                      </a:cubicBezTo>
                      <a:cubicBezTo>
                        <a:pt x="356402" y="649531"/>
                        <a:pt x="408078" y="634511"/>
                        <a:pt x="459754" y="619670"/>
                      </a:cubicBezTo>
                      <a:cubicBezTo>
                        <a:pt x="462257" y="619134"/>
                        <a:pt x="465297" y="618240"/>
                        <a:pt x="469946" y="616988"/>
                      </a:cubicBezTo>
                      <a:close/>
                      <a:moveTo>
                        <a:pt x="190288" y="126513"/>
                      </a:moveTo>
                      <a:cubicBezTo>
                        <a:pt x="210136" y="166030"/>
                        <a:pt x="236778" y="168891"/>
                        <a:pt x="280944" y="164063"/>
                      </a:cubicBezTo>
                      <a:cubicBezTo>
                        <a:pt x="326720" y="159057"/>
                        <a:pt x="346567" y="140818"/>
                        <a:pt x="358190" y="108632"/>
                      </a:cubicBezTo>
                      <a:cubicBezTo>
                        <a:pt x="366237" y="111493"/>
                        <a:pt x="417018" y="137421"/>
                        <a:pt x="447058" y="155302"/>
                      </a:cubicBezTo>
                      <a:cubicBezTo>
                        <a:pt x="443661" y="157269"/>
                        <a:pt x="383760" y="189097"/>
                        <a:pt x="353541" y="205011"/>
                      </a:cubicBezTo>
                      <a:cubicBezTo>
                        <a:pt x="348713" y="207514"/>
                        <a:pt x="341203" y="209481"/>
                        <a:pt x="341203" y="209481"/>
                      </a:cubicBezTo>
                      <a:lnTo>
                        <a:pt x="201195" y="223965"/>
                      </a:lnTo>
                      <a:cubicBezTo>
                        <a:pt x="199586" y="225216"/>
                        <a:pt x="195116" y="223786"/>
                        <a:pt x="192612" y="222534"/>
                      </a:cubicBezTo>
                      <a:cubicBezTo>
                        <a:pt x="165970" y="209123"/>
                        <a:pt x="139506" y="195534"/>
                        <a:pt x="113042" y="181944"/>
                      </a:cubicBezTo>
                      <a:cubicBezTo>
                        <a:pt x="110896" y="180871"/>
                        <a:pt x="108930" y="179441"/>
                        <a:pt x="106069" y="177474"/>
                      </a:cubicBezTo>
                      <a:cubicBezTo>
                        <a:pt x="143797" y="152620"/>
                        <a:pt x="183314" y="130805"/>
                        <a:pt x="190288" y="126513"/>
                      </a:cubicBezTo>
                      <a:close/>
                    </a:path>
                  </a:pathLst>
                </a:custGeom>
                <a:solidFill>
                  <a:schemeClr val="bg1"/>
                </a:solidFill>
                <a:ln w="17859" cap="flat">
                  <a:noFill/>
                  <a:prstDash val="solid"/>
                  <a:miter/>
                </a:ln>
              </p:spPr>
              <p:txBody>
                <a:bodyPr rtlCol="0" anchor="ctr"/>
                <a:lstStyle/>
                <a:p>
                  <a:endParaRPr lang="en-US"/>
                </a:p>
              </p:txBody>
            </p:sp>
            <p:sp>
              <p:nvSpPr>
                <p:cNvPr id="22" name="Freeform: Shape 88">
                  <a:extLst>
                    <a:ext uri="{FF2B5EF4-FFF2-40B4-BE49-F238E27FC236}">
                      <a16:creationId xmlns:a16="http://schemas.microsoft.com/office/drawing/2014/main" id="{83792C63-95C4-1CA3-7FA9-49D01E1BFDC4}"/>
                    </a:ext>
                  </a:extLst>
                </p:cNvPr>
                <p:cNvSpPr/>
                <p:nvPr/>
              </p:nvSpPr>
              <p:spPr>
                <a:xfrm>
                  <a:off x="4054433" y="4548065"/>
                  <a:ext cx="203306" cy="202065"/>
                </a:xfrm>
                <a:custGeom>
                  <a:avLst/>
                  <a:gdLst>
                    <a:gd name="connsiteX0" fmla="*/ 100670 w 203306"/>
                    <a:gd name="connsiteY0" fmla="*/ 2 h 202065"/>
                    <a:gd name="connsiteX1" fmla="*/ 203306 w 203306"/>
                    <a:gd name="connsiteY1" fmla="*/ 100851 h 202065"/>
                    <a:gd name="connsiteX2" fmla="*/ 102637 w 203306"/>
                    <a:gd name="connsiteY2" fmla="*/ 202057 h 202065"/>
                    <a:gd name="connsiteX3" fmla="*/ 0 w 203306"/>
                    <a:gd name="connsiteY3" fmla="*/ 100493 h 202065"/>
                    <a:gd name="connsiteX4" fmla="*/ 100670 w 203306"/>
                    <a:gd name="connsiteY4" fmla="*/ 2 h 202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306" h="202065">
                      <a:moveTo>
                        <a:pt x="100670" y="2"/>
                      </a:moveTo>
                      <a:cubicBezTo>
                        <a:pt x="157889" y="-355"/>
                        <a:pt x="203306" y="44347"/>
                        <a:pt x="203306" y="100851"/>
                      </a:cubicBezTo>
                      <a:cubicBezTo>
                        <a:pt x="203128" y="156103"/>
                        <a:pt x="158246" y="201163"/>
                        <a:pt x="102637" y="202057"/>
                      </a:cubicBezTo>
                      <a:cubicBezTo>
                        <a:pt x="46669" y="202772"/>
                        <a:pt x="0" y="156639"/>
                        <a:pt x="0" y="100493"/>
                      </a:cubicBezTo>
                      <a:cubicBezTo>
                        <a:pt x="179" y="44883"/>
                        <a:pt x="44702" y="360"/>
                        <a:pt x="100670" y="2"/>
                      </a:cubicBezTo>
                    </a:path>
                  </a:pathLst>
                </a:custGeom>
                <a:solidFill>
                  <a:schemeClr val="bg1"/>
                </a:solidFill>
                <a:ln w="17859" cap="flat">
                  <a:noFill/>
                  <a:prstDash val="solid"/>
                  <a:miter/>
                </a:ln>
              </p:spPr>
              <p:txBody>
                <a:bodyPr rtlCol="0" anchor="ctr"/>
                <a:lstStyle/>
                <a:p>
                  <a:endParaRPr lang="en-US"/>
                </a:p>
              </p:txBody>
            </p:sp>
            <p:sp>
              <p:nvSpPr>
                <p:cNvPr id="23" name="Freeform: Shape 89">
                  <a:extLst>
                    <a:ext uri="{FF2B5EF4-FFF2-40B4-BE49-F238E27FC236}">
                      <a16:creationId xmlns:a16="http://schemas.microsoft.com/office/drawing/2014/main" id="{115DEC07-19A9-3927-AD10-A82E7E34249A}"/>
                    </a:ext>
                  </a:extLst>
                </p:cNvPr>
                <p:cNvSpPr/>
                <p:nvPr/>
              </p:nvSpPr>
              <p:spPr>
                <a:xfrm>
                  <a:off x="3979333" y="4920169"/>
                  <a:ext cx="324360" cy="407864"/>
                </a:xfrm>
                <a:custGeom>
                  <a:avLst/>
                  <a:gdLst>
                    <a:gd name="connsiteX0" fmla="*/ 0 w 324360"/>
                    <a:gd name="connsiteY0" fmla="*/ 0 h 407864"/>
                    <a:gd name="connsiteX1" fmla="*/ 99060 w 324360"/>
                    <a:gd name="connsiteY1" fmla="*/ 407865 h 407864"/>
                    <a:gd name="connsiteX2" fmla="*/ 324360 w 324360"/>
                    <a:gd name="connsiteY2" fmla="*/ 343672 h 407864"/>
                  </a:gdLst>
                  <a:ahLst/>
                  <a:cxnLst>
                    <a:cxn ang="0">
                      <a:pos x="connsiteX0" y="connsiteY0"/>
                    </a:cxn>
                    <a:cxn ang="0">
                      <a:pos x="connsiteX1" y="connsiteY1"/>
                    </a:cxn>
                    <a:cxn ang="0">
                      <a:pos x="connsiteX2" y="connsiteY2"/>
                    </a:cxn>
                  </a:cxnLst>
                  <a:rect l="l" t="t" r="r" b="b"/>
                  <a:pathLst>
                    <a:path w="324360" h="407864">
                      <a:moveTo>
                        <a:pt x="0" y="0"/>
                      </a:moveTo>
                      <a:lnTo>
                        <a:pt x="99060" y="407865"/>
                      </a:lnTo>
                      <a:lnTo>
                        <a:pt x="324360" y="343672"/>
                      </a:lnTo>
                    </a:path>
                  </a:pathLst>
                </a:custGeom>
                <a:noFill/>
                <a:ln w="9525" cap="rnd">
                  <a:solidFill>
                    <a:schemeClr val="bg1"/>
                  </a:solidFill>
                  <a:prstDash val="solid"/>
                  <a:round/>
                </a:ln>
              </p:spPr>
              <p:txBody>
                <a:bodyPr rtlCol="0" anchor="ctr"/>
                <a:lstStyle/>
                <a:p>
                  <a:endParaRPr lang="en-US"/>
                </a:p>
              </p:txBody>
            </p:sp>
          </p:grpSp>
        </p:grpSp>
      </p:grpSp>
      <p:pic>
        <p:nvPicPr>
          <p:cNvPr id="28" name="Grafik 14">
            <a:extLst>
              <a:ext uri="{FF2B5EF4-FFF2-40B4-BE49-F238E27FC236}">
                <a16:creationId xmlns:a16="http://schemas.microsoft.com/office/drawing/2014/main" id="{DC83A0EA-26DF-F39C-EEB8-FE9CF3B7DC8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990187" y="4788500"/>
            <a:ext cx="944429" cy="944429"/>
          </a:xfrm>
          <a:prstGeom prst="rect">
            <a:avLst/>
          </a:prstGeom>
        </p:spPr>
      </p:pic>
    </p:spTree>
    <p:extLst>
      <p:ext uri="{BB962C8B-B14F-4D97-AF65-F5344CB8AC3E}">
        <p14:creationId xmlns:p14="http://schemas.microsoft.com/office/powerpoint/2010/main" val="40671994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platzhalter 14" descr="Ein Bild, das Haushaltsgerät, drinnen, Tisch, Ausguss enthält.&#10;&#10;Automatisch generierte Beschreibung">
            <a:extLst>
              <a:ext uri="{FF2B5EF4-FFF2-40B4-BE49-F238E27FC236}">
                <a16:creationId xmlns:a16="http://schemas.microsoft.com/office/drawing/2014/main" id="{687FBBC9-7A0E-15BC-2AED-48170D3F633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4838" b="14838"/>
          <a:stretch/>
        </p:blipFill>
        <p:spPr>
          <a:xfrm>
            <a:off x="5560459" y="-1"/>
            <a:ext cx="6631541" cy="6858000"/>
          </a:xfrm>
          <a:custGeom>
            <a:avLst/>
            <a:gdLst>
              <a:gd name="connsiteX0" fmla="*/ 4761301 w 6631541"/>
              <a:gd name="connsiteY0" fmla="*/ 1 h 6858000"/>
              <a:gd name="connsiteX1" fmla="*/ 4761301 w 6631541"/>
              <a:gd name="connsiteY1" fmla="*/ 673805 h 6858000"/>
              <a:gd name="connsiteX2" fmla="*/ 6326740 w 6631541"/>
              <a:gd name="connsiteY2" fmla="*/ 673805 h 6858000"/>
              <a:gd name="connsiteX3" fmla="*/ 6326740 w 6631541"/>
              <a:gd name="connsiteY3" fmla="*/ 1 h 6858000"/>
              <a:gd name="connsiteX4" fmla="*/ 2183862 w 6631541"/>
              <a:gd name="connsiteY4" fmla="*/ 0 h 6858000"/>
              <a:gd name="connsiteX5" fmla="*/ 6631541 w 6631541"/>
              <a:gd name="connsiteY5" fmla="*/ 0 h 6858000"/>
              <a:gd name="connsiteX6" fmla="*/ 6631541 w 6631541"/>
              <a:gd name="connsiteY6" fmla="*/ 6858000 h 6858000"/>
              <a:gd name="connsiteX7" fmla="*/ 0 w 6631541"/>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1541" h="6858000">
                <a:moveTo>
                  <a:pt x="4761301" y="1"/>
                </a:moveTo>
                <a:lnTo>
                  <a:pt x="4761301" y="673805"/>
                </a:lnTo>
                <a:lnTo>
                  <a:pt x="6326740" y="673805"/>
                </a:lnTo>
                <a:lnTo>
                  <a:pt x="6326740" y="1"/>
                </a:lnTo>
                <a:close/>
                <a:moveTo>
                  <a:pt x="2183862" y="0"/>
                </a:moveTo>
                <a:lnTo>
                  <a:pt x="6631541" y="0"/>
                </a:lnTo>
                <a:lnTo>
                  <a:pt x="6631541" y="6858000"/>
                </a:lnTo>
                <a:lnTo>
                  <a:pt x="0" y="6858000"/>
                </a:lnTo>
                <a:close/>
              </a:path>
            </a:pathLst>
          </a:custGeom>
          <a:solidFill>
            <a:schemeClr val="bg1"/>
          </a:solidFill>
        </p:spPr>
      </p:pic>
      <p:sp>
        <p:nvSpPr>
          <p:cNvPr id="4" name="Titel 1">
            <a:extLst>
              <a:ext uri="{FF2B5EF4-FFF2-40B4-BE49-F238E27FC236}">
                <a16:creationId xmlns:a16="http://schemas.microsoft.com/office/drawing/2014/main" id="{AB35910B-D183-67FE-28EA-558222CF879D}"/>
              </a:ext>
            </a:extLst>
          </p:cNvPr>
          <p:cNvSpPr txBox="1">
            <a:spLocks/>
          </p:cNvSpPr>
          <p:nvPr/>
        </p:nvSpPr>
        <p:spPr>
          <a:xfrm>
            <a:off x="304801" y="304799"/>
            <a:ext cx="9753600" cy="381001"/>
          </a:xfrm>
          <a:prstGeom prst="rect">
            <a:avLst/>
          </a:prstGeom>
        </p:spPr>
        <p:txBody>
          <a:bodyPr/>
          <a:lstStyle>
            <a:lvl1pPr lvl="0" algn="l" rtl="0">
              <a:lnSpc>
                <a:spcPct val="90000"/>
              </a:lnSpc>
              <a:spcBef>
                <a:spcPct val="0"/>
              </a:spcBef>
              <a:buNone/>
              <a:defRPr lang="en-US" sz="4400" dirty="0">
                <a:solidFill>
                  <a:schemeClr val="tx1"/>
                </a:solidFill>
                <a:latin typeface="+mj-lt"/>
              </a:defRPr>
            </a:lvl1pPr>
          </a:lstStyle>
          <a:p>
            <a:r>
              <a:rPr lang="pl-PL" altLang="fi-FI" sz="4000" dirty="0">
                <a:solidFill>
                  <a:srgbClr val="C00000"/>
                </a:solidFill>
                <a:sym typeface="+mj-lt"/>
              </a:rPr>
              <a:t>ISE metoda bezpośrednia</a:t>
            </a:r>
            <a:endParaRPr lang="pl-PL" sz="4000" dirty="0">
              <a:solidFill>
                <a:srgbClr val="C00000"/>
              </a:solidFill>
              <a:sym typeface="+mj-lt"/>
            </a:endParaRPr>
          </a:p>
        </p:txBody>
      </p:sp>
      <p:sp>
        <p:nvSpPr>
          <p:cNvPr id="5" name="Inhaltsplatzhalter 6">
            <a:extLst>
              <a:ext uri="{FF2B5EF4-FFF2-40B4-BE49-F238E27FC236}">
                <a16:creationId xmlns:a16="http://schemas.microsoft.com/office/drawing/2014/main" id="{0F45F9B8-E455-AA91-8C81-B2CCA940CFB2}"/>
              </a:ext>
            </a:extLst>
          </p:cNvPr>
          <p:cNvSpPr txBox="1">
            <a:spLocks/>
          </p:cNvSpPr>
          <p:nvPr/>
        </p:nvSpPr>
        <p:spPr>
          <a:xfrm>
            <a:off x="304800" y="1447800"/>
            <a:ext cx="5791200" cy="4607954"/>
          </a:xfrm>
          <a:prstGeom prst="rect">
            <a:avLst/>
          </a:prstGeom>
        </p:spPr>
        <p:txBody>
          <a:bodyPr anchor="t"/>
          <a:lstStyle>
            <a:lvl1pPr marL="228600" lvl="0" indent="-228600" algn="l" rtl="0">
              <a:lnSpc>
                <a:spcPct val="90000"/>
              </a:lnSpc>
              <a:spcBef>
                <a:spcPts val="1000"/>
              </a:spcBef>
              <a:buFont typeface="Arial"/>
              <a:buChar char="•"/>
              <a:defRPr lang="en-US" sz="2800" dirty="0">
                <a:solidFill>
                  <a:schemeClr val="tx1"/>
                </a:solidFill>
                <a:latin typeface="+mn-lt"/>
              </a:defRPr>
            </a:lvl1pPr>
            <a:lvl2pPr marL="685800" lvl="1" indent="-228600" algn="l" rtl="0">
              <a:lnSpc>
                <a:spcPct val="90000"/>
              </a:lnSpc>
              <a:spcBef>
                <a:spcPts val="500"/>
              </a:spcBef>
              <a:buFont typeface="Arial"/>
              <a:buChar char="•"/>
              <a:defRPr lang="en-US" sz="2400" dirty="0">
                <a:solidFill>
                  <a:schemeClr val="tx1"/>
                </a:solidFill>
                <a:latin typeface="+mn-lt"/>
              </a:defRPr>
            </a:lvl2pPr>
            <a:lvl3pPr marL="1143000" lvl="2" indent="-228600" algn="l" rtl="0">
              <a:lnSpc>
                <a:spcPct val="90000"/>
              </a:lnSpc>
              <a:spcBef>
                <a:spcPts val="500"/>
              </a:spcBef>
              <a:buFont typeface="Arial"/>
              <a:buChar char="•"/>
              <a:defRPr lang="en-US" sz="2000" dirty="0">
                <a:solidFill>
                  <a:schemeClr val="tx1"/>
                </a:solidFill>
                <a:latin typeface="+mn-lt"/>
              </a:defRPr>
            </a:lvl3pPr>
            <a:lvl4pPr marL="1600200" lvl="3" indent="-228600" algn="l" rtl="0">
              <a:lnSpc>
                <a:spcPct val="90000"/>
              </a:lnSpc>
              <a:spcBef>
                <a:spcPts val="500"/>
              </a:spcBef>
              <a:buFont typeface="Arial"/>
              <a:buChar char="•"/>
              <a:defRPr lang="en-US" sz="1800" dirty="0">
                <a:solidFill>
                  <a:schemeClr val="tx1"/>
                </a:solidFill>
                <a:latin typeface="+mn-lt"/>
              </a:defRPr>
            </a:lvl4pPr>
            <a:lvl5pPr marL="2057400" lvl="4" indent="-228600" algn="l" rtl="0">
              <a:lnSpc>
                <a:spcPct val="90000"/>
              </a:lnSpc>
              <a:spcBef>
                <a:spcPts val="500"/>
              </a:spcBef>
              <a:buFont typeface="Arial"/>
              <a:buChar char="•"/>
              <a:defRPr lang="en-US" sz="1800" dirty="0">
                <a:solidFill>
                  <a:schemeClr val="tx1"/>
                </a:solidFill>
                <a:latin typeface="+mn-lt"/>
              </a:defRPr>
            </a:lvl5pPr>
            <a:lvl6pPr marL="2514600" lvl="5" indent="-228600" algn="l" rtl="0">
              <a:lnSpc>
                <a:spcPct val="90000"/>
              </a:lnSpc>
              <a:spcBef>
                <a:spcPts val="500"/>
              </a:spcBef>
              <a:buFont typeface="Arial"/>
              <a:buChar char="•"/>
              <a:defRPr lang="en-US" sz="1800" dirty="0">
                <a:solidFill>
                  <a:schemeClr val="tx1"/>
                </a:solidFill>
                <a:latin typeface="+mn-lt"/>
              </a:defRPr>
            </a:lvl6pPr>
            <a:lvl7pPr marL="2971800" lvl="6" indent="-228600" algn="l" rtl="0">
              <a:lnSpc>
                <a:spcPct val="90000"/>
              </a:lnSpc>
              <a:spcBef>
                <a:spcPts val="500"/>
              </a:spcBef>
              <a:buFont typeface="Arial"/>
              <a:buChar char="•"/>
              <a:defRPr lang="en-US" sz="1800" dirty="0">
                <a:solidFill>
                  <a:schemeClr val="tx1"/>
                </a:solidFill>
                <a:latin typeface="+mn-lt"/>
              </a:defRPr>
            </a:lvl7pPr>
            <a:lvl8pPr marL="3429000" lvl="7" indent="-228600" algn="l" rtl="0">
              <a:lnSpc>
                <a:spcPct val="90000"/>
              </a:lnSpc>
              <a:spcBef>
                <a:spcPts val="500"/>
              </a:spcBef>
              <a:buFont typeface="Arial"/>
              <a:buChar char="•"/>
              <a:defRPr lang="en-US" sz="1800" dirty="0">
                <a:solidFill>
                  <a:schemeClr val="tx1"/>
                </a:solidFill>
                <a:latin typeface="+mn-lt"/>
              </a:defRPr>
            </a:lvl8pPr>
            <a:lvl9pPr marL="3886200" lvl="8" indent="-228600" algn="l" rtl="0">
              <a:lnSpc>
                <a:spcPct val="90000"/>
              </a:lnSpc>
              <a:spcBef>
                <a:spcPts val="500"/>
              </a:spcBef>
              <a:buFont typeface="Arial"/>
              <a:buChar char="•"/>
              <a:defRPr lang="en-US" sz="1800" dirty="0">
                <a:solidFill>
                  <a:schemeClr val="tx1"/>
                </a:solidFill>
                <a:latin typeface="+mn-lt"/>
              </a:defRPr>
            </a:lvl9pPr>
          </a:lstStyle>
          <a:p>
            <a:r>
              <a:rPr lang="pl-PL" sz="2400" dirty="0">
                <a:sym typeface="+mn-lt"/>
              </a:rPr>
              <a:t>Pomiary dla </a:t>
            </a:r>
            <a:r>
              <a:rPr lang="en-US" sz="2400" dirty="0">
                <a:sym typeface="+mn-lt"/>
              </a:rPr>
              <a:t> Na</a:t>
            </a:r>
            <a:r>
              <a:rPr lang="en-US" sz="2400" baseline="30000" dirty="0">
                <a:sym typeface="+mn-lt"/>
              </a:rPr>
              <a:t>+</a:t>
            </a:r>
            <a:r>
              <a:rPr lang="en-US" sz="2400" dirty="0">
                <a:sym typeface="+mn-lt"/>
              </a:rPr>
              <a:t>, K</a:t>
            </a:r>
            <a:r>
              <a:rPr lang="en-US" sz="2400" baseline="30000" dirty="0">
                <a:sym typeface="+mn-lt"/>
              </a:rPr>
              <a:t>+</a:t>
            </a:r>
            <a:r>
              <a:rPr lang="en-US" sz="2400" dirty="0">
                <a:sym typeface="+mn-lt"/>
              </a:rPr>
              <a:t>, </a:t>
            </a:r>
            <a:r>
              <a:rPr lang="pl-PL" sz="2400" dirty="0">
                <a:sym typeface="+mn-lt"/>
              </a:rPr>
              <a:t>oraz</a:t>
            </a:r>
            <a:r>
              <a:rPr lang="en-US" sz="2400" dirty="0">
                <a:sym typeface="+mn-lt"/>
              </a:rPr>
              <a:t> Cl</a:t>
            </a:r>
            <a:r>
              <a:rPr lang="en-US" sz="2400" baseline="30000" dirty="0">
                <a:sym typeface="+mn-lt"/>
              </a:rPr>
              <a:t>-</a:t>
            </a:r>
            <a:r>
              <a:rPr lang="en-US" sz="2400" dirty="0">
                <a:sym typeface="+mn-lt"/>
              </a:rPr>
              <a:t> </a:t>
            </a:r>
            <a:endParaRPr lang="pl-PL" sz="2400" dirty="0">
              <a:sym typeface="+mn-lt"/>
            </a:endParaRPr>
          </a:p>
          <a:p>
            <a:endParaRPr lang="en-US" sz="2400" dirty="0">
              <a:sym typeface="+mn-lt"/>
            </a:endParaRPr>
          </a:p>
          <a:p>
            <a:r>
              <a:rPr lang="pl-PL" sz="2400" dirty="0">
                <a:sym typeface="+mn-lt"/>
              </a:rPr>
              <a:t>Dla osocza oraz surowicy</a:t>
            </a:r>
            <a:r>
              <a:rPr lang="en-US" sz="2400" dirty="0">
                <a:sym typeface="+mn-lt"/>
              </a:rPr>
              <a:t> </a:t>
            </a:r>
            <a:endParaRPr lang="pl-PL" sz="2400" dirty="0">
              <a:sym typeface="+mn-lt"/>
            </a:endParaRPr>
          </a:p>
          <a:p>
            <a:endParaRPr lang="en-US" sz="2400" dirty="0">
              <a:sym typeface="+mn-lt"/>
            </a:endParaRPr>
          </a:p>
          <a:p>
            <a:r>
              <a:rPr lang="pl-PL" sz="2400" dirty="0"/>
              <a:t>Doskonała powtarzalność </a:t>
            </a:r>
          </a:p>
          <a:p>
            <a:endParaRPr lang="en-US" sz="2400" dirty="0">
              <a:sym typeface="+mn-lt"/>
            </a:endParaRPr>
          </a:p>
          <a:p>
            <a:r>
              <a:rPr lang="pl-PL" sz="2400" dirty="0"/>
              <a:t>Stabilne elektrody pozwalają na długie interwały kalibracji – nawet kilkumiesięczne </a:t>
            </a:r>
            <a:endParaRPr lang="en-US" sz="2400" dirty="0"/>
          </a:p>
        </p:txBody>
      </p:sp>
      <p:sp>
        <p:nvSpPr>
          <p:cNvPr id="7" name="Parallelogram 19">
            <a:extLst>
              <a:ext uri="{FF2B5EF4-FFF2-40B4-BE49-F238E27FC236}">
                <a16:creationId xmlns:a16="http://schemas.microsoft.com/office/drawing/2014/main" id="{157AFB3A-755E-2B38-919E-D89E3D722632}"/>
              </a:ext>
            </a:extLst>
          </p:cNvPr>
          <p:cNvSpPr/>
          <p:nvPr/>
        </p:nvSpPr>
        <p:spPr bwMode="auto">
          <a:xfrm>
            <a:off x="5803599" y="4155309"/>
            <a:ext cx="7162064" cy="1922964"/>
          </a:xfrm>
          <a:prstGeom prst="parallelogram">
            <a:avLst>
              <a:gd name="adj" fmla="val 31844"/>
            </a:avLst>
          </a:prstGeom>
          <a:solidFill>
            <a:schemeClr val="accent2"/>
          </a:solidFill>
          <a:ln w="317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dirty="0">
              <a:solidFill>
                <a:schemeClr val="bg1"/>
              </a:solidFill>
              <a:sym typeface="+mn-lt"/>
            </a:endParaRPr>
          </a:p>
        </p:txBody>
      </p:sp>
      <p:sp>
        <p:nvSpPr>
          <p:cNvPr id="9" name="Rechteck 18">
            <a:extLst>
              <a:ext uri="{FF2B5EF4-FFF2-40B4-BE49-F238E27FC236}">
                <a16:creationId xmlns:a16="http://schemas.microsoft.com/office/drawing/2014/main" id="{74BCE15D-D67D-3546-E54E-B93937A8CA3F}"/>
              </a:ext>
            </a:extLst>
          </p:cNvPr>
          <p:cNvSpPr/>
          <p:nvPr/>
        </p:nvSpPr>
        <p:spPr bwMode="auto">
          <a:xfrm flipH="1">
            <a:off x="12191997" y="3176"/>
            <a:ext cx="1203875" cy="6854824"/>
          </a:xfrm>
          <a:prstGeom prst="rect">
            <a:avLst/>
          </a:prstGeom>
          <a:solidFill>
            <a:srgbClr val="E6E6E6"/>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sym typeface="+mn-lt"/>
            </a:endParaRPr>
          </a:p>
        </p:txBody>
      </p:sp>
      <p:grpSp>
        <p:nvGrpSpPr>
          <p:cNvPr id="10" name="Group 40">
            <a:extLst>
              <a:ext uri="{FF2B5EF4-FFF2-40B4-BE49-F238E27FC236}">
                <a16:creationId xmlns:a16="http://schemas.microsoft.com/office/drawing/2014/main" id="{C3371E24-CE7D-E662-2303-02731E780717}"/>
              </a:ext>
            </a:extLst>
          </p:cNvPr>
          <p:cNvGrpSpPr>
            <a:grpSpLocks noChangeAspect="1"/>
          </p:cNvGrpSpPr>
          <p:nvPr/>
        </p:nvGrpSpPr>
        <p:grpSpPr>
          <a:xfrm>
            <a:off x="10292953" y="893063"/>
            <a:ext cx="1608310" cy="584939"/>
            <a:chOff x="343668" y="1851251"/>
            <a:chExt cx="11514733" cy="4187886"/>
          </a:xfrm>
        </p:grpSpPr>
        <p:sp>
          <p:nvSpPr>
            <p:cNvPr id="11" name="Rectangle 41">
              <a:extLst>
                <a:ext uri="{FF2B5EF4-FFF2-40B4-BE49-F238E27FC236}">
                  <a16:creationId xmlns:a16="http://schemas.microsoft.com/office/drawing/2014/main" id="{9AED40C0-29E7-C96B-AA79-116A52802A48}"/>
                </a:ext>
              </a:extLst>
            </p:cNvPr>
            <p:cNvSpPr/>
            <p:nvPr/>
          </p:nvSpPr>
          <p:spPr bwMode="auto">
            <a:xfrm>
              <a:off x="343668" y="4455137"/>
              <a:ext cx="3139200" cy="1584000"/>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dirty="0">
                <a:latin typeface="Arial" pitchFamily="124" charset="0"/>
              </a:endParaRPr>
            </a:p>
          </p:txBody>
        </p:sp>
        <p:sp>
          <p:nvSpPr>
            <p:cNvPr id="12" name="Rectangle 42">
              <a:extLst>
                <a:ext uri="{FF2B5EF4-FFF2-40B4-BE49-F238E27FC236}">
                  <a16:creationId xmlns:a16="http://schemas.microsoft.com/office/drawing/2014/main" id="{182F2056-B9BB-C66A-A42E-2DFB4683E2B0}"/>
                </a:ext>
              </a:extLst>
            </p:cNvPr>
            <p:cNvSpPr/>
            <p:nvPr/>
          </p:nvSpPr>
          <p:spPr bwMode="auto">
            <a:xfrm>
              <a:off x="4296205" y="4455137"/>
              <a:ext cx="3139200" cy="1584000"/>
            </a:xfrm>
            <a:prstGeom prst="rect">
              <a:avLst/>
            </a:prstGeom>
            <a:solidFill>
              <a:schemeClr val="tx2">
                <a:lumMod val="75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dirty="0">
                <a:latin typeface="Arial" pitchFamily="124" charset="0"/>
              </a:endParaRPr>
            </a:p>
          </p:txBody>
        </p:sp>
        <p:sp>
          <p:nvSpPr>
            <p:cNvPr id="13" name="Rectangle 43">
              <a:extLst>
                <a:ext uri="{FF2B5EF4-FFF2-40B4-BE49-F238E27FC236}">
                  <a16:creationId xmlns:a16="http://schemas.microsoft.com/office/drawing/2014/main" id="{2DC895F9-223D-A6E4-E895-C831ECBECABC}"/>
                </a:ext>
              </a:extLst>
            </p:cNvPr>
            <p:cNvSpPr/>
            <p:nvPr/>
          </p:nvSpPr>
          <p:spPr bwMode="auto">
            <a:xfrm>
              <a:off x="8258401" y="4455137"/>
              <a:ext cx="3139200" cy="1584000"/>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14" name="Parallelogram 44">
              <a:extLst>
                <a:ext uri="{FF2B5EF4-FFF2-40B4-BE49-F238E27FC236}">
                  <a16:creationId xmlns:a16="http://schemas.microsoft.com/office/drawing/2014/main" id="{F85433A7-5868-480C-B47D-13CC17F2EF20}"/>
                </a:ext>
              </a:extLst>
            </p:cNvPr>
            <p:cNvSpPr/>
            <p:nvPr/>
          </p:nvSpPr>
          <p:spPr bwMode="auto">
            <a:xfrm>
              <a:off x="343668" y="3028232"/>
              <a:ext cx="3600000" cy="1440000"/>
            </a:xfrm>
            <a:prstGeom prst="parallelogram">
              <a:avLst>
                <a:gd name="adj" fmla="val 31844"/>
              </a:avLst>
            </a:prstGeom>
            <a:solidFill>
              <a:schemeClr val="bg2">
                <a:lumMod val="75000"/>
              </a:schemeClr>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15" name="Group 45">
              <a:extLst>
                <a:ext uri="{FF2B5EF4-FFF2-40B4-BE49-F238E27FC236}">
                  <a16:creationId xmlns:a16="http://schemas.microsoft.com/office/drawing/2014/main" id="{C5FF33A5-DBF3-2B4E-B132-8D220C7CFEB3}"/>
                </a:ext>
              </a:extLst>
            </p:cNvPr>
            <p:cNvGrpSpPr/>
            <p:nvPr/>
          </p:nvGrpSpPr>
          <p:grpSpPr>
            <a:xfrm>
              <a:off x="1571478" y="1851251"/>
              <a:ext cx="1504370" cy="1504370"/>
              <a:chOff x="5343815" y="1101555"/>
              <a:chExt cx="1504370" cy="1504370"/>
            </a:xfrm>
          </p:grpSpPr>
          <p:sp>
            <p:nvSpPr>
              <p:cNvPr id="27" name="Freeform: Shape 57">
                <a:extLst>
                  <a:ext uri="{FF2B5EF4-FFF2-40B4-BE49-F238E27FC236}">
                    <a16:creationId xmlns:a16="http://schemas.microsoft.com/office/drawing/2014/main" id="{4247D1F0-7DDB-7651-6A50-1B69C271CFC4}"/>
                  </a:ext>
                </a:extLst>
              </p:cNvPr>
              <p:cNvSpPr/>
              <p:nvPr/>
            </p:nvSpPr>
            <p:spPr>
              <a:xfrm>
                <a:off x="5343815" y="1101555"/>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algn="ctr" defTabSz="1289050">
                  <a:lnSpc>
                    <a:spcPct val="90000"/>
                  </a:lnSpc>
                  <a:spcBef>
                    <a:spcPct val="0"/>
                  </a:spcBef>
                  <a:spcAft>
                    <a:spcPct val="35000"/>
                  </a:spcAft>
                </a:pPr>
                <a:endParaRPr lang="en-US" sz="2900"/>
              </a:p>
            </p:txBody>
          </p:sp>
          <p:pic>
            <p:nvPicPr>
              <p:cNvPr id="28" name="Graphic 58">
                <a:extLst>
                  <a:ext uri="{FF2B5EF4-FFF2-40B4-BE49-F238E27FC236}">
                    <a16:creationId xmlns:a16="http://schemas.microsoft.com/office/drawing/2014/main" id="{8EDDB2F4-563B-A8AD-2E6D-6EA0959850D4}"/>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23810" y="1281550"/>
                <a:ext cx="1144381" cy="1144381"/>
              </a:xfrm>
              <a:prstGeom prst="rect">
                <a:avLst/>
              </a:prstGeom>
            </p:spPr>
          </p:pic>
        </p:grpSp>
        <p:sp>
          <p:nvSpPr>
            <p:cNvPr id="16" name="Parallelogram 46">
              <a:extLst>
                <a:ext uri="{FF2B5EF4-FFF2-40B4-BE49-F238E27FC236}">
                  <a16:creationId xmlns:a16="http://schemas.microsoft.com/office/drawing/2014/main" id="{E13481CC-88F6-1F8A-0D9C-F8D04EB09A0A}"/>
                </a:ext>
              </a:extLst>
            </p:cNvPr>
            <p:cNvSpPr/>
            <p:nvPr/>
          </p:nvSpPr>
          <p:spPr bwMode="auto">
            <a:xfrm>
              <a:off x="8258401" y="3028232"/>
              <a:ext cx="3600000" cy="1440000"/>
            </a:xfrm>
            <a:prstGeom prst="parallelogram">
              <a:avLst>
                <a:gd name="adj" fmla="val 31844"/>
              </a:avLst>
            </a:prstGeom>
            <a:solidFill>
              <a:schemeClr val="bg2">
                <a:lumMod val="75000"/>
              </a:schemeClr>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17" name="Group 47">
              <a:extLst>
                <a:ext uri="{FF2B5EF4-FFF2-40B4-BE49-F238E27FC236}">
                  <a16:creationId xmlns:a16="http://schemas.microsoft.com/office/drawing/2014/main" id="{1C3349FB-2F49-DF68-E252-CE1F5AD5824D}"/>
                </a:ext>
              </a:extLst>
            </p:cNvPr>
            <p:cNvGrpSpPr/>
            <p:nvPr/>
          </p:nvGrpSpPr>
          <p:grpSpPr>
            <a:xfrm>
              <a:off x="9486211" y="1851251"/>
              <a:ext cx="1504370" cy="1504370"/>
              <a:chOff x="7167592" y="4260429"/>
              <a:chExt cx="1504370" cy="1504370"/>
            </a:xfrm>
          </p:grpSpPr>
          <p:sp>
            <p:nvSpPr>
              <p:cNvPr id="25" name="Freeform: Shape 55">
                <a:extLst>
                  <a:ext uri="{FF2B5EF4-FFF2-40B4-BE49-F238E27FC236}">
                    <a16:creationId xmlns:a16="http://schemas.microsoft.com/office/drawing/2014/main" id="{768C9B17-68C3-F49D-BF9E-ADB13DA67848}"/>
                  </a:ext>
                </a:extLst>
              </p:cNvPr>
              <p:cNvSpPr/>
              <p:nvPr/>
            </p:nvSpPr>
            <p:spPr>
              <a:xfrm>
                <a:off x="7167592" y="4260429"/>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marL="0" lvl="0" indent="0" algn="ctr" defTabSz="1289050">
                  <a:lnSpc>
                    <a:spcPct val="90000"/>
                  </a:lnSpc>
                  <a:spcBef>
                    <a:spcPct val="0"/>
                  </a:spcBef>
                  <a:spcAft>
                    <a:spcPct val="35000"/>
                  </a:spcAft>
                  <a:buNone/>
                </a:pPr>
                <a:endParaRPr lang="en-US" sz="2900" kern="1200"/>
              </a:p>
            </p:txBody>
          </p:sp>
          <p:pic>
            <p:nvPicPr>
              <p:cNvPr id="26" name="Graphic 56">
                <a:extLst>
                  <a:ext uri="{FF2B5EF4-FFF2-40B4-BE49-F238E27FC236}">
                    <a16:creationId xmlns:a16="http://schemas.microsoft.com/office/drawing/2014/main" id="{47D3C8BC-E1BF-7C0A-EB79-9D759EE3454F}"/>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47587" y="4440424"/>
                <a:ext cx="1144381" cy="1144381"/>
              </a:xfrm>
              <a:prstGeom prst="rect">
                <a:avLst/>
              </a:prstGeom>
            </p:spPr>
          </p:pic>
        </p:grpSp>
        <p:sp>
          <p:nvSpPr>
            <p:cNvPr id="18" name="Parallelogram 48">
              <a:extLst>
                <a:ext uri="{FF2B5EF4-FFF2-40B4-BE49-F238E27FC236}">
                  <a16:creationId xmlns:a16="http://schemas.microsoft.com/office/drawing/2014/main" id="{2CE66596-DABB-E5EA-ACFB-A19815919876}"/>
                </a:ext>
              </a:extLst>
            </p:cNvPr>
            <p:cNvSpPr/>
            <p:nvPr/>
          </p:nvSpPr>
          <p:spPr bwMode="auto">
            <a:xfrm>
              <a:off x="4296205" y="3028232"/>
              <a:ext cx="3600000" cy="1440000"/>
            </a:xfrm>
            <a:prstGeom prst="parallelogram">
              <a:avLst>
                <a:gd name="adj" fmla="val 31844"/>
              </a:avLst>
            </a:prstGeom>
            <a:solidFill>
              <a:schemeClr val="tx2"/>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19" name="Group 49">
              <a:extLst>
                <a:ext uri="{FF2B5EF4-FFF2-40B4-BE49-F238E27FC236}">
                  <a16:creationId xmlns:a16="http://schemas.microsoft.com/office/drawing/2014/main" id="{D07C75AB-48F3-DF1C-617D-D8C67B091F73}"/>
                </a:ext>
              </a:extLst>
            </p:cNvPr>
            <p:cNvGrpSpPr/>
            <p:nvPr/>
          </p:nvGrpSpPr>
          <p:grpSpPr>
            <a:xfrm>
              <a:off x="5528845" y="1851251"/>
              <a:ext cx="1504370" cy="1504370"/>
              <a:chOff x="3520038" y="4260429"/>
              <a:chExt cx="1504370" cy="1504370"/>
            </a:xfrm>
          </p:grpSpPr>
          <p:sp>
            <p:nvSpPr>
              <p:cNvPr id="20" name="Freeform: Shape 50">
                <a:extLst>
                  <a:ext uri="{FF2B5EF4-FFF2-40B4-BE49-F238E27FC236}">
                    <a16:creationId xmlns:a16="http://schemas.microsoft.com/office/drawing/2014/main" id="{07D43CA5-03C7-1F8C-97EC-B9DD5C58E932}"/>
                  </a:ext>
                </a:extLst>
              </p:cNvPr>
              <p:cNvSpPr/>
              <p:nvPr/>
            </p:nvSpPr>
            <p:spPr>
              <a:xfrm>
                <a:off x="3520038" y="4260429"/>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tx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algn="ctr" defTabSz="1289050">
                  <a:lnSpc>
                    <a:spcPct val="90000"/>
                  </a:lnSpc>
                  <a:spcBef>
                    <a:spcPct val="0"/>
                  </a:spcBef>
                  <a:spcAft>
                    <a:spcPct val="35000"/>
                  </a:spcAft>
                </a:pPr>
                <a:endParaRPr lang="en-US" sz="2900"/>
              </a:p>
            </p:txBody>
          </p:sp>
          <p:grpSp>
            <p:nvGrpSpPr>
              <p:cNvPr id="21" name="Group 51">
                <a:extLst>
                  <a:ext uri="{FF2B5EF4-FFF2-40B4-BE49-F238E27FC236}">
                    <a16:creationId xmlns:a16="http://schemas.microsoft.com/office/drawing/2014/main" id="{F5F63C8C-693D-516C-14AA-926E6D032964}"/>
                  </a:ext>
                </a:extLst>
              </p:cNvPr>
              <p:cNvGrpSpPr/>
              <p:nvPr/>
            </p:nvGrpSpPr>
            <p:grpSpPr>
              <a:xfrm>
                <a:off x="3886675" y="4548065"/>
                <a:ext cx="756613" cy="987042"/>
                <a:chOff x="3886675" y="4548065"/>
                <a:chExt cx="756613" cy="987042"/>
              </a:xfrm>
            </p:grpSpPr>
            <p:sp>
              <p:nvSpPr>
                <p:cNvPr id="22" name="Freeform: Shape 52">
                  <a:extLst>
                    <a:ext uri="{FF2B5EF4-FFF2-40B4-BE49-F238E27FC236}">
                      <a16:creationId xmlns:a16="http://schemas.microsoft.com/office/drawing/2014/main" id="{FCB6C378-CF04-3E12-8CEC-3D63E1DD693E}"/>
                    </a:ext>
                  </a:extLst>
                </p:cNvPr>
                <p:cNvSpPr/>
                <p:nvPr/>
              </p:nvSpPr>
              <p:spPr>
                <a:xfrm>
                  <a:off x="3886675" y="4569787"/>
                  <a:ext cx="756613" cy="965320"/>
                </a:xfrm>
                <a:custGeom>
                  <a:avLst/>
                  <a:gdLst>
                    <a:gd name="connsiteX0" fmla="*/ 469946 w 756613"/>
                    <a:gd name="connsiteY0" fmla="*/ 616988 h 965320"/>
                    <a:gd name="connsiteX1" fmla="*/ 469946 w 756613"/>
                    <a:gd name="connsiteY1" fmla="*/ 628611 h 965320"/>
                    <a:gd name="connsiteX2" fmla="*/ 452959 w 756613"/>
                    <a:gd name="connsiteY2" fmla="*/ 913633 h 965320"/>
                    <a:gd name="connsiteX3" fmla="*/ 459039 w 756613"/>
                    <a:gd name="connsiteY3" fmla="*/ 943315 h 965320"/>
                    <a:gd name="connsiteX4" fmla="*/ 530741 w 756613"/>
                    <a:gd name="connsiteY4" fmla="*/ 948680 h 965320"/>
                    <a:gd name="connsiteX5" fmla="*/ 539682 w 756613"/>
                    <a:gd name="connsiteY5" fmla="*/ 923646 h 965320"/>
                    <a:gd name="connsiteX6" fmla="*/ 556669 w 756613"/>
                    <a:gd name="connsiteY6" fmla="*/ 747340 h 965320"/>
                    <a:gd name="connsiteX7" fmla="*/ 564894 w 756613"/>
                    <a:gd name="connsiteY7" fmla="*/ 660081 h 965320"/>
                    <a:gd name="connsiteX8" fmla="*/ 566682 w 756613"/>
                    <a:gd name="connsiteY8" fmla="*/ 651498 h 965320"/>
                    <a:gd name="connsiteX9" fmla="*/ 573656 w 756613"/>
                    <a:gd name="connsiteY9" fmla="*/ 660975 h 965320"/>
                    <a:gd name="connsiteX10" fmla="*/ 673074 w 756613"/>
                    <a:gd name="connsiteY10" fmla="*/ 828162 h 965320"/>
                    <a:gd name="connsiteX11" fmla="*/ 701683 w 756613"/>
                    <a:gd name="connsiteY11" fmla="*/ 851228 h 965320"/>
                    <a:gd name="connsiteX12" fmla="*/ 756578 w 756613"/>
                    <a:gd name="connsiteY12" fmla="*/ 814572 h 965320"/>
                    <a:gd name="connsiteX13" fmla="*/ 749425 w 756613"/>
                    <a:gd name="connsiteY13" fmla="*/ 783460 h 965320"/>
                    <a:gd name="connsiteX14" fmla="*/ 602802 w 756613"/>
                    <a:gd name="connsiteY14" fmla="*/ 530444 h 965320"/>
                    <a:gd name="connsiteX15" fmla="*/ 538251 w 756613"/>
                    <a:gd name="connsiteY15" fmla="*/ 499152 h 965320"/>
                    <a:gd name="connsiteX16" fmla="*/ 425422 w 756613"/>
                    <a:gd name="connsiteY16" fmla="*/ 519179 h 965320"/>
                    <a:gd name="connsiteX17" fmla="*/ 419164 w 756613"/>
                    <a:gd name="connsiteY17" fmla="*/ 520073 h 965320"/>
                    <a:gd name="connsiteX18" fmla="*/ 388945 w 756613"/>
                    <a:gd name="connsiteY18" fmla="*/ 304071 h 965320"/>
                    <a:gd name="connsiteX19" fmla="*/ 401104 w 756613"/>
                    <a:gd name="connsiteY19" fmla="*/ 279574 h 965320"/>
                    <a:gd name="connsiteX20" fmla="*/ 528059 w 756613"/>
                    <a:gd name="connsiteY20" fmla="*/ 192315 h 965320"/>
                    <a:gd name="connsiteX21" fmla="*/ 550947 w 756613"/>
                    <a:gd name="connsiteY21" fmla="*/ 154408 h 965320"/>
                    <a:gd name="connsiteX22" fmla="*/ 527523 w 756613"/>
                    <a:gd name="connsiteY22" fmla="*/ 118646 h 965320"/>
                    <a:gd name="connsiteX23" fmla="*/ 369634 w 756613"/>
                    <a:gd name="connsiteY23" fmla="*/ 37645 h 965320"/>
                    <a:gd name="connsiteX24" fmla="*/ 358727 w 756613"/>
                    <a:gd name="connsiteY24" fmla="*/ 34784 h 965320"/>
                    <a:gd name="connsiteX25" fmla="*/ 334587 w 756613"/>
                    <a:gd name="connsiteY25" fmla="*/ 24056 h 965320"/>
                    <a:gd name="connsiteX26" fmla="*/ 198156 w 756613"/>
                    <a:gd name="connsiteY26" fmla="*/ 41042 h 965320"/>
                    <a:gd name="connsiteX27" fmla="*/ 181526 w 756613"/>
                    <a:gd name="connsiteY27" fmla="*/ 55526 h 965320"/>
                    <a:gd name="connsiteX28" fmla="*/ 24532 w 756613"/>
                    <a:gd name="connsiteY28" fmla="*/ 137600 h 965320"/>
                    <a:gd name="connsiteX29" fmla="*/ 11478 w 756613"/>
                    <a:gd name="connsiteY29" fmla="*/ 202507 h 965320"/>
                    <a:gd name="connsiteX30" fmla="*/ 30611 w 756613"/>
                    <a:gd name="connsiteY30" fmla="*/ 218421 h 965320"/>
                    <a:gd name="connsiteX31" fmla="*/ 152023 w 756613"/>
                    <a:gd name="connsiteY31" fmla="*/ 303535 h 965320"/>
                    <a:gd name="connsiteX32" fmla="*/ 179917 w 756613"/>
                    <a:gd name="connsiteY32" fmla="*/ 352350 h 965320"/>
                    <a:gd name="connsiteX33" fmla="*/ 223725 w 756613"/>
                    <a:gd name="connsiteY33" fmla="*/ 618597 h 965320"/>
                    <a:gd name="connsiteX34" fmla="*/ 304547 w 756613"/>
                    <a:gd name="connsiteY34" fmla="*/ 664372 h 965320"/>
                    <a:gd name="connsiteX35" fmla="*/ 459754 w 756613"/>
                    <a:gd name="connsiteY35" fmla="*/ 619670 h 965320"/>
                    <a:gd name="connsiteX36" fmla="*/ 469946 w 756613"/>
                    <a:gd name="connsiteY36" fmla="*/ 616988 h 965320"/>
                    <a:gd name="connsiteX37" fmla="*/ 190288 w 756613"/>
                    <a:gd name="connsiteY37" fmla="*/ 126513 h 965320"/>
                    <a:gd name="connsiteX38" fmla="*/ 280944 w 756613"/>
                    <a:gd name="connsiteY38" fmla="*/ 164063 h 965320"/>
                    <a:gd name="connsiteX39" fmla="*/ 358190 w 756613"/>
                    <a:gd name="connsiteY39" fmla="*/ 108632 h 965320"/>
                    <a:gd name="connsiteX40" fmla="*/ 447058 w 756613"/>
                    <a:gd name="connsiteY40" fmla="*/ 155302 h 965320"/>
                    <a:gd name="connsiteX41" fmla="*/ 353541 w 756613"/>
                    <a:gd name="connsiteY41" fmla="*/ 205011 h 965320"/>
                    <a:gd name="connsiteX42" fmla="*/ 341203 w 756613"/>
                    <a:gd name="connsiteY42" fmla="*/ 209481 h 965320"/>
                    <a:gd name="connsiteX43" fmla="*/ 201195 w 756613"/>
                    <a:gd name="connsiteY43" fmla="*/ 223965 h 965320"/>
                    <a:gd name="connsiteX44" fmla="*/ 192612 w 756613"/>
                    <a:gd name="connsiteY44" fmla="*/ 222534 h 965320"/>
                    <a:gd name="connsiteX45" fmla="*/ 113042 w 756613"/>
                    <a:gd name="connsiteY45" fmla="*/ 181944 h 965320"/>
                    <a:gd name="connsiteX46" fmla="*/ 106069 w 756613"/>
                    <a:gd name="connsiteY46" fmla="*/ 177474 h 965320"/>
                    <a:gd name="connsiteX47" fmla="*/ 190288 w 756613"/>
                    <a:gd name="connsiteY47" fmla="*/ 126513 h 96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56613" h="965320">
                      <a:moveTo>
                        <a:pt x="469946" y="616988"/>
                      </a:moveTo>
                      <a:cubicBezTo>
                        <a:pt x="469946" y="621637"/>
                        <a:pt x="469946" y="625213"/>
                        <a:pt x="469946" y="628611"/>
                      </a:cubicBezTo>
                      <a:cubicBezTo>
                        <a:pt x="467979" y="724274"/>
                        <a:pt x="454390" y="817970"/>
                        <a:pt x="452959" y="913633"/>
                      </a:cubicBezTo>
                      <a:cubicBezTo>
                        <a:pt x="452780" y="923468"/>
                        <a:pt x="454747" y="934375"/>
                        <a:pt x="459039" y="943315"/>
                      </a:cubicBezTo>
                      <a:cubicBezTo>
                        <a:pt x="471734" y="969779"/>
                        <a:pt x="514827" y="973355"/>
                        <a:pt x="530741" y="948680"/>
                      </a:cubicBezTo>
                      <a:cubicBezTo>
                        <a:pt x="535390" y="941348"/>
                        <a:pt x="538788" y="932229"/>
                        <a:pt x="539682" y="923646"/>
                      </a:cubicBezTo>
                      <a:cubicBezTo>
                        <a:pt x="545761" y="864997"/>
                        <a:pt x="551126" y="806168"/>
                        <a:pt x="556669" y="747340"/>
                      </a:cubicBezTo>
                      <a:cubicBezTo>
                        <a:pt x="559351" y="718194"/>
                        <a:pt x="562033" y="689227"/>
                        <a:pt x="564894" y="660081"/>
                      </a:cubicBezTo>
                      <a:cubicBezTo>
                        <a:pt x="565073" y="657578"/>
                        <a:pt x="565788" y="655253"/>
                        <a:pt x="566682" y="651498"/>
                      </a:cubicBezTo>
                      <a:cubicBezTo>
                        <a:pt x="569543" y="655432"/>
                        <a:pt x="571689" y="658114"/>
                        <a:pt x="573656" y="660975"/>
                      </a:cubicBezTo>
                      <a:cubicBezTo>
                        <a:pt x="610312" y="714439"/>
                        <a:pt x="636418" y="774698"/>
                        <a:pt x="673074" y="828162"/>
                      </a:cubicBezTo>
                      <a:cubicBezTo>
                        <a:pt x="680405" y="838712"/>
                        <a:pt x="689167" y="847295"/>
                        <a:pt x="701683" y="851228"/>
                      </a:cubicBezTo>
                      <a:cubicBezTo>
                        <a:pt x="724034" y="858381"/>
                        <a:pt x="756041" y="837997"/>
                        <a:pt x="756578" y="814572"/>
                      </a:cubicBezTo>
                      <a:cubicBezTo>
                        <a:pt x="756935" y="804202"/>
                        <a:pt x="754611" y="792400"/>
                        <a:pt x="749425" y="783460"/>
                      </a:cubicBezTo>
                      <a:cubicBezTo>
                        <a:pt x="701147" y="698704"/>
                        <a:pt x="652332" y="614485"/>
                        <a:pt x="602802" y="530444"/>
                      </a:cubicBezTo>
                      <a:cubicBezTo>
                        <a:pt x="588676" y="506484"/>
                        <a:pt x="567397" y="493967"/>
                        <a:pt x="538251" y="499152"/>
                      </a:cubicBezTo>
                      <a:cubicBezTo>
                        <a:pt x="499450" y="506126"/>
                        <a:pt x="464224" y="512384"/>
                        <a:pt x="425422" y="519179"/>
                      </a:cubicBezTo>
                      <a:cubicBezTo>
                        <a:pt x="423813" y="519537"/>
                        <a:pt x="422383" y="519716"/>
                        <a:pt x="419164" y="520073"/>
                      </a:cubicBezTo>
                      <a:cubicBezTo>
                        <a:pt x="415588" y="501477"/>
                        <a:pt x="394846" y="357535"/>
                        <a:pt x="388945" y="304071"/>
                      </a:cubicBezTo>
                      <a:cubicBezTo>
                        <a:pt x="387515" y="291912"/>
                        <a:pt x="390376" y="286190"/>
                        <a:pt x="401104" y="279574"/>
                      </a:cubicBezTo>
                      <a:cubicBezTo>
                        <a:pt x="447953" y="250965"/>
                        <a:pt x="481926" y="221998"/>
                        <a:pt x="528059" y="192315"/>
                      </a:cubicBezTo>
                      <a:cubicBezTo>
                        <a:pt x="541649" y="183554"/>
                        <a:pt x="550589" y="171216"/>
                        <a:pt x="550947" y="154408"/>
                      </a:cubicBezTo>
                      <a:cubicBezTo>
                        <a:pt x="551126" y="145825"/>
                        <a:pt x="545046" y="127944"/>
                        <a:pt x="527523" y="118646"/>
                      </a:cubicBezTo>
                      <a:cubicBezTo>
                        <a:pt x="466728" y="86818"/>
                        <a:pt x="430250" y="69473"/>
                        <a:pt x="369634" y="37645"/>
                      </a:cubicBezTo>
                      <a:cubicBezTo>
                        <a:pt x="366415" y="35857"/>
                        <a:pt x="361945" y="34069"/>
                        <a:pt x="358727" y="34784"/>
                      </a:cubicBezTo>
                      <a:cubicBezTo>
                        <a:pt x="347283" y="37824"/>
                        <a:pt x="341561" y="30671"/>
                        <a:pt x="334587" y="24056"/>
                      </a:cubicBezTo>
                      <a:cubicBezTo>
                        <a:pt x="293819" y="-14031"/>
                        <a:pt x="228196" y="-5806"/>
                        <a:pt x="198156" y="41042"/>
                      </a:cubicBezTo>
                      <a:cubicBezTo>
                        <a:pt x="193864" y="47837"/>
                        <a:pt x="189036" y="52129"/>
                        <a:pt x="181526" y="55526"/>
                      </a:cubicBezTo>
                      <a:cubicBezTo>
                        <a:pt x="164897" y="63036"/>
                        <a:pt x="36333" y="131520"/>
                        <a:pt x="24532" y="137600"/>
                      </a:cubicBezTo>
                      <a:cubicBezTo>
                        <a:pt x="-3363" y="152083"/>
                        <a:pt x="-7118" y="182838"/>
                        <a:pt x="11478" y="202507"/>
                      </a:cubicBezTo>
                      <a:cubicBezTo>
                        <a:pt x="17200" y="208587"/>
                        <a:pt x="23637" y="213951"/>
                        <a:pt x="30611" y="218421"/>
                      </a:cubicBezTo>
                      <a:cubicBezTo>
                        <a:pt x="77459" y="248819"/>
                        <a:pt x="152023" y="303535"/>
                        <a:pt x="152023" y="303535"/>
                      </a:cubicBezTo>
                      <a:cubicBezTo>
                        <a:pt x="170261" y="314085"/>
                        <a:pt x="177235" y="330177"/>
                        <a:pt x="179917" y="352350"/>
                      </a:cubicBezTo>
                      <a:cubicBezTo>
                        <a:pt x="181169" y="361827"/>
                        <a:pt x="223725" y="618597"/>
                        <a:pt x="223725" y="618597"/>
                      </a:cubicBezTo>
                      <a:cubicBezTo>
                        <a:pt x="233202" y="656505"/>
                        <a:pt x="266818" y="675101"/>
                        <a:pt x="304547" y="664372"/>
                      </a:cubicBezTo>
                      <a:cubicBezTo>
                        <a:pt x="356402" y="649531"/>
                        <a:pt x="408078" y="634511"/>
                        <a:pt x="459754" y="619670"/>
                      </a:cubicBezTo>
                      <a:cubicBezTo>
                        <a:pt x="462257" y="619134"/>
                        <a:pt x="465297" y="618240"/>
                        <a:pt x="469946" y="616988"/>
                      </a:cubicBezTo>
                      <a:close/>
                      <a:moveTo>
                        <a:pt x="190288" y="126513"/>
                      </a:moveTo>
                      <a:cubicBezTo>
                        <a:pt x="210136" y="166030"/>
                        <a:pt x="236778" y="168891"/>
                        <a:pt x="280944" y="164063"/>
                      </a:cubicBezTo>
                      <a:cubicBezTo>
                        <a:pt x="326720" y="159057"/>
                        <a:pt x="346567" y="140818"/>
                        <a:pt x="358190" y="108632"/>
                      </a:cubicBezTo>
                      <a:cubicBezTo>
                        <a:pt x="366237" y="111493"/>
                        <a:pt x="417018" y="137421"/>
                        <a:pt x="447058" y="155302"/>
                      </a:cubicBezTo>
                      <a:cubicBezTo>
                        <a:pt x="443661" y="157269"/>
                        <a:pt x="383760" y="189097"/>
                        <a:pt x="353541" y="205011"/>
                      </a:cubicBezTo>
                      <a:cubicBezTo>
                        <a:pt x="348713" y="207514"/>
                        <a:pt x="341203" y="209481"/>
                        <a:pt x="341203" y="209481"/>
                      </a:cubicBezTo>
                      <a:lnTo>
                        <a:pt x="201195" y="223965"/>
                      </a:lnTo>
                      <a:cubicBezTo>
                        <a:pt x="199586" y="225216"/>
                        <a:pt x="195116" y="223786"/>
                        <a:pt x="192612" y="222534"/>
                      </a:cubicBezTo>
                      <a:cubicBezTo>
                        <a:pt x="165970" y="209123"/>
                        <a:pt x="139506" y="195534"/>
                        <a:pt x="113042" y="181944"/>
                      </a:cubicBezTo>
                      <a:cubicBezTo>
                        <a:pt x="110896" y="180871"/>
                        <a:pt x="108930" y="179441"/>
                        <a:pt x="106069" y="177474"/>
                      </a:cubicBezTo>
                      <a:cubicBezTo>
                        <a:pt x="143797" y="152620"/>
                        <a:pt x="183314" y="130805"/>
                        <a:pt x="190288" y="126513"/>
                      </a:cubicBezTo>
                      <a:close/>
                    </a:path>
                  </a:pathLst>
                </a:custGeom>
                <a:solidFill>
                  <a:schemeClr val="bg1"/>
                </a:solidFill>
                <a:ln w="17859" cap="flat">
                  <a:noFill/>
                  <a:prstDash val="solid"/>
                  <a:miter/>
                </a:ln>
              </p:spPr>
              <p:txBody>
                <a:bodyPr rtlCol="0" anchor="ctr"/>
                <a:lstStyle/>
                <a:p>
                  <a:endParaRPr lang="en-US"/>
                </a:p>
              </p:txBody>
            </p:sp>
            <p:sp>
              <p:nvSpPr>
                <p:cNvPr id="23" name="Freeform: Shape 53">
                  <a:extLst>
                    <a:ext uri="{FF2B5EF4-FFF2-40B4-BE49-F238E27FC236}">
                      <a16:creationId xmlns:a16="http://schemas.microsoft.com/office/drawing/2014/main" id="{7AF95D36-9BFE-78F7-5513-17D0DE50FF17}"/>
                    </a:ext>
                  </a:extLst>
                </p:cNvPr>
                <p:cNvSpPr/>
                <p:nvPr/>
              </p:nvSpPr>
              <p:spPr>
                <a:xfrm>
                  <a:off x="4054433" y="4548065"/>
                  <a:ext cx="203306" cy="202065"/>
                </a:xfrm>
                <a:custGeom>
                  <a:avLst/>
                  <a:gdLst>
                    <a:gd name="connsiteX0" fmla="*/ 100670 w 203306"/>
                    <a:gd name="connsiteY0" fmla="*/ 2 h 202065"/>
                    <a:gd name="connsiteX1" fmla="*/ 203306 w 203306"/>
                    <a:gd name="connsiteY1" fmla="*/ 100851 h 202065"/>
                    <a:gd name="connsiteX2" fmla="*/ 102637 w 203306"/>
                    <a:gd name="connsiteY2" fmla="*/ 202057 h 202065"/>
                    <a:gd name="connsiteX3" fmla="*/ 0 w 203306"/>
                    <a:gd name="connsiteY3" fmla="*/ 100493 h 202065"/>
                    <a:gd name="connsiteX4" fmla="*/ 100670 w 203306"/>
                    <a:gd name="connsiteY4" fmla="*/ 2 h 202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306" h="202065">
                      <a:moveTo>
                        <a:pt x="100670" y="2"/>
                      </a:moveTo>
                      <a:cubicBezTo>
                        <a:pt x="157889" y="-355"/>
                        <a:pt x="203306" y="44347"/>
                        <a:pt x="203306" y="100851"/>
                      </a:cubicBezTo>
                      <a:cubicBezTo>
                        <a:pt x="203128" y="156103"/>
                        <a:pt x="158246" y="201163"/>
                        <a:pt x="102637" y="202057"/>
                      </a:cubicBezTo>
                      <a:cubicBezTo>
                        <a:pt x="46669" y="202772"/>
                        <a:pt x="0" y="156639"/>
                        <a:pt x="0" y="100493"/>
                      </a:cubicBezTo>
                      <a:cubicBezTo>
                        <a:pt x="179" y="44883"/>
                        <a:pt x="44702" y="360"/>
                        <a:pt x="100670" y="2"/>
                      </a:cubicBezTo>
                    </a:path>
                  </a:pathLst>
                </a:custGeom>
                <a:solidFill>
                  <a:schemeClr val="bg1"/>
                </a:solidFill>
                <a:ln w="17859" cap="flat">
                  <a:noFill/>
                  <a:prstDash val="solid"/>
                  <a:miter/>
                </a:ln>
              </p:spPr>
              <p:txBody>
                <a:bodyPr rtlCol="0" anchor="ctr"/>
                <a:lstStyle/>
                <a:p>
                  <a:endParaRPr lang="en-US"/>
                </a:p>
              </p:txBody>
            </p:sp>
            <p:sp>
              <p:nvSpPr>
                <p:cNvPr id="24" name="Freeform: Shape 54">
                  <a:extLst>
                    <a:ext uri="{FF2B5EF4-FFF2-40B4-BE49-F238E27FC236}">
                      <a16:creationId xmlns:a16="http://schemas.microsoft.com/office/drawing/2014/main" id="{E5247F4F-88D5-BBDA-EE70-D98F7A3D9AFD}"/>
                    </a:ext>
                  </a:extLst>
                </p:cNvPr>
                <p:cNvSpPr/>
                <p:nvPr/>
              </p:nvSpPr>
              <p:spPr>
                <a:xfrm>
                  <a:off x="3979333" y="4920169"/>
                  <a:ext cx="324360" cy="407864"/>
                </a:xfrm>
                <a:custGeom>
                  <a:avLst/>
                  <a:gdLst>
                    <a:gd name="connsiteX0" fmla="*/ 0 w 324360"/>
                    <a:gd name="connsiteY0" fmla="*/ 0 h 407864"/>
                    <a:gd name="connsiteX1" fmla="*/ 99060 w 324360"/>
                    <a:gd name="connsiteY1" fmla="*/ 407865 h 407864"/>
                    <a:gd name="connsiteX2" fmla="*/ 324360 w 324360"/>
                    <a:gd name="connsiteY2" fmla="*/ 343672 h 407864"/>
                  </a:gdLst>
                  <a:ahLst/>
                  <a:cxnLst>
                    <a:cxn ang="0">
                      <a:pos x="connsiteX0" y="connsiteY0"/>
                    </a:cxn>
                    <a:cxn ang="0">
                      <a:pos x="connsiteX1" y="connsiteY1"/>
                    </a:cxn>
                    <a:cxn ang="0">
                      <a:pos x="connsiteX2" y="connsiteY2"/>
                    </a:cxn>
                  </a:cxnLst>
                  <a:rect l="l" t="t" r="r" b="b"/>
                  <a:pathLst>
                    <a:path w="324360" h="407864">
                      <a:moveTo>
                        <a:pt x="0" y="0"/>
                      </a:moveTo>
                      <a:lnTo>
                        <a:pt x="99060" y="407865"/>
                      </a:lnTo>
                      <a:lnTo>
                        <a:pt x="324360" y="343672"/>
                      </a:lnTo>
                    </a:path>
                  </a:pathLst>
                </a:custGeom>
                <a:noFill/>
                <a:ln w="9525" cap="rnd">
                  <a:solidFill>
                    <a:schemeClr val="bg1"/>
                  </a:solidFill>
                  <a:prstDash val="solid"/>
                  <a:round/>
                </a:ln>
              </p:spPr>
              <p:txBody>
                <a:bodyPr rtlCol="0" anchor="ctr"/>
                <a:lstStyle/>
                <a:p>
                  <a:endParaRPr lang="en-US"/>
                </a:p>
              </p:txBody>
            </p:sp>
          </p:grpSp>
        </p:grpSp>
      </p:grpSp>
      <p:pic>
        <p:nvPicPr>
          <p:cNvPr id="29" name="Grafik 36">
            <a:extLst>
              <a:ext uri="{FF2B5EF4-FFF2-40B4-BE49-F238E27FC236}">
                <a16:creationId xmlns:a16="http://schemas.microsoft.com/office/drawing/2014/main" id="{FA170F04-A5E1-5561-2604-9DFA3BBE69C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71954" y="4688883"/>
            <a:ext cx="944429" cy="944429"/>
          </a:xfrm>
          <a:prstGeom prst="rect">
            <a:avLst/>
          </a:prstGeom>
        </p:spPr>
      </p:pic>
    </p:spTree>
    <p:extLst>
      <p:ext uri="{BB962C8B-B14F-4D97-AF65-F5344CB8AC3E}">
        <p14:creationId xmlns:p14="http://schemas.microsoft.com/office/powerpoint/2010/main" val="41099098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D484516A-B3DF-8247-B68D-7E8D832D8527}"/>
              </a:ext>
            </a:extLst>
          </p:cNvPr>
          <p:cNvSpPr>
            <a:spLocks noGrp="1"/>
          </p:cNvSpPr>
          <p:nvPr>
            <p:ph type="title" idx="11"/>
          </p:nvPr>
        </p:nvSpPr>
        <p:spPr>
          <a:xfrm>
            <a:off x="762000" y="1524000"/>
            <a:ext cx="8177212" cy="4191000"/>
          </a:xfrm>
        </p:spPr>
        <p:txBody>
          <a:bodyPr anchor="ctr">
            <a:noAutofit/>
          </a:bodyPr>
          <a:lstStyle/>
          <a:p>
            <a:pPr>
              <a:buClr>
                <a:schemeClr val="accent1"/>
              </a:buClr>
            </a:pPr>
            <a:r>
              <a:rPr lang="pl-PL" sz="3600" dirty="0">
                <a:solidFill>
                  <a:schemeClr val="bg1"/>
                </a:solidFill>
              </a:rPr>
              <a:t>Argenta to 30 lat doświadczenia </a:t>
            </a:r>
            <a:r>
              <a:rPr lang="pl-PL" sz="3600" dirty="0">
                <a:solidFill>
                  <a:schemeClr val="accent5"/>
                </a:solidFill>
              </a:rPr>
              <a:t>na rynku diagnostyki oraz wyposażenia laboratorium</a:t>
            </a:r>
            <a:r>
              <a:rPr lang="pl-PL" sz="3600" dirty="0">
                <a:solidFill>
                  <a:schemeClr val="bg1"/>
                </a:solidFill>
              </a:rPr>
              <a:t>, rzetelność i innowacja w działaniu.</a:t>
            </a:r>
            <a:endParaRPr lang="pl-PL" sz="2400" dirty="0">
              <a:solidFill>
                <a:schemeClr val="bg1"/>
              </a:solidFill>
            </a:endParaRPr>
          </a:p>
        </p:txBody>
      </p:sp>
    </p:spTree>
    <p:extLst>
      <p:ext uri="{BB962C8B-B14F-4D97-AF65-F5344CB8AC3E}">
        <p14:creationId xmlns:p14="http://schemas.microsoft.com/office/powerpoint/2010/main" val="17813372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0">
            <a:extLst>
              <a:ext uri="{FF2B5EF4-FFF2-40B4-BE49-F238E27FC236}">
                <a16:creationId xmlns:a16="http://schemas.microsoft.com/office/drawing/2014/main" id="{9704D367-3074-D6FF-8A54-CCF692B80B2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60459" y="1"/>
            <a:ext cx="6631541" cy="6857998"/>
          </a:xfrm>
          <a:custGeom>
            <a:avLst/>
            <a:gdLst>
              <a:gd name="connsiteX0" fmla="*/ 4761301 w 6631541"/>
              <a:gd name="connsiteY0" fmla="*/ 1 h 6858000"/>
              <a:gd name="connsiteX1" fmla="*/ 4761301 w 6631541"/>
              <a:gd name="connsiteY1" fmla="*/ 673805 h 6858000"/>
              <a:gd name="connsiteX2" fmla="*/ 6326740 w 6631541"/>
              <a:gd name="connsiteY2" fmla="*/ 673805 h 6858000"/>
              <a:gd name="connsiteX3" fmla="*/ 6326740 w 6631541"/>
              <a:gd name="connsiteY3" fmla="*/ 1 h 6858000"/>
              <a:gd name="connsiteX4" fmla="*/ 2183862 w 6631541"/>
              <a:gd name="connsiteY4" fmla="*/ 0 h 6858000"/>
              <a:gd name="connsiteX5" fmla="*/ 6631541 w 6631541"/>
              <a:gd name="connsiteY5" fmla="*/ 0 h 6858000"/>
              <a:gd name="connsiteX6" fmla="*/ 6631541 w 6631541"/>
              <a:gd name="connsiteY6" fmla="*/ 6858000 h 6858000"/>
              <a:gd name="connsiteX7" fmla="*/ 0 w 6631541"/>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1541" h="6858000">
                <a:moveTo>
                  <a:pt x="4761301" y="1"/>
                </a:moveTo>
                <a:lnTo>
                  <a:pt x="4761301" y="673805"/>
                </a:lnTo>
                <a:lnTo>
                  <a:pt x="6326740" y="673805"/>
                </a:lnTo>
                <a:lnTo>
                  <a:pt x="6326740" y="1"/>
                </a:lnTo>
                <a:close/>
                <a:moveTo>
                  <a:pt x="2183862" y="0"/>
                </a:moveTo>
                <a:lnTo>
                  <a:pt x="6631541" y="0"/>
                </a:lnTo>
                <a:lnTo>
                  <a:pt x="6631541" y="6858000"/>
                </a:lnTo>
                <a:lnTo>
                  <a:pt x="0" y="6858000"/>
                </a:lnTo>
                <a:close/>
              </a:path>
            </a:pathLst>
          </a:custGeom>
        </p:spPr>
      </p:pic>
      <p:sp>
        <p:nvSpPr>
          <p:cNvPr id="4" name="Titel 8">
            <a:extLst>
              <a:ext uri="{FF2B5EF4-FFF2-40B4-BE49-F238E27FC236}">
                <a16:creationId xmlns:a16="http://schemas.microsoft.com/office/drawing/2014/main" id="{55102D77-1B39-AAEA-3B10-48ECE80C9CED}"/>
              </a:ext>
            </a:extLst>
          </p:cNvPr>
          <p:cNvSpPr txBox="1">
            <a:spLocks/>
          </p:cNvSpPr>
          <p:nvPr/>
        </p:nvSpPr>
        <p:spPr>
          <a:xfrm>
            <a:off x="304801" y="304799"/>
            <a:ext cx="9753600" cy="381001"/>
          </a:xfrm>
          <a:prstGeom prst="rect">
            <a:avLst/>
          </a:prstGeom>
        </p:spPr>
        <p:txBody>
          <a:bodyPr/>
          <a:lstStyle>
            <a:lvl1pPr lvl="0" algn="l" rtl="0">
              <a:lnSpc>
                <a:spcPct val="90000"/>
              </a:lnSpc>
              <a:spcBef>
                <a:spcPct val="0"/>
              </a:spcBef>
              <a:buNone/>
              <a:defRPr lang="en-US" sz="4400" dirty="0">
                <a:solidFill>
                  <a:schemeClr val="tx1"/>
                </a:solidFill>
                <a:latin typeface="+mj-lt"/>
              </a:defRPr>
            </a:lvl1pPr>
          </a:lstStyle>
          <a:p>
            <a:r>
              <a:rPr lang="pl-PL" altLang="fi-FI" sz="3200" dirty="0">
                <a:solidFill>
                  <a:srgbClr val="C00000"/>
                </a:solidFill>
                <a:sym typeface="+mj-lt"/>
              </a:rPr>
              <a:t>Automatyzacja laboratorium</a:t>
            </a:r>
            <a:endParaRPr lang="pl-PL" sz="3200" dirty="0">
              <a:solidFill>
                <a:srgbClr val="C00000"/>
              </a:solidFill>
              <a:sym typeface="+mj-lt"/>
            </a:endParaRPr>
          </a:p>
        </p:txBody>
      </p:sp>
      <p:sp>
        <p:nvSpPr>
          <p:cNvPr id="5" name="Inhaltsplatzhalter 11">
            <a:extLst>
              <a:ext uri="{FF2B5EF4-FFF2-40B4-BE49-F238E27FC236}">
                <a16:creationId xmlns:a16="http://schemas.microsoft.com/office/drawing/2014/main" id="{AB49530E-63CE-5A24-79DF-7755E800A8FD}"/>
              </a:ext>
            </a:extLst>
          </p:cNvPr>
          <p:cNvSpPr txBox="1">
            <a:spLocks/>
          </p:cNvSpPr>
          <p:nvPr/>
        </p:nvSpPr>
        <p:spPr>
          <a:xfrm>
            <a:off x="212189" y="1367380"/>
            <a:ext cx="5974550" cy="5485179"/>
          </a:xfrm>
          <a:prstGeom prst="rect">
            <a:avLst/>
          </a:prstGeom>
        </p:spPr>
        <p:txBody>
          <a:bodyPr anchor="t"/>
          <a:lstStyle>
            <a:lvl1pPr marL="228600" lvl="0" indent="-228600" algn="l" rtl="0">
              <a:lnSpc>
                <a:spcPct val="90000"/>
              </a:lnSpc>
              <a:spcBef>
                <a:spcPts val="1000"/>
              </a:spcBef>
              <a:buFont typeface="Arial"/>
              <a:buChar char="•"/>
              <a:defRPr lang="en-US" sz="2800" dirty="0">
                <a:solidFill>
                  <a:schemeClr val="tx1"/>
                </a:solidFill>
                <a:latin typeface="+mn-lt"/>
              </a:defRPr>
            </a:lvl1pPr>
            <a:lvl2pPr marL="685800" lvl="1" indent="-228600" algn="l" rtl="0">
              <a:lnSpc>
                <a:spcPct val="90000"/>
              </a:lnSpc>
              <a:spcBef>
                <a:spcPts val="500"/>
              </a:spcBef>
              <a:buFont typeface="Arial"/>
              <a:buChar char="•"/>
              <a:defRPr lang="en-US" sz="2400" dirty="0">
                <a:solidFill>
                  <a:schemeClr val="tx1"/>
                </a:solidFill>
                <a:latin typeface="+mn-lt"/>
              </a:defRPr>
            </a:lvl2pPr>
            <a:lvl3pPr marL="1143000" lvl="2" indent="-228600" algn="l" rtl="0">
              <a:lnSpc>
                <a:spcPct val="90000"/>
              </a:lnSpc>
              <a:spcBef>
                <a:spcPts val="500"/>
              </a:spcBef>
              <a:buFont typeface="Arial"/>
              <a:buChar char="•"/>
              <a:defRPr lang="en-US" sz="2000" dirty="0">
                <a:solidFill>
                  <a:schemeClr val="tx1"/>
                </a:solidFill>
                <a:latin typeface="+mn-lt"/>
              </a:defRPr>
            </a:lvl3pPr>
            <a:lvl4pPr marL="1600200" lvl="3" indent="-228600" algn="l" rtl="0">
              <a:lnSpc>
                <a:spcPct val="90000"/>
              </a:lnSpc>
              <a:spcBef>
                <a:spcPts val="500"/>
              </a:spcBef>
              <a:buFont typeface="Arial"/>
              <a:buChar char="•"/>
              <a:defRPr lang="en-US" sz="1800" dirty="0">
                <a:solidFill>
                  <a:schemeClr val="tx1"/>
                </a:solidFill>
                <a:latin typeface="+mn-lt"/>
              </a:defRPr>
            </a:lvl4pPr>
            <a:lvl5pPr marL="2057400" lvl="4" indent="-228600" algn="l" rtl="0">
              <a:lnSpc>
                <a:spcPct val="90000"/>
              </a:lnSpc>
              <a:spcBef>
                <a:spcPts val="500"/>
              </a:spcBef>
              <a:buFont typeface="Arial"/>
              <a:buChar char="•"/>
              <a:defRPr lang="en-US" sz="1800" dirty="0">
                <a:solidFill>
                  <a:schemeClr val="tx1"/>
                </a:solidFill>
                <a:latin typeface="+mn-lt"/>
              </a:defRPr>
            </a:lvl5pPr>
            <a:lvl6pPr marL="2514600" lvl="5" indent="-228600" algn="l" rtl="0">
              <a:lnSpc>
                <a:spcPct val="90000"/>
              </a:lnSpc>
              <a:spcBef>
                <a:spcPts val="500"/>
              </a:spcBef>
              <a:buFont typeface="Arial"/>
              <a:buChar char="•"/>
              <a:defRPr lang="en-US" sz="1800" dirty="0">
                <a:solidFill>
                  <a:schemeClr val="tx1"/>
                </a:solidFill>
                <a:latin typeface="+mn-lt"/>
              </a:defRPr>
            </a:lvl6pPr>
            <a:lvl7pPr marL="2971800" lvl="6" indent="-228600" algn="l" rtl="0">
              <a:lnSpc>
                <a:spcPct val="90000"/>
              </a:lnSpc>
              <a:spcBef>
                <a:spcPts val="500"/>
              </a:spcBef>
              <a:buFont typeface="Arial"/>
              <a:buChar char="•"/>
              <a:defRPr lang="en-US" sz="1800" dirty="0">
                <a:solidFill>
                  <a:schemeClr val="tx1"/>
                </a:solidFill>
                <a:latin typeface="+mn-lt"/>
              </a:defRPr>
            </a:lvl7pPr>
            <a:lvl8pPr marL="3429000" lvl="7" indent="-228600" algn="l" rtl="0">
              <a:lnSpc>
                <a:spcPct val="90000"/>
              </a:lnSpc>
              <a:spcBef>
                <a:spcPts val="500"/>
              </a:spcBef>
              <a:buFont typeface="Arial"/>
              <a:buChar char="•"/>
              <a:defRPr lang="en-US" sz="1800" dirty="0">
                <a:solidFill>
                  <a:schemeClr val="tx1"/>
                </a:solidFill>
                <a:latin typeface="+mn-lt"/>
              </a:defRPr>
            </a:lvl8pPr>
            <a:lvl9pPr marL="3886200" lvl="8" indent="-228600" algn="l" rtl="0">
              <a:lnSpc>
                <a:spcPct val="90000"/>
              </a:lnSpc>
              <a:spcBef>
                <a:spcPts val="500"/>
              </a:spcBef>
              <a:buFont typeface="Arial"/>
              <a:buChar char="•"/>
              <a:defRPr lang="en-US" sz="1800" dirty="0">
                <a:solidFill>
                  <a:schemeClr val="tx1"/>
                </a:solidFill>
                <a:latin typeface="+mn-lt"/>
              </a:defRPr>
            </a:lvl9pPr>
          </a:lstStyle>
          <a:p>
            <a:r>
              <a:rPr lang="pl-PL" sz="2000" dirty="0">
                <a:sym typeface="+mn-lt"/>
              </a:rPr>
              <a:t>Automatyczny dzienny startup</a:t>
            </a:r>
            <a:endParaRPr lang="en-US" sz="2000" dirty="0">
              <a:sym typeface="+mn-lt"/>
            </a:endParaRPr>
          </a:p>
          <a:p>
            <a:pPr lvl="1"/>
            <a:r>
              <a:rPr lang="pl-PL" sz="2000" dirty="0">
                <a:sym typeface="+mn-lt"/>
              </a:rPr>
              <a:t>Gotowy w przeciągu kilku minut</a:t>
            </a:r>
            <a:endParaRPr lang="en-US" sz="2000" dirty="0">
              <a:sym typeface="+mn-lt"/>
            </a:endParaRPr>
          </a:p>
          <a:p>
            <a:r>
              <a:rPr lang="pl-PL" sz="2000" dirty="0">
                <a:sym typeface="+mn-lt"/>
              </a:rPr>
              <a:t>Identyfikacja odczynników oraz próbek za pomocą kodów kreskowych</a:t>
            </a:r>
            <a:endParaRPr lang="en-US" sz="2000" dirty="0">
              <a:sym typeface="+mn-lt"/>
            </a:endParaRPr>
          </a:p>
          <a:p>
            <a:r>
              <a:rPr lang="pl-PL" sz="2000" dirty="0">
                <a:sym typeface="+mn-lt"/>
              </a:rPr>
              <a:t>Detektor skrzepu</a:t>
            </a:r>
            <a:endParaRPr lang="en-US" sz="2000" dirty="0">
              <a:sym typeface="+mn-lt"/>
            </a:endParaRPr>
          </a:p>
          <a:p>
            <a:pPr lvl="1"/>
            <a:r>
              <a:rPr lang="pl-PL" sz="2000" dirty="0">
                <a:sym typeface="+mn-lt"/>
              </a:rPr>
              <a:t>Automatyczne powtórki przy błędzie aspiracji próbki</a:t>
            </a:r>
            <a:endParaRPr lang="en-US" sz="2000" dirty="0">
              <a:sym typeface="+mn-lt"/>
            </a:endParaRPr>
          </a:p>
          <a:p>
            <a:r>
              <a:rPr lang="pl-PL" sz="2000" dirty="0"/>
              <a:t>Automatyczny start</a:t>
            </a:r>
            <a:endParaRPr lang="en-US" sz="2000" dirty="0"/>
          </a:p>
          <a:p>
            <a:pPr lvl="1"/>
            <a:r>
              <a:rPr lang="pl-PL" altLang="fi-FI" sz="2000" dirty="0"/>
              <a:t>Jeżeli wszystkie elementy znajdują się na pokładzie </a:t>
            </a:r>
            <a:endParaRPr lang="en-US" sz="2000" dirty="0">
              <a:sym typeface="+mn-lt"/>
            </a:endParaRPr>
          </a:p>
          <a:p>
            <a:r>
              <a:rPr lang="pl-PL" sz="2000" dirty="0">
                <a:sym typeface="+mn-lt"/>
              </a:rPr>
              <a:t>Automatyczne rozcieńczenia</a:t>
            </a:r>
            <a:endParaRPr lang="en-US" sz="2000" dirty="0">
              <a:sym typeface="+mn-lt"/>
            </a:endParaRPr>
          </a:p>
          <a:p>
            <a:pPr lvl="1"/>
            <a:r>
              <a:rPr lang="pl-PL" sz="2000" dirty="0">
                <a:sym typeface="+mn-lt"/>
              </a:rPr>
              <a:t>Mniej pracy manualnej</a:t>
            </a:r>
            <a:endParaRPr lang="en-US" sz="2000" dirty="0">
              <a:sym typeface="+mn-lt"/>
            </a:endParaRPr>
          </a:p>
          <a:p>
            <a:r>
              <a:rPr lang="pl-PL" sz="2000" dirty="0">
                <a:sym typeface="+mn-lt"/>
              </a:rPr>
              <a:t>Testy </a:t>
            </a:r>
            <a:r>
              <a:rPr lang="pl-PL" sz="2000" dirty="0" err="1">
                <a:sym typeface="+mn-lt"/>
              </a:rPr>
              <a:t>reflex</a:t>
            </a:r>
            <a:endParaRPr lang="en-US" sz="2000" dirty="0">
              <a:sym typeface="+mn-lt"/>
            </a:endParaRPr>
          </a:p>
        </p:txBody>
      </p:sp>
      <p:sp>
        <p:nvSpPr>
          <p:cNvPr id="6" name="Parallelogram 38">
            <a:extLst>
              <a:ext uri="{FF2B5EF4-FFF2-40B4-BE49-F238E27FC236}">
                <a16:creationId xmlns:a16="http://schemas.microsoft.com/office/drawing/2014/main" id="{6CFCCCEA-017F-7261-DFD7-155EB5C0381A}"/>
              </a:ext>
            </a:extLst>
          </p:cNvPr>
          <p:cNvSpPr/>
          <p:nvPr/>
        </p:nvSpPr>
        <p:spPr bwMode="auto">
          <a:xfrm>
            <a:off x="5813123" y="4685044"/>
            <a:ext cx="7034891" cy="1378119"/>
          </a:xfrm>
          <a:prstGeom prst="parallelogram">
            <a:avLst>
              <a:gd name="adj" fmla="val 31844"/>
            </a:avLst>
          </a:prstGeom>
          <a:solidFill>
            <a:schemeClr val="accent2"/>
          </a:solidFill>
          <a:ln w="317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dirty="0">
              <a:solidFill>
                <a:schemeClr val="bg1"/>
              </a:solidFill>
              <a:sym typeface="+mn-lt"/>
            </a:endParaRPr>
          </a:p>
        </p:txBody>
      </p:sp>
      <p:sp>
        <p:nvSpPr>
          <p:cNvPr id="7" name="Parallelogram 14">
            <a:extLst>
              <a:ext uri="{FF2B5EF4-FFF2-40B4-BE49-F238E27FC236}">
                <a16:creationId xmlns:a16="http://schemas.microsoft.com/office/drawing/2014/main" id="{48B06F46-E56F-345D-1AF2-CD4CABE38BE2}"/>
              </a:ext>
            </a:extLst>
          </p:cNvPr>
          <p:cNvSpPr/>
          <p:nvPr/>
        </p:nvSpPr>
        <p:spPr bwMode="auto">
          <a:xfrm>
            <a:off x="6339138" y="4940362"/>
            <a:ext cx="6019550" cy="867482"/>
          </a:xfrm>
          <a:prstGeom prst="rect">
            <a:avLst/>
          </a:prstGeom>
          <a:noFill/>
          <a:ln w="317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452438" indent="-452438" defTabSz="914400" eaLnBrk="0" fontAlgn="base" hangingPunct="0">
              <a:lnSpc>
                <a:spcPct val="120000"/>
              </a:lnSpc>
              <a:spcBef>
                <a:spcPct val="0"/>
              </a:spcBef>
              <a:spcAft>
                <a:spcPct val="0"/>
              </a:spcAft>
              <a:buFont typeface="Wingdings" panose="05000000000000000000" pitchFamily="2" charset="2"/>
              <a:buChar char="ü"/>
            </a:pPr>
            <a:r>
              <a:rPr lang="pl-PL" sz="2200" dirty="0">
                <a:solidFill>
                  <a:schemeClr val="bg1"/>
                </a:solidFill>
                <a:sym typeface="+mn-lt"/>
              </a:rPr>
              <a:t>Prosty w obsłudze</a:t>
            </a:r>
            <a:endParaRPr lang="en-US" sz="2200" dirty="0">
              <a:solidFill>
                <a:schemeClr val="bg1"/>
              </a:solidFill>
              <a:sym typeface="+mn-lt"/>
            </a:endParaRPr>
          </a:p>
          <a:p>
            <a:pPr marL="452438" indent="-452438" defTabSz="914400" eaLnBrk="0" fontAlgn="base" hangingPunct="0">
              <a:lnSpc>
                <a:spcPct val="120000"/>
              </a:lnSpc>
              <a:spcBef>
                <a:spcPct val="0"/>
              </a:spcBef>
              <a:spcAft>
                <a:spcPct val="0"/>
              </a:spcAft>
              <a:buFont typeface="Wingdings" panose="05000000000000000000" pitchFamily="2" charset="2"/>
              <a:buChar char="ü"/>
            </a:pPr>
            <a:r>
              <a:rPr lang="pl-PL" sz="2200" dirty="0">
                <a:solidFill>
                  <a:schemeClr val="bg1"/>
                </a:solidFill>
                <a:sym typeface="+mn-lt"/>
              </a:rPr>
              <a:t>Do 3 h pracy bez nadzoru</a:t>
            </a:r>
            <a:endParaRPr lang="en-US" sz="2200" dirty="0">
              <a:solidFill>
                <a:schemeClr val="bg1"/>
              </a:solidFill>
              <a:sym typeface="+mn-lt"/>
            </a:endParaRPr>
          </a:p>
        </p:txBody>
      </p:sp>
      <p:sp>
        <p:nvSpPr>
          <p:cNvPr id="8" name="Rechteck 18">
            <a:extLst>
              <a:ext uri="{FF2B5EF4-FFF2-40B4-BE49-F238E27FC236}">
                <a16:creationId xmlns:a16="http://schemas.microsoft.com/office/drawing/2014/main" id="{95310BAF-1C48-372C-06D4-CDA7FC9C756B}"/>
              </a:ext>
            </a:extLst>
          </p:cNvPr>
          <p:cNvSpPr/>
          <p:nvPr/>
        </p:nvSpPr>
        <p:spPr bwMode="auto">
          <a:xfrm flipH="1">
            <a:off x="12191997" y="-1"/>
            <a:ext cx="1203875" cy="6857999"/>
          </a:xfrm>
          <a:prstGeom prst="rect">
            <a:avLst/>
          </a:prstGeom>
          <a:solidFill>
            <a:srgbClr val="E6E6E6"/>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sym typeface="+mn-lt"/>
            </a:endParaRPr>
          </a:p>
        </p:txBody>
      </p:sp>
      <p:grpSp>
        <p:nvGrpSpPr>
          <p:cNvPr id="9" name="Group 73">
            <a:extLst>
              <a:ext uri="{FF2B5EF4-FFF2-40B4-BE49-F238E27FC236}">
                <a16:creationId xmlns:a16="http://schemas.microsoft.com/office/drawing/2014/main" id="{D5BDC8FD-CFD2-83F0-6FF3-5BDDF23B3ECF}"/>
              </a:ext>
            </a:extLst>
          </p:cNvPr>
          <p:cNvGrpSpPr>
            <a:grpSpLocks noChangeAspect="1"/>
          </p:cNvGrpSpPr>
          <p:nvPr/>
        </p:nvGrpSpPr>
        <p:grpSpPr>
          <a:xfrm>
            <a:off x="10292953" y="893063"/>
            <a:ext cx="1608310" cy="584939"/>
            <a:chOff x="343668" y="1851251"/>
            <a:chExt cx="11514733" cy="4187886"/>
          </a:xfrm>
        </p:grpSpPr>
        <p:sp>
          <p:nvSpPr>
            <p:cNvPr id="10" name="Rectangle 74">
              <a:extLst>
                <a:ext uri="{FF2B5EF4-FFF2-40B4-BE49-F238E27FC236}">
                  <a16:creationId xmlns:a16="http://schemas.microsoft.com/office/drawing/2014/main" id="{A4A10120-63E4-0C28-A487-C2774C309C08}"/>
                </a:ext>
              </a:extLst>
            </p:cNvPr>
            <p:cNvSpPr/>
            <p:nvPr/>
          </p:nvSpPr>
          <p:spPr bwMode="auto">
            <a:xfrm>
              <a:off x="343668" y="4455137"/>
              <a:ext cx="3139200" cy="1584000"/>
            </a:xfrm>
            <a:prstGeom prst="rect">
              <a:avLst/>
            </a:prstGeom>
            <a:solidFill>
              <a:schemeClr val="tx2">
                <a:lumMod val="75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11" name="Rectangle 75">
              <a:extLst>
                <a:ext uri="{FF2B5EF4-FFF2-40B4-BE49-F238E27FC236}">
                  <a16:creationId xmlns:a16="http://schemas.microsoft.com/office/drawing/2014/main" id="{BAF633B0-8C10-52F4-8BD5-C8194EED17D1}"/>
                </a:ext>
              </a:extLst>
            </p:cNvPr>
            <p:cNvSpPr/>
            <p:nvPr/>
          </p:nvSpPr>
          <p:spPr bwMode="auto">
            <a:xfrm>
              <a:off x="4296205" y="4455137"/>
              <a:ext cx="3139200" cy="1584000"/>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12" name="Rectangle 76">
              <a:extLst>
                <a:ext uri="{FF2B5EF4-FFF2-40B4-BE49-F238E27FC236}">
                  <a16:creationId xmlns:a16="http://schemas.microsoft.com/office/drawing/2014/main" id="{75EF351C-7E42-6FBA-CFA7-A360FC2F5439}"/>
                </a:ext>
              </a:extLst>
            </p:cNvPr>
            <p:cNvSpPr/>
            <p:nvPr/>
          </p:nvSpPr>
          <p:spPr bwMode="auto">
            <a:xfrm>
              <a:off x="8258401" y="4455137"/>
              <a:ext cx="3139200" cy="1584000"/>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13" name="Parallelogram 77">
              <a:extLst>
                <a:ext uri="{FF2B5EF4-FFF2-40B4-BE49-F238E27FC236}">
                  <a16:creationId xmlns:a16="http://schemas.microsoft.com/office/drawing/2014/main" id="{C7A415AE-D638-BA6E-50E0-5FEB65110E57}"/>
                </a:ext>
              </a:extLst>
            </p:cNvPr>
            <p:cNvSpPr/>
            <p:nvPr/>
          </p:nvSpPr>
          <p:spPr bwMode="auto">
            <a:xfrm>
              <a:off x="343668" y="3028232"/>
              <a:ext cx="3600000" cy="1440000"/>
            </a:xfrm>
            <a:prstGeom prst="parallelogram">
              <a:avLst>
                <a:gd name="adj" fmla="val 31844"/>
              </a:avLst>
            </a:prstGeom>
            <a:solidFill>
              <a:schemeClr val="tx2"/>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14" name="Group 78">
              <a:extLst>
                <a:ext uri="{FF2B5EF4-FFF2-40B4-BE49-F238E27FC236}">
                  <a16:creationId xmlns:a16="http://schemas.microsoft.com/office/drawing/2014/main" id="{E6358967-48C1-AFCA-42E6-90ADD4C48573}"/>
                </a:ext>
              </a:extLst>
            </p:cNvPr>
            <p:cNvGrpSpPr/>
            <p:nvPr/>
          </p:nvGrpSpPr>
          <p:grpSpPr>
            <a:xfrm>
              <a:off x="1571478" y="1851251"/>
              <a:ext cx="1504370" cy="1504370"/>
              <a:chOff x="5343815" y="1101555"/>
              <a:chExt cx="1504370" cy="1504370"/>
            </a:xfrm>
          </p:grpSpPr>
          <p:sp>
            <p:nvSpPr>
              <p:cNvPr id="26" name="Freeform: Shape 90">
                <a:extLst>
                  <a:ext uri="{FF2B5EF4-FFF2-40B4-BE49-F238E27FC236}">
                    <a16:creationId xmlns:a16="http://schemas.microsoft.com/office/drawing/2014/main" id="{14DEED10-7D1A-EC56-79B0-F39F6EFF3B4B}"/>
                  </a:ext>
                </a:extLst>
              </p:cNvPr>
              <p:cNvSpPr/>
              <p:nvPr/>
            </p:nvSpPr>
            <p:spPr>
              <a:xfrm>
                <a:off x="5343815" y="1101555"/>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tx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marL="0" lvl="0" indent="0" algn="ctr" defTabSz="1289050">
                  <a:lnSpc>
                    <a:spcPct val="90000"/>
                  </a:lnSpc>
                  <a:spcBef>
                    <a:spcPct val="0"/>
                  </a:spcBef>
                  <a:spcAft>
                    <a:spcPct val="35000"/>
                  </a:spcAft>
                  <a:buNone/>
                </a:pPr>
                <a:endParaRPr lang="en-US" sz="2900" kern="1200"/>
              </a:p>
            </p:txBody>
          </p:sp>
          <p:pic>
            <p:nvPicPr>
              <p:cNvPr id="27" name="Graphic 91">
                <a:extLst>
                  <a:ext uri="{FF2B5EF4-FFF2-40B4-BE49-F238E27FC236}">
                    <a16:creationId xmlns:a16="http://schemas.microsoft.com/office/drawing/2014/main" id="{919FBFC3-98C1-703C-2964-A6E845200927}"/>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23810" y="1281550"/>
                <a:ext cx="1144381" cy="1144381"/>
              </a:xfrm>
              <a:prstGeom prst="rect">
                <a:avLst/>
              </a:prstGeom>
            </p:spPr>
          </p:pic>
        </p:grpSp>
        <p:sp>
          <p:nvSpPr>
            <p:cNvPr id="15" name="Parallelogram 79">
              <a:extLst>
                <a:ext uri="{FF2B5EF4-FFF2-40B4-BE49-F238E27FC236}">
                  <a16:creationId xmlns:a16="http://schemas.microsoft.com/office/drawing/2014/main" id="{158EB0C7-B7FB-0D1E-42B3-69A8C401A5A7}"/>
                </a:ext>
              </a:extLst>
            </p:cNvPr>
            <p:cNvSpPr/>
            <p:nvPr/>
          </p:nvSpPr>
          <p:spPr bwMode="auto">
            <a:xfrm>
              <a:off x="8258401" y="3028232"/>
              <a:ext cx="3600000" cy="1440000"/>
            </a:xfrm>
            <a:prstGeom prst="parallelogram">
              <a:avLst>
                <a:gd name="adj" fmla="val 31844"/>
              </a:avLst>
            </a:prstGeom>
            <a:solidFill>
              <a:schemeClr val="bg2">
                <a:lumMod val="75000"/>
              </a:schemeClr>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16" name="Group 80">
              <a:extLst>
                <a:ext uri="{FF2B5EF4-FFF2-40B4-BE49-F238E27FC236}">
                  <a16:creationId xmlns:a16="http://schemas.microsoft.com/office/drawing/2014/main" id="{9CCEAFED-E81C-5824-F13F-F47278502E8B}"/>
                </a:ext>
              </a:extLst>
            </p:cNvPr>
            <p:cNvGrpSpPr/>
            <p:nvPr/>
          </p:nvGrpSpPr>
          <p:grpSpPr>
            <a:xfrm>
              <a:off x="9486211" y="1851251"/>
              <a:ext cx="1504370" cy="1504370"/>
              <a:chOff x="7167592" y="4260429"/>
              <a:chExt cx="1504370" cy="1504370"/>
            </a:xfrm>
          </p:grpSpPr>
          <p:sp>
            <p:nvSpPr>
              <p:cNvPr id="24" name="Freeform: Shape 88">
                <a:extLst>
                  <a:ext uri="{FF2B5EF4-FFF2-40B4-BE49-F238E27FC236}">
                    <a16:creationId xmlns:a16="http://schemas.microsoft.com/office/drawing/2014/main" id="{07BAA4D9-335B-082E-87F3-90FFDFF78B28}"/>
                  </a:ext>
                </a:extLst>
              </p:cNvPr>
              <p:cNvSpPr/>
              <p:nvPr/>
            </p:nvSpPr>
            <p:spPr>
              <a:xfrm>
                <a:off x="7167592" y="4260429"/>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marL="0" lvl="0" indent="0" algn="ctr" defTabSz="1289050">
                  <a:lnSpc>
                    <a:spcPct val="90000"/>
                  </a:lnSpc>
                  <a:spcBef>
                    <a:spcPct val="0"/>
                  </a:spcBef>
                  <a:spcAft>
                    <a:spcPct val="35000"/>
                  </a:spcAft>
                  <a:buNone/>
                </a:pPr>
                <a:endParaRPr lang="en-US" sz="2900" kern="1200"/>
              </a:p>
            </p:txBody>
          </p:sp>
          <p:pic>
            <p:nvPicPr>
              <p:cNvPr id="25" name="Graphic 89">
                <a:extLst>
                  <a:ext uri="{FF2B5EF4-FFF2-40B4-BE49-F238E27FC236}">
                    <a16:creationId xmlns:a16="http://schemas.microsoft.com/office/drawing/2014/main" id="{FB6C573D-C122-A95C-8236-B110EE8634FF}"/>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47587" y="4440424"/>
                <a:ext cx="1144381" cy="1144381"/>
              </a:xfrm>
              <a:prstGeom prst="rect">
                <a:avLst/>
              </a:prstGeom>
            </p:spPr>
          </p:pic>
        </p:grpSp>
        <p:sp>
          <p:nvSpPr>
            <p:cNvPr id="17" name="Parallelogram 81">
              <a:extLst>
                <a:ext uri="{FF2B5EF4-FFF2-40B4-BE49-F238E27FC236}">
                  <a16:creationId xmlns:a16="http://schemas.microsoft.com/office/drawing/2014/main" id="{F137F863-049C-34CD-8A00-364480101A5A}"/>
                </a:ext>
              </a:extLst>
            </p:cNvPr>
            <p:cNvSpPr/>
            <p:nvPr/>
          </p:nvSpPr>
          <p:spPr bwMode="auto">
            <a:xfrm>
              <a:off x="4296205" y="3028232"/>
              <a:ext cx="3600000" cy="1440000"/>
            </a:xfrm>
            <a:prstGeom prst="parallelogram">
              <a:avLst>
                <a:gd name="adj" fmla="val 31844"/>
              </a:avLst>
            </a:prstGeom>
            <a:solidFill>
              <a:schemeClr val="bg2">
                <a:lumMod val="75000"/>
              </a:schemeClr>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18" name="Group 82">
              <a:extLst>
                <a:ext uri="{FF2B5EF4-FFF2-40B4-BE49-F238E27FC236}">
                  <a16:creationId xmlns:a16="http://schemas.microsoft.com/office/drawing/2014/main" id="{3DDBA36D-FA99-09FD-E258-49BBA4EB5DA0}"/>
                </a:ext>
              </a:extLst>
            </p:cNvPr>
            <p:cNvGrpSpPr/>
            <p:nvPr/>
          </p:nvGrpSpPr>
          <p:grpSpPr>
            <a:xfrm>
              <a:off x="5528845" y="1851251"/>
              <a:ext cx="1504370" cy="1504370"/>
              <a:chOff x="3520038" y="4260429"/>
              <a:chExt cx="1504370" cy="1504370"/>
            </a:xfrm>
          </p:grpSpPr>
          <p:sp>
            <p:nvSpPr>
              <p:cNvPr id="19" name="Freeform: Shape 83">
                <a:extLst>
                  <a:ext uri="{FF2B5EF4-FFF2-40B4-BE49-F238E27FC236}">
                    <a16:creationId xmlns:a16="http://schemas.microsoft.com/office/drawing/2014/main" id="{DC46C7BD-B41D-4ABA-C5B8-6D4116271CE0}"/>
                  </a:ext>
                </a:extLst>
              </p:cNvPr>
              <p:cNvSpPr/>
              <p:nvPr/>
            </p:nvSpPr>
            <p:spPr>
              <a:xfrm>
                <a:off x="3520038" y="4260429"/>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marL="0" lvl="0" indent="0" algn="ctr" defTabSz="1289050">
                  <a:lnSpc>
                    <a:spcPct val="90000"/>
                  </a:lnSpc>
                  <a:spcBef>
                    <a:spcPct val="0"/>
                  </a:spcBef>
                  <a:spcAft>
                    <a:spcPct val="35000"/>
                  </a:spcAft>
                  <a:buNone/>
                </a:pPr>
                <a:endParaRPr lang="en-US" sz="2900" kern="1200"/>
              </a:p>
            </p:txBody>
          </p:sp>
          <p:grpSp>
            <p:nvGrpSpPr>
              <p:cNvPr id="20" name="Group 84">
                <a:extLst>
                  <a:ext uri="{FF2B5EF4-FFF2-40B4-BE49-F238E27FC236}">
                    <a16:creationId xmlns:a16="http://schemas.microsoft.com/office/drawing/2014/main" id="{9585FA1C-7B9A-87CA-AA81-ED60EBA21E49}"/>
                  </a:ext>
                </a:extLst>
              </p:cNvPr>
              <p:cNvGrpSpPr/>
              <p:nvPr/>
            </p:nvGrpSpPr>
            <p:grpSpPr>
              <a:xfrm>
                <a:off x="3886675" y="4548065"/>
                <a:ext cx="756613" cy="987042"/>
                <a:chOff x="3886675" y="4548065"/>
                <a:chExt cx="756613" cy="987042"/>
              </a:xfrm>
            </p:grpSpPr>
            <p:sp>
              <p:nvSpPr>
                <p:cNvPr id="21" name="Freeform: Shape 85">
                  <a:extLst>
                    <a:ext uri="{FF2B5EF4-FFF2-40B4-BE49-F238E27FC236}">
                      <a16:creationId xmlns:a16="http://schemas.microsoft.com/office/drawing/2014/main" id="{71F9C893-2F04-09F8-E08F-0755903E8353}"/>
                    </a:ext>
                  </a:extLst>
                </p:cNvPr>
                <p:cNvSpPr/>
                <p:nvPr/>
              </p:nvSpPr>
              <p:spPr>
                <a:xfrm>
                  <a:off x="3886675" y="4569787"/>
                  <a:ext cx="756613" cy="965320"/>
                </a:xfrm>
                <a:custGeom>
                  <a:avLst/>
                  <a:gdLst>
                    <a:gd name="connsiteX0" fmla="*/ 469946 w 756613"/>
                    <a:gd name="connsiteY0" fmla="*/ 616988 h 965320"/>
                    <a:gd name="connsiteX1" fmla="*/ 469946 w 756613"/>
                    <a:gd name="connsiteY1" fmla="*/ 628611 h 965320"/>
                    <a:gd name="connsiteX2" fmla="*/ 452959 w 756613"/>
                    <a:gd name="connsiteY2" fmla="*/ 913633 h 965320"/>
                    <a:gd name="connsiteX3" fmla="*/ 459039 w 756613"/>
                    <a:gd name="connsiteY3" fmla="*/ 943315 h 965320"/>
                    <a:gd name="connsiteX4" fmla="*/ 530741 w 756613"/>
                    <a:gd name="connsiteY4" fmla="*/ 948680 h 965320"/>
                    <a:gd name="connsiteX5" fmla="*/ 539682 w 756613"/>
                    <a:gd name="connsiteY5" fmla="*/ 923646 h 965320"/>
                    <a:gd name="connsiteX6" fmla="*/ 556669 w 756613"/>
                    <a:gd name="connsiteY6" fmla="*/ 747340 h 965320"/>
                    <a:gd name="connsiteX7" fmla="*/ 564894 w 756613"/>
                    <a:gd name="connsiteY7" fmla="*/ 660081 h 965320"/>
                    <a:gd name="connsiteX8" fmla="*/ 566682 w 756613"/>
                    <a:gd name="connsiteY8" fmla="*/ 651498 h 965320"/>
                    <a:gd name="connsiteX9" fmla="*/ 573656 w 756613"/>
                    <a:gd name="connsiteY9" fmla="*/ 660975 h 965320"/>
                    <a:gd name="connsiteX10" fmla="*/ 673074 w 756613"/>
                    <a:gd name="connsiteY10" fmla="*/ 828162 h 965320"/>
                    <a:gd name="connsiteX11" fmla="*/ 701683 w 756613"/>
                    <a:gd name="connsiteY11" fmla="*/ 851228 h 965320"/>
                    <a:gd name="connsiteX12" fmla="*/ 756578 w 756613"/>
                    <a:gd name="connsiteY12" fmla="*/ 814572 h 965320"/>
                    <a:gd name="connsiteX13" fmla="*/ 749425 w 756613"/>
                    <a:gd name="connsiteY13" fmla="*/ 783460 h 965320"/>
                    <a:gd name="connsiteX14" fmla="*/ 602802 w 756613"/>
                    <a:gd name="connsiteY14" fmla="*/ 530444 h 965320"/>
                    <a:gd name="connsiteX15" fmla="*/ 538251 w 756613"/>
                    <a:gd name="connsiteY15" fmla="*/ 499152 h 965320"/>
                    <a:gd name="connsiteX16" fmla="*/ 425422 w 756613"/>
                    <a:gd name="connsiteY16" fmla="*/ 519179 h 965320"/>
                    <a:gd name="connsiteX17" fmla="*/ 419164 w 756613"/>
                    <a:gd name="connsiteY17" fmla="*/ 520073 h 965320"/>
                    <a:gd name="connsiteX18" fmla="*/ 388945 w 756613"/>
                    <a:gd name="connsiteY18" fmla="*/ 304071 h 965320"/>
                    <a:gd name="connsiteX19" fmla="*/ 401104 w 756613"/>
                    <a:gd name="connsiteY19" fmla="*/ 279574 h 965320"/>
                    <a:gd name="connsiteX20" fmla="*/ 528059 w 756613"/>
                    <a:gd name="connsiteY20" fmla="*/ 192315 h 965320"/>
                    <a:gd name="connsiteX21" fmla="*/ 550947 w 756613"/>
                    <a:gd name="connsiteY21" fmla="*/ 154408 h 965320"/>
                    <a:gd name="connsiteX22" fmla="*/ 527523 w 756613"/>
                    <a:gd name="connsiteY22" fmla="*/ 118646 h 965320"/>
                    <a:gd name="connsiteX23" fmla="*/ 369634 w 756613"/>
                    <a:gd name="connsiteY23" fmla="*/ 37645 h 965320"/>
                    <a:gd name="connsiteX24" fmla="*/ 358727 w 756613"/>
                    <a:gd name="connsiteY24" fmla="*/ 34784 h 965320"/>
                    <a:gd name="connsiteX25" fmla="*/ 334587 w 756613"/>
                    <a:gd name="connsiteY25" fmla="*/ 24056 h 965320"/>
                    <a:gd name="connsiteX26" fmla="*/ 198156 w 756613"/>
                    <a:gd name="connsiteY26" fmla="*/ 41042 h 965320"/>
                    <a:gd name="connsiteX27" fmla="*/ 181526 w 756613"/>
                    <a:gd name="connsiteY27" fmla="*/ 55526 h 965320"/>
                    <a:gd name="connsiteX28" fmla="*/ 24532 w 756613"/>
                    <a:gd name="connsiteY28" fmla="*/ 137600 h 965320"/>
                    <a:gd name="connsiteX29" fmla="*/ 11478 w 756613"/>
                    <a:gd name="connsiteY29" fmla="*/ 202507 h 965320"/>
                    <a:gd name="connsiteX30" fmla="*/ 30611 w 756613"/>
                    <a:gd name="connsiteY30" fmla="*/ 218421 h 965320"/>
                    <a:gd name="connsiteX31" fmla="*/ 152023 w 756613"/>
                    <a:gd name="connsiteY31" fmla="*/ 303535 h 965320"/>
                    <a:gd name="connsiteX32" fmla="*/ 179917 w 756613"/>
                    <a:gd name="connsiteY32" fmla="*/ 352350 h 965320"/>
                    <a:gd name="connsiteX33" fmla="*/ 223725 w 756613"/>
                    <a:gd name="connsiteY33" fmla="*/ 618597 h 965320"/>
                    <a:gd name="connsiteX34" fmla="*/ 304547 w 756613"/>
                    <a:gd name="connsiteY34" fmla="*/ 664372 h 965320"/>
                    <a:gd name="connsiteX35" fmla="*/ 459754 w 756613"/>
                    <a:gd name="connsiteY35" fmla="*/ 619670 h 965320"/>
                    <a:gd name="connsiteX36" fmla="*/ 469946 w 756613"/>
                    <a:gd name="connsiteY36" fmla="*/ 616988 h 965320"/>
                    <a:gd name="connsiteX37" fmla="*/ 190288 w 756613"/>
                    <a:gd name="connsiteY37" fmla="*/ 126513 h 965320"/>
                    <a:gd name="connsiteX38" fmla="*/ 280944 w 756613"/>
                    <a:gd name="connsiteY38" fmla="*/ 164063 h 965320"/>
                    <a:gd name="connsiteX39" fmla="*/ 358190 w 756613"/>
                    <a:gd name="connsiteY39" fmla="*/ 108632 h 965320"/>
                    <a:gd name="connsiteX40" fmla="*/ 447058 w 756613"/>
                    <a:gd name="connsiteY40" fmla="*/ 155302 h 965320"/>
                    <a:gd name="connsiteX41" fmla="*/ 353541 w 756613"/>
                    <a:gd name="connsiteY41" fmla="*/ 205011 h 965320"/>
                    <a:gd name="connsiteX42" fmla="*/ 341203 w 756613"/>
                    <a:gd name="connsiteY42" fmla="*/ 209481 h 965320"/>
                    <a:gd name="connsiteX43" fmla="*/ 201195 w 756613"/>
                    <a:gd name="connsiteY43" fmla="*/ 223965 h 965320"/>
                    <a:gd name="connsiteX44" fmla="*/ 192612 w 756613"/>
                    <a:gd name="connsiteY44" fmla="*/ 222534 h 965320"/>
                    <a:gd name="connsiteX45" fmla="*/ 113042 w 756613"/>
                    <a:gd name="connsiteY45" fmla="*/ 181944 h 965320"/>
                    <a:gd name="connsiteX46" fmla="*/ 106069 w 756613"/>
                    <a:gd name="connsiteY46" fmla="*/ 177474 h 965320"/>
                    <a:gd name="connsiteX47" fmla="*/ 190288 w 756613"/>
                    <a:gd name="connsiteY47" fmla="*/ 126513 h 96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56613" h="965320">
                      <a:moveTo>
                        <a:pt x="469946" y="616988"/>
                      </a:moveTo>
                      <a:cubicBezTo>
                        <a:pt x="469946" y="621637"/>
                        <a:pt x="469946" y="625213"/>
                        <a:pt x="469946" y="628611"/>
                      </a:cubicBezTo>
                      <a:cubicBezTo>
                        <a:pt x="467979" y="724274"/>
                        <a:pt x="454390" y="817970"/>
                        <a:pt x="452959" y="913633"/>
                      </a:cubicBezTo>
                      <a:cubicBezTo>
                        <a:pt x="452780" y="923468"/>
                        <a:pt x="454747" y="934375"/>
                        <a:pt x="459039" y="943315"/>
                      </a:cubicBezTo>
                      <a:cubicBezTo>
                        <a:pt x="471734" y="969779"/>
                        <a:pt x="514827" y="973355"/>
                        <a:pt x="530741" y="948680"/>
                      </a:cubicBezTo>
                      <a:cubicBezTo>
                        <a:pt x="535390" y="941348"/>
                        <a:pt x="538788" y="932229"/>
                        <a:pt x="539682" y="923646"/>
                      </a:cubicBezTo>
                      <a:cubicBezTo>
                        <a:pt x="545761" y="864997"/>
                        <a:pt x="551126" y="806168"/>
                        <a:pt x="556669" y="747340"/>
                      </a:cubicBezTo>
                      <a:cubicBezTo>
                        <a:pt x="559351" y="718194"/>
                        <a:pt x="562033" y="689227"/>
                        <a:pt x="564894" y="660081"/>
                      </a:cubicBezTo>
                      <a:cubicBezTo>
                        <a:pt x="565073" y="657578"/>
                        <a:pt x="565788" y="655253"/>
                        <a:pt x="566682" y="651498"/>
                      </a:cubicBezTo>
                      <a:cubicBezTo>
                        <a:pt x="569543" y="655432"/>
                        <a:pt x="571689" y="658114"/>
                        <a:pt x="573656" y="660975"/>
                      </a:cubicBezTo>
                      <a:cubicBezTo>
                        <a:pt x="610312" y="714439"/>
                        <a:pt x="636418" y="774698"/>
                        <a:pt x="673074" y="828162"/>
                      </a:cubicBezTo>
                      <a:cubicBezTo>
                        <a:pt x="680405" y="838712"/>
                        <a:pt x="689167" y="847295"/>
                        <a:pt x="701683" y="851228"/>
                      </a:cubicBezTo>
                      <a:cubicBezTo>
                        <a:pt x="724034" y="858381"/>
                        <a:pt x="756041" y="837997"/>
                        <a:pt x="756578" y="814572"/>
                      </a:cubicBezTo>
                      <a:cubicBezTo>
                        <a:pt x="756935" y="804202"/>
                        <a:pt x="754611" y="792400"/>
                        <a:pt x="749425" y="783460"/>
                      </a:cubicBezTo>
                      <a:cubicBezTo>
                        <a:pt x="701147" y="698704"/>
                        <a:pt x="652332" y="614485"/>
                        <a:pt x="602802" y="530444"/>
                      </a:cubicBezTo>
                      <a:cubicBezTo>
                        <a:pt x="588676" y="506484"/>
                        <a:pt x="567397" y="493967"/>
                        <a:pt x="538251" y="499152"/>
                      </a:cubicBezTo>
                      <a:cubicBezTo>
                        <a:pt x="499450" y="506126"/>
                        <a:pt x="464224" y="512384"/>
                        <a:pt x="425422" y="519179"/>
                      </a:cubicBezTo>
                      <a:cubicBezTo>
                        <a:pt x="423813" y="519537"/>
                        <a:pt x="422383" y="519716"/>
                        <a:pt x="419164" y="520073"/>
                      </a:cubicBezTo>
                      <a:cubicBezTo>
                        <a:pt x="415588" y="501477"/>
                        <a:pt x="394846" y="357535"/>
                        <a:pt x="388945" y="304071"/>
                      </a:cubicBezTo>
                      <a:cubicBezTo>
                        <a:pt x="387515" y="291912"/>
                        <a:pt x="390376" y="286190"/>
                        <a:pt x="401104" y="279574"/>
                      </a:cubicBezTo>
                      <a:cubicBezTo>
                        <a:pt x="447953" y="250965"/>
                        <a:pt x="481926" y="221998"/>
                        <a:pt x="528059" y="192315"/>
                      </a:cubicBezTo>
                      <a:cubicBezTo>
                        <a:pt x="541649" y="183554"/>
                        <a:pt x="550589" y="171216"/>
                        <a:pt x="550947" y="154408"/>
                      </a:cubicBezTo>
                      <a:cubicBezTo>
                        <a:pt x="551126" y="145825"/>
                        <a:pt x="545046" y="127944"/>
                        <a:pt x="527523" y="118646"/>
                      </a:cubicBezTo>
                      <a:cubicBezTo>
                        <a:pt x="466728" y="86818"/>
                        <a:pt x="430250" y="69473"/>
                        <a:pt x="369634" y="37645"/>
                      </a:cubicBezTo>
                      <a:cubicBezTo>
                        <a:pt x="366415" y="35857"/>
                        <a:pt x="361945" y="34069"/>
                        <a:pt x="358727" y="34784"/>
                      </a:cubicBezTo>
                      <a:cubicBezTo>
                        <a:pt x="347283" y="37824"/>
                        <a:pt x="341561" y="30671"/>
                        <a:pt x="334587" y="24056"/>
                      </a:cubicBezTo>
                      <a:cubicBezTo>
                        <a:pt x="293819" y="-14031"/>
                        <a:pt x="228196" y="-5806"/>
                        <a:pt x="198156" y="41042"/>
                      </a:cubicBezTo>
                      <a:cubicBezTo>
                        <a:pt x="193864" y="47837"/>
                        <a:pt x="189036" y="52129"/>
                        <a:pt x="181526" y="55526"/>
                      </a:cubicBezTo>
                      <a:cubicBezTo>
                        <a:pt x="164897" y="63036"/>
                        <a:pt x="36333" y="131520"/>
                        <a:pt x="24532" y="137600"/>
                      </a:cubicBezTo>
                      <a:cubicBezTo>
                        <a:pt x="-3363" y="152083"/>
                        <a:pt x="-7118" y="182838"/>
                        <a:pt x="11478" y="202507"/>
                      </a:cubicBezTo>
                      <a:cubicBezTo>
                        <a:pt x="17200" y="208587"/>
                        <a:pt x="23637" y="213951"/>
                        <a:pt x="30611" y="218421"/>
                      </a:cubicBezTo>
                      <a:cubicBezTo>
                        <a:pt x="77459" y="248819"/>
                        <a:pt x="152023" y="303535"/>
                        <a:pt x="152023" y="303535"/>
                      </a:cubicBezTo>
                      <a:cubicBezTo>
                        <a:pt x="170261" y="314085"/>
                        <a:pt x="177235" y="330177"/>
                        <a:pt x="179917" y="352350"/>
                      </a:cubicBezTo>
                      <a:cubicBezTo>
                        <a:pt x="181169" y="361827"/>
                        <a:pt x="223725" y="618597"/>
                        <a:pt x="223725" y="618597"/>
                      </a:cubicBezTo>
                      <a:cubicBezTo>
                        <a:pt x="233202" y="656505"/>
                        <a:pt x="266818" y="675101"/>
                        <a:pt x="304547" y="664372"/>
                      </a:cubicBezTo>
                      <a:cubicBezTo>
                        <a:pt x="356402" y="649531"/>
                        <a:pt x="408078" y="634511"/>
                        <a:pt x="459754" y="619670"/>
                      </a:cubicBezTo>
                      <a:cubicBezTo>
                        <a:pt x="462257" y="619134"/>
                        <a:pt x="465297" y="618240"/>
                        <a:pt x="469946" y="616988"/>
                      </a:cubicBezTo>
                      <a:close/>
                      <a:moveTo>
                        <a:pt x="190288" y="126513"/>
                      </a:moveTo>
                      <a:cubicBezTo>
                        <a:pt x="210136" y="166030"/>
                        <a:pt x="236778" y="168891"/>
                        <a:pt x="280944" y="164063"/>
                      </a:cubicBezTo>
                      <a:cubicBezTo>
                        <a:pt x="326720" y="159057"/>
                        <a:pt x="346567" y="140818"/>
                        <a:pt x="358190" y="108632"/>
                      </a:cubicBezTo>
                      <a:cubicBezTo>
                        <a:pt x="366237" y="111493"/>
                        <a:pt x="417018" y="137421"/>
                        <a:pt x="447058" y="155302"/>
                      </a:cubicBezTo>
                      <a:cubicBezTo>
                        <a:pt x="443661" y="157269"/>
                        <a:pt x="383760" y="189097"/>
                        <a:pt x="353541" y="205011"/>
                      </a:cubicBezTo>
                      <a:cubicBezTo>
                        <a:pt x="348713" y="207514"/>
                        <a:pt x="341203" y="209481"/>
                        <a:pt x="341203" y="209481"/>
                      </a:cubicBezTo>
                      <a:lnTo>
                        <a:pt x="201195" y="223965"/>
                      </a:lnTo>
                      <a:cubicBezTo>
                        <a:pt x="199586" y="225216"/>
                        <a:pt x="195116" y="223786"/>
                        <a:pt x="192612" y="222534"/>
                      </a:cubicBezTo>
                      <a:cubicBezTo>
                        <a:pt x="165970" y="209123"/>
                        <a:pt x="139506" y="195534"/>
                        <a:pt x="113042" y="181944"/>
                      </a:cubicBezTo>
                      <a:cubicBezTo>
                        <a:pt x="110896" y="180871"/>
                        <a:pt x="108930" y="179441"/>
                        <a:pt x="106069" y="177474"/>
                      </a:cubicBezTo>
                      <a:cubicBezTo>
                        <a:pt x="143797" y="152620"/>
                        <a:pt x="183314" y="130805"/>
                        <a:pt x="190288" y="126513"/>
                      </a:cubicBezTo>
                      <a:close/>
                    </a:path>
                  </a:pathLst>
                </a:custGeom>
                <a:solidFill>
                  <a:schemeClr val="bg1"/>
                </a:solidFill>
                <a:ln w="17859" cap="flat">
                  <a:noFill/>
                  <a:prstDash val="solid"/>
                  <a:miter/>
                </a:ln>
              </p:spPr>
              <p:txBody>
                <a:bodyPr rtlCol="0" anchor="ctr"/>
                <a:lstStyle/>
                <a:p>
                  <a:endParaRPr lang="en-US"/>
                </a:p>
              </p:txBody>
            </p:sp>
            <p:sp>
              <p:nvSpPr>
                <p:cNvPr id="22" name="Freeform: Shape 86">
                  <a:extLst>
                    <a:ext uri="{FF2B5EF4-FFF2-40B4-BE49-F238E27FC236}">
                      <a16:creationId xmlns:a16="http://schemas.microsoft.com/office/drawing/2014/main" id="{C3937B74-782E-1A0B-8092-57ABD0E46DCB}"/>
                    </a:ext>
                  </a:extLst>
                </p:cNvPr>
                <p:cNvSpPr/>
                <p:nvPr/>
              </p:nvSpPr>
              <p:spPr>
                <a:xfrm>
                  <a:off x="4054433" y="4548065"/>
                  <a:ext cx="203306" cy="202065"/>
                </a:xfrm>
                <a:custGeom>
                  <a:avLst/>
                  <a:gdLst>
                    <a:gd name="connsiteX0" fmla="*/ 100670 w 203306"/>
                    <a:gd name="connsiteY0" fmla="*/ 2 h 202065"/>
                    <a:gd name="connsiteX1" fmla="*/ 203306 w 203306"/>
                    <a:gd name="connsiteY1" fmla="*/ 100851 h 202065"/>
                    <a:gd name="connsiteX2" fmla="*/ 102637 w 203306"/>
                    <a:gd name="connsiteY2" fmla="*/ 202057 h 202065"/>
                    <a:gd name="connsiteX3" fmla="*/ 0 w 203306"/>
                    <a:gd name="connsiteY3" fmla="*/ 100493 h 202065"/>
                    <a:gd name="connsiteX4" fmla="*/ 100670 w 203306"/>
                    <a:gd name="connsiteY4" fmla="*/ 2 h 202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306" h="202065">
                      <a:moveTo>
                        <a:pt x="100670" y="2"/>
                      </a:moveTo>
                      <a:cubicBezTo>
                        <a:pt x="157889" y="-355"/>
                        <a:pt x="203306" y="44347"/>
                        <a:pt x="203306" y="100851"/>
                      </a:cubicBezTo>
                      <a:cubicBezTo>
                        <a:pt x="203128" y="156103"/>
                        <a:pt x="158246" y="201163"/>
                        <a:pt x="102637" y="202057"/>
                      </a:cubicBezTo>
                      <a:cubicBezTo>
                        <a:pt x="46669" y="202772"/>
                        <a:pt x="0" y="156639"/>
                        <a:pt x="0" y="100493"/>
                      </a:cubicBezTo>
                      <a:cubicBezTo>
                        <a:pt x="179" y="44883"/>
                        <a:pt x="44702" y="360"/>
                        <a:pt x="100670" y="2"/>
                      </a:cubicBezTo>
                    </a:path>
                  </a:pathLst>
                </a:custGeom>
                <a:solidFill>
                  <a:schemeClr val="bg1"/>
                </a:solidFill>
                <a:ln w="17859" cap="flat">
                  <a:noFill/>
                  <a:prstDash val="solid"/>
                  <a:miter/>
                </a:ln>
              </p:spPr>
              <p:txBody>
                <a:bodyPr rtlCol="0" anchor="ctr"/>
                <a:lstStyle/>
                <a:p>
                  <a:endParaRPr lang="en-US"/>
                </a:p>
              </p:txBody>
            </p:sp>
            <p:sp>
              <p:nvSpPr>
                <p:cNvPr id="23" name="Freeform: Shape 87">
                  <a:extLst>
                    <a:ext uri="{FF2B5EF4-FFF2-40B4-BE49-F238E27FC236}">
                      <a16:creationId xmlns:a16="http://schemas.microsoft.com/office/drawing/2014/main" id="{6140607C-0974-4BD8-6D5B-38E009F14EE2}"/>
                    </a:ext>
                  </a:extLst>
                </p:cNvPr>
                <p:cNvSpPr/>
                <p:nvPr/>
              </p:nvSpPr>
              <p:spPr>
                <a:xfrm>
                  <a:off x="3979333" y="4920169"/>
                  <a:ext cx="324360" cy="407864"/>
                </a:xfrm>
                <a:custGeom>
                  <a:avLst/>
                  <a:gdLst>
                    <a:gd name="connsiteX0" fmla="*/ 0 w 324360"/>
                    <a:gd name="connsiteY0" fmla="*/ 0 h 407864"/>
                    <a:gd name="connsiteX1" fmla="*/ 99060 w 324360"/>
                    <a:gd name="connsiteY1" fmla="*/ 407865 h 407864"/>
                    <a:gd name="connsiteX2" fmla="*/ 324360 w 324360"/>
                    <a:gd name="connsiteY2" fmla="*/ 343672 h 407864"/>
                  </a:gdLst>
                  <a:ahLst/>
                  <a:cxnLst>
                    <a:cxn ang="0">
                      <a:pos x="connsiteX0" y="connsiteY0"/>
                    </a:cxn>
                    <a:cxn ang="0">
                      <a:pos x="connsiteX1" y="connsiteY1"/>
                    </a:cxn>
                    <a:cxn ang="0">
                      <a:pos x="connsiteX2" y="connsiteY2"/>
                    </a:cxn>
                  </a:cxnLst>
                  <a:rect l="l" t="t" r="r" b="b"/>
                  <a:pathLst>
                    <a:path w="324360" h="407864">
                      <a:moveTo>
                        <a:pt x="0" y="0"/>
                      </a:moveTo>
                      <a:lnTo>
                        <a:pt x="99060" y="407865"/>
                      </a:lnTo>
                      <a:lnTo>
                        <a:pt x="324360" y="343672"/>
                      </a:lnTo>
                    </a:path>
                  </a:pathLst>
                </a:custGeom>
                <a:noFill/>
                <a:ln w="9525" cap="rnd">
                  <a:solidFill>
                    <a:schemeClr val="bg1"/>
                  </a:solidFill>
                  <a:prstDash val="solid"/>
                  <a:round/>
                </a:ln>
              </p:spPr>
              <p:txBody>
                <a:bodyPr rtlCol="0" anchor="ctr"/>
                <a:lstStyle/>
                <a:p>
                  <a:endParaRPr lang="en-US"/>
                </a:p>
              </p:txBody>
            </p:sp>
          </p:grpSp>
        </p:grpSp>
      </p:grpSp>
    </p:spTree>
    <p:extLst>
      <p:ext uri="{BB962C8B-B14F-4D97-AF65-F5344CB8AC3E}">
        <p14:creationId xmlns:p14="http://schemas.microsoft.com/office/powerpoint/2010/main" val="25217547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platzhalter 13" descr="Ein Bild, das drinnen, Person, Küche, Ausguss enthält.&#10;&#10;Automatisch generierte Beschreibung">
            <a:extLst>
              <a:ext uri="{FF2B5EF4-FFF2-40B4-BE49-F238E27FC236}">
                <a16:creationId xmlns:a16="http://schemas.microsoft.com/office/drawing/2014/main" id="{2AAE5933-8D1C-DF49-F2B1-E778E2F8D9B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60459" y="-1"/>
            <a:ext cx="6631541" cy="6858000"/>
          </a:xfrm>
          <a:custGeom>
            <a:avLst/>
            <a:gdLst>
              <a:gd name="connsiteX0" fmla="*/ 4761301 w 6631541"/>
              <a:gd name="connsiteY0" fmla="*/ 1 h 6858000"/>
              <a:gd name="connsiteX1" fmla="*/ 4761301 w 6631541"/>
              <a:gd name="connsiteY1" fmla="*/ 673805 h 6858000"/>
              <a:gd name="connsiteX2" fmla="*/ 6326740 w 6631541"/>
              <a:gd name="connsiteY2" fmla="*/ 673805 h 6858000"/>
              <a:gd name="connsiteX3" fmla="*/ 6326740 w 6631541"/>
              <a:gd name="connsiteY3" fmla="*/ 1 h 6858000"/>
              <a:gd name="connsiteX4" fmla="*/ 2183862 w 6631541"/>
              <a:gd name="connsiteY4" fmla="*/ 0 h 6858000"/>
              <a:gd name="connsiteX5" fmla="*/ 6631541 w 6631541"/>
              <a:gd name="connsiteY5" fmla="*/ 0 h 6858000"/>
              <a:gd name="connsiteX6" fmla="*/ 6631541 w 6631541"/>
              <a:gd name="connsiteY6" fmla="*/ 6858000 h 6858000"/>
              <a:gd name="connsiteX7" fmla="*/ 0 w 6631541"/>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1541" h="6858000">
                <a:moveTo>
                  <a:pt x="4761301" y="1"/>
                </a:moveTo>
                <a:lnTo>
                  <a:pt x="4761301" y="673805"/>
                </a:lnTo>
                <a:lnTo>
                  <a:pt x="6326740" y="673805"/>
                </a:lnTo>
                <a:lnTo>
                  <a:pt x="6326740" y="1"/>
                </a:lnTo>
                <a:close/>
                <a:moveTo>
                  <a:pt x="2183862" y="0"/>
                </a:moveTo>
                <a:lnTo>
                  <a:pt x="6631541" y="0"/>
                </a:lnTo>
                <a:lnTo>
                  <a:pt x="6631541" y="6858000"/>
                </a:lnTo>
                <a:lnTo>
                  <a:pt x="0" y="6858000"/>
                </a:lnTo>
                <a:close/>
              </a:path>
            </a:pathLst>
          </a:custGeom>
        </p:spPr>
      </p:pic>
      <p:sp>
        <p:nvSpPr>
          <p:cNvPr id="4" name="Titel 1">
            <a:extLst>
              <a:ext uri="{FF2B5EF4-FFF2-40B4-BE49-F238E27FC236}">
                <a16:creationId xmlns:a16="http://schemas.microsoft.com/office/drawing/2014/main" id="{BFCFC4F1-CB82-0D15-1E6C-2920DA3011BD}"/>
              </a:ext>
            </a:extLst>
          </p:cNvPr>
          <p:cNvSpPr txBox="1">
            <a:spLocks/>
          </p:cNvSpPr>
          <p:nvPr/>
        </p:nvSpPr>
        <p:spPr>
          <a:xfrm>
            <a:off x="304801" y="304799"/>
            <a:ext cx="9753600" cy="381001"/>
          </a:xfrm>
          <a:prstGeom prst="rect">
            <a:avLst/>
          </a:prstGeom>
        </p:spPr>
        <p:txBody>
          <a:bodyPr/>
          <a:lstStyle>
            <a:lvl1pPr lvl="0" algn="l" rtl="0">
              <a:lnSpc>
                <a:spcPct val="90000"/>
              </a:lnSpc>
              <a:spcBef>
                <a:spcPct val="0"/>
              </a:spcBef>
              <a:buNone/>
              <a:defRPr lang="en-US" sz="4400" dirty="0">
                <a:solidFill>
                  <a:schemeClr val="tx1"/>
                </a:solidFill>
                <a:latin typeface="+mj-lt"/>
              </a:defRPr>
            </a:lvl1pPr>
          </a:lstStyle>
          <a:p>
            <a:r>
              <a:rPr lang="pl-PL" altLang="fi-FI" sz="3600" dirty="0">
                <a:solidFill>
                  <a:srgbClr val="FF0000"/>
                </a:solidFill>
                <a:sym typeface="+mj-lt"/>
              </a:rPr>
              <a:t>Kuwety TENCELL</a:t>
            </a:r>
            <a:endParaRPr lang="pl-PL" sz="3600" dirty="0">
              <a:solidFill>
                <a:srgbClr val="FF0000"/>
              </a:solidFill>
              <a:sym typeface="+mj-lt"/>
            </a:endParaRPr>
          </a:p>
        </p:txBody>
      </p:sp>
      <p:sp>
        <p:nvSpPr>
          <p:cNvPr id="5" name="Inhaltsplatzhalter 6">
            <a:extLst>
              <a:ext uri="{FF2B5EF4-FFF2-40B4-BE49-F238E27FC236}">
                <a16:creationId xmlns:a16="http://schemas.microsoft.com/office/drawing/2014/main" id="{BA072DE3-79E4-F11D-3D82-D0C8453917E5}"/>
              </a:ext>
            </a:extLst>
          </p:cNvPr>
          <p:cNvSpPr txBox="1">
            <a:spLocks/>
          </p:cNvSpPr>
          <p:nvPr/>
        </p:nvSpPr>
        <p:spPr>
          <a:xfrm>
            <a:off x="304800" y="1447800"/>
            <a:ext cx="5791200" cy="4607954"/>
          </a:xfrm>
          <a:prstGeom prst="rect">
            <a:avLst/>
          </a:prstGeom>
        </p:spPr>
        <p:txBody>
          <a:bodyPr anchor="t"/>
          <a:lstStyle>
            <a:lvl1pPr marL="228600" lvl="0" indent="-228600" algn="l" rtl="0">
              <a:lnSpc>
                <a:spcPct val="90000"/>
              </a:lnSpc>
              <a:spcBef>
                <a:spcPts val="1000"/>
              </a:spcBef>
              <a:buFont typeface="Arial"/>
              <a:buChar char="•"/>
              <a:defRPr lang="en-US" sz="2800" dirty="0">
                <a:solidFill>
                  <a:schemeClr val="tx1"/>
                </a:solidFill>
                <a:latin typeface="+mn-lt"/>
              </a:defRPr>
            </a:lvl1pPr>
            <a:lvl2pPr marL="685800" lvl="1" indent="-228600" algn="l" rtl="0">
              <a:lnSpc>
                <a:spcPct val="90000"/>
              </a:lnSpc>
              <a:spcBef>
                <a:spcPts val="500"/>
              </a:spcBef>
              <a:buFont typeface="Arial"/>
              <a:buChar char="•"/>
              <a:defRPr lang="en-US" sz="2400" dirty="0">
                <a:solidFill>
                  <a:schemeClr val="tx1"/>
                </a:solidFill>
                <a:latin typeface="+mn-lt"/>
              </a:defRPr>
            </a:lvl2pPr>
            <a:lvl3pPr marL="1143000" lvl="2" indent="-228600" algn="l" rtl="0">
              <a:lnSpc>
                <a:spcPct val="90000"/>
              </a:lnSpc>
              <a:spcBef>
                <a:spcPts val="500"/>
              </a:spcBef>
              <a:buFont typeface="Arial"/>
              <a:buChar char="•"/>
              <a:defRPr lang="en-US" sz="2000" dirty="0">
                <a:solidFill>
                  <a:schemeClr val="tx1"/>
                </a:solidFill>
                <a:latin typeface="+mn-lt"/>
              </a:defRPr>
            </a:lvl3pPr>
            <a:lvl4pPr marL="1600200" lvl="3" indent="-228600" algn="l" rtl="0">
              <a:lnSpc>
                <a:spcPct val="90000"/>
              </a:lnSpc>
              <a:spcBef>
                <a:spcPts val="500"/>
              </a:spcBef>
              <a:buFont typeface="Arial"/>
              <a:buChar char="•"/>
              <a:defRPr lang="en-US" sz="1800" dirty="0">
                <a:solidFill>
                  <a:schemeClr val="tx1"/>
                </a:solidFill>
                <a:latin typeface="+mn-lt"/>
              </a:defRPr>
            </a:lvl4pPr>
            <a:lvl5pPr marL="2057400" lvl="4" indent="-228600" algn="l" rtl="0">
              <a:lnSpc>
                <a:spcPct val="90000"/>
              </a:lnSpc>
              <a:spcBef>
                <a:spcPts val="500"/>
              </a:spcBef>
              <a:buFont typeface="Arial"/>
              <a:buChar char="•"/>
              <a:defRPr lang="en-US" sz="1800" dirty="0">
                <a:solidFill>
                  <a:schemeClr val="tx1"/>
                </a:solidFill>
                <a:latin typeface="+mn-lt"/>
              </a:defRPr>
            </a:lvl5pPr>
            <a:lvl6pPr marL="2514600" lvl="5" indent="-228600" algn="l" rtl="0">
              <a:lnSpc>
                <a:spcPct val="90000"/>
              </a:lnSpc>
              <a:spcBef>
                <a:spcPts val="500"/>
              </a:spcBef>
              <a:buFont typeface="Arial"/>
              <a:buChar char="•"/>
              <a:defRPr lang="en-US" sz="1800" dirty="0">
                <a:solidFill>
                  <a:schemeClr val="tx1"/>
                </a:solidFill>
                <a:latin typeface="+mn-lt"/>
              </a:defRPr>
            </a:lvl6pPr>
            <a:lvl7pPr marL="2971800" lvl="6" indent="-228600" algn="l" rtl="0">
              <a:lnSpc>
                <a:spcPct val="90000"/>
              </a:lnSpc>
              <a:spcBef>
                <a:spcPts val="500"/>
              </a:spcBef>
              <a:buFont typeface="Arial"/>
              <a:buChar char="•"/>
              <a:defRPr lang="en-US" sz="1800" dirty="0">
                <a:solidFill>
                  <a:schemeClr val="tx1"/>
                </a:solidFill>
                <a:latin typeface="+mn-lt"/>
              </a:defRPr>
            </a:lvl7pPr>
            <a:lvl8pPr marL="3429000" lvl="7" indent="-228600" algn="l" rtl="0">
              <a:lnSpc>
                <a:spcPct val="90000"/>
              </a:lnSpc>
              <a:spcBef>
                <a:spcPts val="500"/>
              </a:spcBef>
              <a:buFont typeface="Arial"/>
              <a:buChar char="•"/>
              <a:defRPr lang="en-US" sz="1800" dirty="0">
                <a:solidFill>
                  <a:schemeClr val="tx1"/>
                </a:solidFill>
                <a:latin typeface="+mn-lt"/>
              </a:defRPr>
            </a:lvl8pPr>
            <a:lvl9pPr marL="3886200" lvl="8" indent="-228600" algn="l" rtl="0">
              <a:lnSpc>
                <a:spcPct val="90000"/>
              </a:lnSpc>
              <a:spcBef>
                <a:spcPts val="500"/>
              </a:spcBef>
              <a:buFont typeface="Arial"/>
              <a:buChar char="•"/>
              <a:defRPr lang="en-US" sz="1800" dirty="0">
                <a:solidFill>
                  <a:schemeClr val="tx1"/>
                </a:solidFill>
                <a:latin typeface="+mn-lt"/>
              </a:defRPr>
            </a:lvl9pPr>
          </a:lstStyle>
          <a:p>
            <a:r>
              <a:rPr lang="pl-PL" sz="2000" dirty="0">
                <a:sym typeface="+mn-lt"/>
              </a:rPr>
              <a:t>Jednorodna technologia kuwet</a:t>
            </a:r>
            <a:endParaRPr lang="en-US" sz="2000" dirty="0">
              <a:sym typeface="+mn-lt"/>
            </a:endParaRPr>
          </a:p>
          <a:p>
            <a:pPr lvl="1"/>
            <a:r>
              <a:rPr lang="pl-PL" sz="1800" dirty="0">
                <a:sym typeface="+mn-lt"/>
              </a:rPr>
              <a:t>Zapewnia integralność wyników </a:t>
            </a:r>
            <a:endParaRPr lang="en-US" sz="1800" dirty="0">
              <a:sym typeface="+mn-lt"/>
            </a:endParaRPr>
          </a:p>
          <a:p>
            <a:pPr marL="234950" lvl="1" indent="0">
              <a:buFont typeface="Arial"/>
              <a:buNone/>
            </a:pPr>
            <a:endParaRPr lang="en-US" sz="1800" dirty="0">
              <a:sym typeface="+mn-lt"/>
            </a:endParaRPr>
          </a:p>
          <a:p>
            <a:r>
              <a:rPr lang="pl-PL" sz="2000" dirty="0">
                <a:sym typeface="+mn-lt"/>
              </a:rPr>
              <a:t>Kuwety jednorazowego użytku</a:t>
            </a:r>
            <a:endParaRPr lang="en-US" sz="2000" dirty="0">
              <a:sym typeface="+mn-lt"/>
            </a:endParaRPr>
          </a:p>
          <a:p>
            <a:pPr lvl="1"/>
            <a:r>
              <a:rPr lang="pl-PL" sz="1800" dirty="0">
                <a:sym typeface="+mn-lt"/>
              </a:rPr>
              <a:t>Nie wymagają mycia</a:t>
            </a:r>
            <a:endParaRPr lang="en-US" sz="1800" dirty="0">
              <a:sym typeface="+mn-lt"/>
            </a:endParaRPr>
          </a:p>
          <a:p>
            <a:pPr lvl="1"/>
            <a:r>
              <a:rPr lang="pl-PL" sz="1800" dirty="0">
                <a:sym typeface="+mn-lt"/>
              </a:rPr>
              <a:t>Zmniejszają kontaminację oraz oszczędzają wodę </a:t>
            </a:r>
            <a:endParaRPr lang="en-US" sz="1800" dirty="0">
              <a:sym typeface="+mn-lt"/>
            </a:endParaRPr>
          </a:p>
          <a:p>
            <a:pPr marL="234950" lvl="1" indent="0">
              <a:buFont typeface="Arial"/>
              <a:buNone/>
            </a:pPr>
            <a:endParaRPr lang="en-US" sz="1800" dirty="0">
              <a:sym typeface="+mn-lt"/>
            </a:endParaRPr>
          </a:p>
          <a:p>
            <a:r>
              <a:rPr lang="pl-PL" sz="2000" dirty="0">
                <a:sym typeface="+mn-lt"/>
              </a:rPr>
              <a:t>Niskie zużycie reagentów</a:t>
            </a:r>
            <a:endParaRPr lang="en-US" sz="2000" dirty="0">
              <a:sym typeface="+mn-lt"/>
            </a:endParaRPr>
          </a:p>
          <a:p>
            <a:r>
              <a:rPr lang="pl-PL" sz="2000" dirty="0">
                <a:sym typeface="+mn-lt"/>
              </a:rPr>
              <a:t>Minimalizacja kosztów</a:t>
            </a:r>
            <a:endParaRPr lang="en-US" sz="2000" dirty="0">
              <a:sym typeface="+mn-lt"/>
            </a:endParaRPr>
          </a:p>
          <a:p>
            <a:endParaRPr lang="en-US" dirty="0"/>
          </a:p>
        </p:txBody>
      </p:sp>
      <p:sp>
        <p:nvSpPr>
          <p:cNvPr id="6" name="Parallelogram 11">
            <a:extLst>
              <a:ext uri="{FF2B5EF4-FFF2-40B4-BE49-F238E27FC236}">
                <a16:creationId xmlns:a16="http://schemas.microsoft.com/office/drawing/2014/main" id="{B184D8F3-8468-4686-BDD6-AE5632E7BF4F}"/>
              </a:ext>
            </a:extLst>
          </p:cNvPr>
          <p:cNvSpPr/>
          <p:nvPr/>
        </p:nvSpPr>
        <p:spPr bwMode="auto">
          <a:xfrm>
            <a:off x="5560458" y="4886960"/>
            <a:ext cx="7667861" cy="1971038"/>
          </a:xfrm>
          <a:prstGeom prst="parallelogram">
            <a:avLst>
              <a:gd name="adj" fmla="val 31844"/>
            </a:avLst>
          </a:prstGeom>
          <a:gradFill>
            <a:gsLst>
              <a:gs pos="0">
                <a:schemeClr val="tx2"/>
              </a:gs>
              <a:gs pos="22000">
                <a:schemeClr val="tx2"/>
              </a:gs>
              <a:gs pos="62000">
                <a:schemeClr val="tx2">
                  <a:lumMod val="50000"/>
                </a:schemeClr>
              </a:gs>
            </a:gsLst>
            <a:lin ang="1080000" scaled="0"/>
          </a:gra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sym typeface="+mn-lt"/>
            </a:endParaRPr>
          </a:p>
        </p:txBody>
      </p:sp>
      <p:sp>
        <p:nvSpPr>
          <p:cNvPr id="7" name="TextBox 7">
            <a:extLst>
              <a:ext uri="{FF2B5EF4-FFF2-40B4-BE49-F238E27FC236}">
                <a16:creationId xmlns:a16="http://schemas.microsoft.com/office/drawing/2014/main" id="{25DB089B-D50C-FF57-765F-656646182C86}"/>
              </a:ext>
            </a:extLst>
          </p:cNvPr>
          <p:cNvSpPr txBox="1"/>
          <p:nvPr/>
        </p:nvSpPr>
        <p:spPr>
          <a:xfrm>
            <a:off x="7614499" y="5695735"/>
            <a:ext cx="1909234" cy="923330"/>
          </a:xfrm>
          <a:prstGeom prst="rect">
            <a:avLst/>
          </a:prstGeom>
          <a:noFill/>
        </p:spPr>
        <p:txBody>
          <a:bodyPr wrap="square" rtlCol="0">
            <a:spAutoFit/>
          </a:bodyPr>
          <a:lstStyle/>
          <a:p>
            <a:pPr algn="ctr"/>
            <a:r>
              <a:rPr lang="pl-PL" b="1" dirty="0">
                <a:solidFill>
                  <a:schemeClr val="bg1"/>
                </a:solidFill>
                <a:sym typeface="+mn-lt"/>
              </a:rPr>
              <a:t>Mała objętość reakcyjna</a:t>
            </a:r>
            <a:endParaRPr lang="en-US" b="1" dirty="0">
              <a:solidFill>
                <a:schemeClr val="bg1"/>
              </a:solidFill>
              <a:sym typeface="+mn-lt"/>
            </a:endParaRPr>
          </a:p>
          <a:p>
            <a:pPr algn="ctr"/>
            <a:r>
              <a:rPr lang="en-US" b="1" dirty="0">
                <a:solidFill>
                  <a:schemeClr val="bg1"/>
                </a:solidFill>
                <a:sym typeface="+mn-lt"/>
              </a:rPr>
              <a:t>120–300 µl</a:t>
            </a:r>
          </a:p>
        </p:txBody>
      </p:sp>
      <p:sp>
        <p:nvSpPr>
          <p:cNvPr id="8" name="Ellipse 16">
            <a:extLst>
              <a:ext uri="{FF2B5EF4-FFF2-40B4-BE49-F238E27FC236}">
                <a16:creationId xmlns:a16="http://schemas.microsoft.com/office/drawing/2014/main" id="{89CBA955-64B4-53E5-FED7-4303EF092DE5}"/>
              </a:ext>
            </a:extLst>
          </p:cNvPr>
          <p:cNvSpPr/>
          <p:nvPr/>
        </p:nvSpPr>
        <p:spPr bwMode="auto">
          <a:xfrm>
            <a:off x="8229599" y="4980488"/>
            <a:ext cx="679034" cy="679034"/>
          </a:xfrm>
          <a:prstGeom prst="ellipse">
            <a:avLst/>
          </a:prstGeom>
          <a:solidFill>
            <a:schemeClr val="bg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200" dirty="0">
              <a:solidFill>
                <a:schemeClr val="tx1">
                  <a:lumMod val="50000"/>
                  <a:lumOff val="50000"/>
                </a:schemeClr>
              </a:solidFill>
              <a:sym typeface="+mn-lt"/>
            </a:endParaRPr>
          </a:p>
        </p:txBody>
      </p:sp>
      <p:sp>
        <p:nvSpPr>
          <p:cNvPr id="9" name="Rechteck 18">
            <a:extLst>
              <a:ext uri="{FF2B5EF4-FFF2-40B4-BE49-F238E27FC236}">
                <a16:creationId xmlns:a16="http://schemas.microsoft.com/office/drawing/2014/main" id="{E260B822-D4E1-6CFA-B51D-3D23C03DE07B}"/>
              </a:ext>
            </a:extLst>
          </p:cNvPr>
          <p:cNvSpPr/>
          <p:nvPr/>
        </p:nvSpPr>
        <p:spPr bwMode="auto">
          <a:xfrm flipH="1">
            <a:off x="12192000" y="-1"/>
            <a:ext cx="1841500" cy="6857999"/>
          </a:xfrm>
          <a:prstGeom prst="rect">
            <a:avLst/>
          </a:prstGeom>
          <a:solidFill>
            <a:srgbClr val="E6E6E6"/>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sym typeface="+mn-lt"/>
            </a:endParaRPr>
          </a:p>
        </p:txBody>
      </p:sp>
      <p:pic>
        <p:nvPicPr>
          <p:cNvPr id="10" name="Grafik 15">
            <a:extLst>
              <a:ext uri="{FF2B5EF4-FFF2-40B4-BE49-F238E27FC236}">
                <a16:creationId xmlns:a16="http://schemas.microsoft.com/office/drawing/2014/main" id="{CC4073B7-524A-1AEC-3E4B-696BFFE34E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72545" y="5040555"/>
            <a:ext cx="540000" cy="540000"/>
          </a:xfrm>
          <a:prstGeom prst="rect">
            <a:avLst/>
          </a:prstGeom>
        </p:spPr>
      </p:pic>
      <p:grpSp>
        <p:nvGrpSpPr>
          <p:cNvPr id="11" name="Group 58">
            <a:extLst>
              <a:ext uri="{FF2B5EF4-FFF2-40B4-BE49-F238E27FC236}">
                <a16:creationId xmlns:a16="http://schemas.microsoft.com/office/drawing/2014/main" id="{A8C8A662-28B6-9F06-F57D-A56CD1CB37FB}"/>
              </a:ext>
            </a:extLst>
          </p:cNvPr>
          <p:cNvGrpSpPr>
            <a:grpSpLocks noChangeAspect="1"/>
          </p:cNvGrpSpPr>
          <p:nvPr/>
        </p:nvGrpSpPr>
        <p:grpSpPr>
          <a:xfrm>
            <a:off x="10288189" y="787982"/>
            <a:ext cx="1608310" cy="584939"/>
            <a:chOff x="343668" y="1851251"/>
            <a:chExt cx="11514733" cy="4187886"/>
          </a:xfrm>
        </p:grpSpPr>
        <p:sp>
          <p:nvSpPr>
            <p:cNvPr id="12" name="Rectangle 59">
              <a:extLst>
                <a:ext uri="{FF2B5EF4-FFF2-40B4-BE49-F238E27FC236}">
                  <a16:creationId xmlns:a16="http://schemas.microsoft.com/office/drawing/2014/main" id="{CAE4A57A-67B6-D176-6D91-3DB3A8356555}"/>
                </a:ext>
              </a:extLst>
            </p:cNvPr>
            <p:cNvSpPr/>
            <p:nvPr/>
          </p:nvSpPr>
          <p:spPr bwMode="auto">
            <a:xfrm>
              <a:off x="343668" y="4455137"/>
              <a:ext cx="3139200" cy="1584000"/>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dirty="0">
                <a:latin typeface="Arial" pitchFamily="124" charset="0"/>
              </a:endParaRPr>
            </a:p>
          </p:txBody>
        </p:sp>
        <p:sp>
          <p:nvSpPr>
            <p:cNvPr id="13" name="Rectangle 60">
              <a:extLst>
                <a:ext uri="{FF2B5EF4-FFF2-40B4-BE49-F238E27FC236}">
                  <a16:creationId xmlns:a16="http://schemas.microsoft.com/office/drawing/2014/main" id="{4B7419EB-7A7F-D9ED-B480-E35D622F8B92}"/>
                </a:ext>
              </a:extLst>
            </p:cNvPr>
            <p:cNvSpPr/>
            <p:nvPr/>
          </p:nvSpPr>
          <p:spPr bwMode="auto">
            <a:xfrm>
              <a:off x="4296205" y="4455137"/>
              <a:ext cx="3139200" cy="1584000"/>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dirty="0">
                <a:latin typeface="Arial" pitchFamily="124" charset="0"/>
              </a:endParaRPr>
            </a:p>
          </p:txBody>
        </p:sp>
        <p:sp>
          <p:nvSpPr>
            <p:cNvPr id="14" name="Rectangle 61">
              <a:extLst>
                <a:ext uri="{FF2B5EF4-FFF2-40B4-BE49-F238E27FC236}">
                  <a16:creationId xmlns:a16="http://schemas.microsoft.com/office/drawing/2014/main" id="{4A81EE1A-181D-A6AE-ED22-0B1AB42F0A38}"/>
                </a:ext>
              </a:extLst>
            </p:cNvPr>
            <p:cNvSpPr/>
            <p:nvPr/>
          </p:nvSpPr>
          <p:spPr bwMode="auto">
            <a:xfrm>
              <a:off x="8258401" y="4455137"/>
              <a:ext cx="3139200" cy="1584000"/>
            </a:xfrm>
            <a:prstGeom prst="rect">
              <a:avLst/>
            </a:prstGeom>
            <a:solidFill>
              <a:schemeClr val="tx2">
                <a:lumMod val="75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dirty="0">
                <a:latin typeface="Arial" pitchFamily="124" charset="0"/>
              </a:endParaRPr>
            </a:p>
          </p:txBody>
        </p:sp>
        <p:sp>
          <p:nvSpPr>
            <p:cNvPr id="15" name="Parallelogram 62">
              <a:extLst>
                <a:ext uri="{FF2B5EF4-FFF2-40B4-BE49-F238E27FC236}">
                  <a16:creationId xmlns:a16="http://schemas.microsoft.com/office/drawing/2014/main" id="{9612FA7D-2A97-DC3D-D800-53D16D566457}"/>
                </a:ext>
              </a:extLst>
            </p:cNvPr>
            <p:cNvSpPr/>
            <p:nvPr/>
          </p:nvSpPr>
          <p:spPr bwMode="auto">
            <a:xfrm>
              <a:off x="343668" y="3028232"/>
              <a:ext cx="3600000" cy="1440000"/>
            </a:xfrm>
            <a:prstGeom prst="parallelogram">
              <a:avLst>
                <a:gd name="adj" fmla="val 31844"/>
              </a:avLst>
            </a:prstGeom>
            <a:solidFill>
              <a:schemeClr val="bg2">
                <a:lumMod val="75000"/>
              </a:schemeClr>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16" name="Group 63">
              <a:extLst>
                <a:ext uri="{FF2B5EF4-FFF2-40B4-BE49-F238E27FC236}">
                  <a16:creationId xmlns:a16="http://schemas.microsoft.com/office/drawing/2014/main" id="{CED2646E-C7F4-CFE3-C2B3-6EE0F0DE2461}"/>
                </a:ext>
              </a:extLst>
            </p:cNvPr>
            <p:cNvGrpSpPr/>
            <p:nvPr/>
          </p:nvGrpSpPr>
          <p:grpSpPr>
            <a:xfrm>
              <a:off x="1571478" y="1851251"/>
              <a:ext cx="1504370" cy="1504370"/>
              <a:chOff x="5343815" y="1101555"/>
              <a:chExt cx="1504370" cy="1504370"/>
            </a:xfrm>
          </p:grpSpPr>
          <p:sp>
            <p:nvSpPr>
              <p:cNvPr id="28" name="Freeform: Shape 75">
                <a:extLst>
                  <a:ext uri="{FF2B5EF4-FFF2-40B4-BE49-F238E27FC236}">
                    <a16:creationId xmlns:a16="http://schemas.microsoft.com/office/drawing/2014/main" id="{C32BFA49-BFBC-5DC9-8B76-5073995CBCE0}"/>
                  </a:ext>
                </a:extLst>
              </p:cNvPr>
              <p:cNvSpPr/>
              <p:nvPr/>
            </p:nvSpPr>
            <p:spPr>
              <a:xfrm>
                <a:off x="5343815" y="1101555"/>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algn="ctr" defTabSz="1289050">
                  <a:lnSpc>
                    <a:spcPct val="90000"/>
                  </a:lnSpc>
                  <a:spcBef>
                    <a:spcPct val="0"/>
                  </a:spcBef>
                  <a:spcAft>
                    <a:spcPct val="35000"/>
                  </a:spcAft>
                </a:pPr>
                <a:endParaRPr lang="en-US" sz="2900"/>
              </a:p>
            </p:txBody>
          </p:sp>
          <p:pic>
            <p:nvPicPr>
              <p:cNvPr id="29" name="Graphic 76">
                <a:extLst>
                  <a:ext uri="{FF2B5EF4-FFF2-40B4-BE49-F238E27FC236}">
                    <a16:creationId xmlns:a16="http://schemas.microsoft.com/office/drawing/2014/main" id="{D5083DD3-866F-3AC1-ED6E-94B0448CADF0}"/>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523810" y="1281550"/>
                <a:ext cx="1144381" cy="1144381"/>
              </a:xfrm>
              <a:prstGeom prst="rect">
                <a:avLst/>
              </a:prstGeom>
            </p:spPr>
          </p:pic>
        </p:grpSp>
        <p:sp>
          <p:nvSpPr>
            <p:cNvPr id="17" name="Parallelogram 64">
              <a:extLst>
                <a:ext uri="{FF2B5EF4-FFF2-40B4-BE49-F238E27FC236}">
                  <a16:creationId xmlns:a16="http://schemas.microsoft.com/office/drawing/2014/main" id="{667611F0-7743-0DD7-A7CB-12B26B5D5818}"/>
                </a:ext>
              </a:extLst>
            </p:cNvPr>
            <p:cNvSpPr/>
            <p:nvPr/>
          </p:nvSpPr>
          <p:spPr bwMode="auto">
            <a:xfrm>
              <a:off x="8258401" y="3028232"/>
              <a:ext cx="3600000" cy="1440000"/>
            </a:xfrm>
            <a:prstGeom prst="parallelogram">
              <a:avLst>
                <a:gd name="adj" fmla="val 31844"/>
              </a:avLst>
            </a:prstGeom>
            <a:solidFill>
              <a:schemeClr val="tx2"/>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18" name="Group 65">
              <a:extLst>
                <a:ext uri="{FF2B5EF4-FFF2-40B4-BE49-F238E27FC236}">
                  <a16:creationId xmlns:a16="http://schemas.microsoft.com/office/drawing/2014/main" id="{0D2E3B75-4239-001C-1008-4757B56F1FCD}"/>
                </a:ext>
              </a:extLst>
            </p:cNvPr>
            <p:cNvGrpSpPr/>
            <p:nvPr/>
          </p:nvGrpSpPr>
          <p:grpSpPr>
            <a:xfrm>
              <a:off x="9486211" y="1851251"/>
              <a:ext cx="1504370" cy="1504370"/>
              <a:chOff x="7167592" y="4260429"/>
              <a:chExt cx="1504370" cy="1504370"/>
            </a:xfrm>
          </p:grpSpPr>
          <p:sp>
            <p:nvSpPr>
              <p:cNvPr id="26" name="Freeform: Shape 73">
                <a:extLst>
                  <a:ext uri="{FF2B5EF4-FFF2-40B4-BE49-F238E27FC236}">
                    <a16:creationId xmlns:a16="http://schemas.microsoft.com/office/drawing/2014/main" id="{6C79163F-4735-FC8E-1855-8104F9666B31}"/>
                  </a:ext>
                </a:extLst>
              </p:cNvPr>
              <p:cNvSpPr/>
              <p:nvPr/>
            </p:nvSpPr>
            <p:spPr>
              <a:xfrm>
                <a:off x="7167592" y="4260429"/>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tx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marL="0" lvl="0" indent="0" algn="ctr" defTabSz="1289050">
                  <a:lnSpc>
                    <a:spcPct val="90000"/>
                  </a:lnSpc>
                  <a:spcBef>
                    <a:spcPct val="0"/>
                  </a:spcBef>
                  <a:spcAft>
                    <a:spcPct val="35000"/>
                  </a:spcAft>
                  <a:buNone/>
                </a:pPr>
                <a:endParaRPr lang="en-US" sz="2900" kern="1200"/>
              </a:p>
            </p:txBody>
          </p:sp>
          <p:pic>
            <p:nvPicPr>
              <p:cNvPr id="27" name="Graphic 74">
                <a:extLst>
                  <a:ext uri="{FF2B5EF4-FFF2-40B4-BE49-F238E27FC236}">
                    <a16:creationId xmlns:a16="http://schemas.microsoft.com/office/drawing/2014/main" id="{1762B854-9CF6-73BC-1454-7E580493864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347587" y="4440424"/>
                <a:ext cx="1144381" cy="1144381"/>
              </a:xfrm>
              <a:prstGeom prst="rect">
                <a:avLst/>
              </a:prstGeom>
            </p:spPr>
          </p:pic>
        </p:grpSp>
        <p:sp>
          <p:nvSpPr>
            <p:cNvPr id="19" name="Parallelogram 66">
              <a:extLst>
                <a:ext uri="{FF2B5EF4-FFF2-40B4-BE49-F238E27FC236}">
                  <a16:creationId xmlns:a16="http://schemas.microsoft.com/office/drawing/2014/main" id="{EB8909F0-F1F6-7E0A-9914-DEC991EA3F54}"/>
                </a:ext>
              </a:extLst>
            </p:cNvPr>
            <p:cNvSpPr/>
            <p:nvPr/>
          </p:nvSpPr>
          <p:spPr bwMode="auto">
            <a:xfrm>
              <a:off x="4296205" y="3028232"/>
              <a:ext cx="3600000" cy="1440000"/>
            </a:xfrm>
            <a:prstGeom prst="parallelogram">
              <a:avLst>
                <a:gd name="adj" fmla="val 31844"/>
              </a:avLst>
            </a:prstGeom>
            <a:solidFill>
              <a:schemeClr val="bg2">
                <a:lumMod val="75000"/>
              </a:schemeClr>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20" name="Group 67">
              <a:extLst>
                <a:ext uri="{FF2B5EF4-FFF2-40B4-BE49-F238E27FC236}">
                  <a16:creationId xmlns:a16="http://schemas.microsoft.com/office/drawing/2014/main" id="{5145337D-251A-B825-1FBE-04700D9BDE9C}"/>
                </a:ext>
              </a:extLst>
            </p:cNvPr>
            <p:cNvGrpSpPr/>
            <p:nvPr/>
          </p:nvGrpSpPr>
          <p:grpSpPr>
            <a:xfrm>
              <a:off x="5528845" y="1851251"/>
              <a:ext cx="1504370" cy="1504370"/>
              <a:chOff x="3520038" y="4260429"/>
              <a:chExt cx="1504370" cy="1504370"/>
            </a:xfrm>
          </p:grpSpPr>
          <p:sp>
            <p:nvSpPr>
              <p:cNvPr id="21" name="Freeform: Shape 68">
                <a:extLst>
                  <a:ext uri="{FF2B5EF4-FFF2-40B4-BE49-F238E27FC236}">
                    <a16:creationId xmlns:a16="http://schemas.microsoft.com/office/drawing/2014/main" id="{C987B7F5-33F6-2466-4CED-3020BD1580AF}"/>
                  </a:ext>
                </a:extLst>
              </p:cNvPr>
              <p:cNvSpPr/>
              <p:nvPr/>
            </p:nvSpPr>
            <p:spPr>
              <a:xfrm>
                <a:off x="3520038" y="4260429"/>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algn="ctr" defTabSz="1289050">
                  <a:lnSpc>
                    <a:spcPct val="90000"/>
                  </a:lnSpc>
                  <a:spcBef>
                    <a:spcPct val="0"/>
                  </a:spcBef>
                  <a:spcAft>
                    <a:spcPct val="35000"/>
                  </a:spcAft>
                </a:pPr>
                <a:endParaRPr lang="en-US" sz="2900"/>
              </a:p>
            </p:txBody>
          </p:sp>
          <p:grpSp>
            <p:nvGrpSpPr>
              <p:cNvPr id="22" name="Group 69">
                <a:extLst>
                  <a:ext uri="{FF2B5EF4-FFF2-40B4-BE49-F238E27FC236}">
                    <a16:creationId xmlns:a16="http://schemas.microsoft.com/office/drawing/2014/main" id="{03DAD92C-954E-7412-3CCC-2F02AF6A4551}"/>
                  </a:ext>
                </a:extLst>
              </p:cNvPr>
              <p:cNvGrpSpPr/>
              <p:nvPr/>
            </p:nvGrpSpPr>
            <p:grpSpPr>
              <a:xfrm>
                <a:off x="3886675" y="4548065"/>
                <a:ext cx="756613" cy="987042"/>
                <a:chOff x="3886675" y="4548065"/>
                <a:chExt cx="756613" cy="987042"/>
              </a:xfrm>
            </p:grpSpPr>
            <p:sp>
              <p:nvSpPr>
                <p:cNvPr id="23" name="Freeform: Shape 70">
                  <a:extLst>
                    <a:ext uri="{FF2B5EF4-FFF2-40B4-BE49-F238E27FC236}">
                      <a16:creationId xmlns:a16="http://schemas.microsoft.com/office/drawing/2014/main" id="{D30A284B-4A7C-B6CB-22A7-E4D1C210E9E8}"/>
                    </a:ext>
                  </a:extLst>
                </p:cNvPr>
                <p:cNvSpPr/>
                <p:nvPr/>
              </p:nvSpPr>
              <p:spPr>
                <a:xfrm>
                  <a:off x="3886675" y="4569787"/>
                  <a:ext cx="756613" cy="965320"/>
                </a:xfrm>
                <a:custGeom>
                  <a:avLst/>
                  <a:gdLst>
                    <a:gd name="connsiteX0" fmla="*/ 469946 w 756613"/>
                    <a:gd name="connsiteY0" fmla="*/ 616988 h 965320"/>
                    <a:gd name="connsiteX1" fmla="*/ 469946 w 756613"/>
                    <a:gd name="connsiteY1" fmla="*/ 628611 h 965320"/>
                    <a:gd name="connsiteX2" fmla="*/ 452959 w 756613"/>
                    <a:gd name="connsiteY2" fmla="*/ 913633 h 965320"/>
                    <a:gd name="connsiteX3" fmla="*/ 459039 w 756613"/>
                    <a:gd name="connsiteY3" fmla="*/ 943315 h 965320"/>
                    <a:gd name="connsiteX4" fmla="*/ 530741 w 756613"/>
                    <a:gd name="connsiteY4" fmla="*/ 948680 h 965320"/>
                    <a:gd name="connsiteX5" fmla="*/ 539682 w 756613"/>
                    <a:gd name="connsiteY5" fmla="*/ 923646 h 965320"/>
                    <a:gd name="connsiteX6" fmla="*/ 556669 w 756613"/>
                    <a:gd name="connsiteY6" fmla="*/ 747340 h 965320"/>
                    <a:gd name="connsiteX7" fmla="*/ 564894 w 756613"/>
                    <a:gd name="connsiteY7" fmla="*/ 660081 h 965320"/>
                    <a:gd name="connsiteX8" fmla="*/ 566682 w 756613"/>
                    <a:gd name="connsiteY8" fmla="*/ 651498 h 965320"/>
                    <a:gd name="connsiteX9" fmla="*/ 573656 w 756613"/>
                    <a:gd name="connsiteY9" fmla="*/ 660975 h 965320"/>
                    <a:gd name="connsiteX10" fmla="*/ 673074 w 756613"/>
                    <a:gd name="connsiteY10" fmla="*/ 828162 h 965320"/>
                    <a:gd name="connsiteX11" fmla="*/ 701683 w 756613"/>
                    <a:gd name="connsiteY11" fmla="*/ 851228 h 965320"/>
                    <a:gd name="connsiteX12" fmla="*/ 756578 w 756613"/>
                    <a:gd name="connsiteY12" fmla="*/ 814572 h 965320"/>
                    <a:gd name="connsiteX13" fmla="*/ 749425 w 756613"/>
                    <a:gd name="connsiteY13" fmla="*/ 783460 h 965320"/>
                    <a:gd name="connsiteX14" fmla="*/ 602802 w 756613"/>
                    <a:gd name="connsiteY14" fmla="*/ 530444 h 965320"/>
                    <a:gd name="connsiteX15" fmla="*/ 538251 w 756613"/>
                    <a:gd name="connsiteY15" fmla="*/ 499152 h 965320"/>
                    <a:gd name="connsiteX16" fmla="*/ 425422 w 756613"/>
                    <a:gd name="connsiteY16" fmla="*/ 519179 h 965320"/>
                    <a:gd name="connsiteX17" fmla="*/ 419164 w 756613"/>
                    <a:gd name="connsiteY17" fmla="*/ 520073 h 965320"/>
                    <a:gd name="connsiteX18" fmla="*/ 388945 w 756613"/>
                    <a:gd name="connsiteY18" fmla="*/ 304071 h 965320"/>
                    <a:gd name="connsiteX19" fmla="*/ 401104 w 756613"/>
                    <a:gd name="connsiteY19" fmla="*/ 279574 h 965320"/>
                    <a:gd name="connsiteX20" fmla="*/ 528059 w 756613"/>
                    <a:gd name="connsiteY20" fmla="*/ 192315 h 965320"/>
                    <a:gd name="connsiteX21" fmla="*/ 550947 w 756613"/>
                    <a:gd name="connsiteY21" fmla="*/ 154408 h 965320"/>
                    <a:gd name="connsiteX22" fmla="*/ 527523 w 756613"/>
                    <a:gd name="connsiteY22" fmla="*/ 118646 h 965320"/>
                    <a:gd name="connsiteX23" fmla="*/ 369634 w 756613"/>
                    <a:gd name="connsiteY23" fmla="*/ 37645 h 965320"/>
                    <a:gd name="connsiteX24" fmla="*/ 358727 w 756613"/>
                    <a:gd name="connsiteY24" fmla="*/ 34784 h 965320"/>
                    <a:gd name="connsiteX25" fmla="*/ 334587 w 756613"/>
                    <a:gd name="connsiteY25" fmla="*/ 24056 h 965320"/>
                    <a:gd name="connsiteX26" fmla="*/ 198156 w 756613"/>
                    <a:gd name="connsiteY26" fmla="*/ 41042 h 965320"/>
                    <a:gd name="connsiteX27" fmla="*/ 181526 w 756613"/>
                    <a:gd name="connsiteY27" fmla="*/ 55526 h 965320"/>
                    <a:gd name="connsiteX28" fmla="*/ 24532 w 756613"/>
                    <a:gd name="connsiteY28" fmla="*/ 137600 h 965320"/>
                    <a:gd name="connsiteX29" fmla="*/ 11478 w 756613"/>
                    <a:gd name="connsiteY29" fmla="*/ 202507 h 965320"/>
                    <a:gd name="connsiteX30" fmla="*/ 30611 w 756613"/>
                    <a:gd name="connsiteY30" fmla="*/ 218421 h 965320"/>
                    <a:gd name="connsiteX31" fmla="*/ 152023 w 756613"/>
                    <a:gd name="connsiteY31" fmla="*/ 303535 h 965320"/>
                    <a:gd name="connsiteX32" fmla="*/ 179917 w 756613"/>
                    <a:gd name="connsiteY32" fmla="*/ 352350 h 965320"/>
                    <a:gd name="connsiteX33" fmla="*/ 223725 w 756613"/>
                    <a:gd name="connsiteY33" fmla="*/ 618597 h 965320"/>
                    <a:gd name="connsiteX34" fmla="*/ 304547 w 756613"/>
                    <a:gd name="connsiteY34" fmla="*/ 664372 h 965320"/>
                    <a:gd name="connsiteX35" fmla="*/ 459754 w 756613"/>
                    <a:gd name="connsiteY35" fmla="*/ 619670 h 965320"/>
                    <a:gd name="connsiteX36" fmla="*/ 469946 w 756613"/>
                    <a:gd name="connsiteY36" fmla="*/ 616988 h 965320"/>
                    <a:gd name="connsiteX37" fmla="*/ 190288 w 756613"/>
                    <a:gd name="connsiteY37" fmla="*/ 126513 h 965320"/>
                    <a:gd name="connsiteX38" fmla="*/ 280944 w 756613"/>
                    <a:gd name="connsiteY38" fmla="*/ 164063 h 965320"/>
                    <a:gd name="connsiteX39" fmla="*/ 358190 w 756613"/>
                    <a:gd name="connsiteY39" fmla="*/ 108632 h 965320"/>
                    <a:gd name="connsiteX40" fmla="*/ 447058 w 756613"/>
                    <a:gd name="connsiteY40" fmla="*/ 155302 h 965320"/>
                    <a:gd name="connsiteX41" fmla="*/ 353541 w 756613"/>
                    <a:gd name="connsiteY41" fmla="*/ 205011 h 965320"/>
                    <a:gd name="connsiteX42" fmla="*/ 341203 w 756613"/>
                    <a:gd name="connsiteY42" fmla="*/ 209481 h 965320"/>
                    <a:gd name="connsiteX43" fmla="*/ 201195 w 756613"/>
                    <a:gd name="connsiteY43" fmla="*/ 223965 h 965320"/>
                    <a:gd name="connsiteX44" fmla="*/ 192612 w 756613"/>
                    <a:gd name="connsiteY44" fmla="*/ 222534 h 965320"/>
                    <a:gd name="connsiteX45" fmla="*/ 113042 w 756613"/>
                    <a:gd name="connsiteY45" fmla="*/ 181944 h 965320"/>
                    <a:gd name="connsiteX46" fmla="*/ 106069 w 756613"/>
                    <a:gd name="connsiteY46" fmla="*/ 177474 h 965320"/>
                    <a:gd name="connsiteX47" fmla="*/ 190288 w 756613"/>
                    <a:gd name="connsiteY47" fmla="*/ 126513 h 96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56613" h="965320">
                      <a:moveTo>
                        <a:pt x="469946" y="616988"/>
                      </a:moveTo>
                      <a:cubicBezTo>
                        <a:pt x="469946" y="621637"/>
                        <a:pt x="469946" y="625213"/>
                        <a:pt x="469946" y="628611"/>
                      </a:cubicBezTo>
                      <a:cubicBezTo>
                        <a:pt x="467979" y="724274"/>
                        <a:pt x="454390" y="817970"/>
                        <a:pt x="452959" y="913633"/>
                      </a:cubicBezTo>
                      <a:cubicBezTo>
                        <a:pt x="452780" y="923468"/>
                        <a:pt x="454747" y="934375"/>
                        <a:pt x="459039" y="943315"/>
                      </a:cubicBezTo>
                      <a:cubicBezTo>
                        <a:pt x="471734" y="969779"/>
                        <a:pt x="514827" y="973355"/>
                        <a:pt x="530741" y="948680"/>
                      </a:cubicBezTo>
                      <a:cubicBezTo>
                        <a:pt x="535390" y="941348"/>
                        <a:pt x="538788" y="932229"/>
                        <a:pt x="539682" y="923646"/>
                      </a:cubicBezTo>
                      <a:cubicBezTo>
                        <a:pt x="545761" y="864997"/>
                        <a:pt x="551126" y="806168"/>
                        <a:pt x="556669" y="747340"/>
                      </a:cubicBezTo>
                      <a:cubicBezTo>
                        <a:pt x="559351" y="718194"/>
                        <a:pt x="562033" y="689227"/>
                        <a:pt x="564894" y="660081"/>
                      </a:cubicBezTo>
                      <a:cubicBezTo>
                        <a:pt x="565073" y="657578"/>
                        <a:pt x="565788" y="655253"/>
                        <a:pt x="566682" y="651498"/>
                      </a:cubicBezTo>
                      <a:cubicBezTo>
                        <a:pt x="569543" y="655432"/>
                        <a:pt x="571689" y="658114"/>
                        <a:pt x="573656" y="660975"/>
                      </a:cubicBezTo>
                      <a:cubicBezTo>
                        <a:pt x="610312" y="714439"/>
                        <a:pt x="636418" y="774698"/>
                        <a:pt x="673074" y="828162"/>
                      </a:cubicBezTo>
                      <a:cubicBezTo>
                        <a:pt x="680405" y="838712"/>
                        <a:pt x="689167" y="847295"/>
                        <a:pt x="701683" y="851228"/>
                      </a:cubicBezTo>
                      <a:cubicBezTo>
                        <a:pt x="724034" y="858381"/>
                        <a:pt x="756041" y="837997"/>
                        <a:pt x="756578" y="814572"/>
                      </a:cubicBezTo>
                      <a:cubicBezTo>
                        <a:pt x="756935" y="804202"/>
                        <a:pt x="754611" y="792400"/>
                        <a:pt x="749425" y="783460"/>
                      </a:cubicBezTo>
                      <a:cubicBezTo>
                        <a:pt x="701147" y="698704"/>
                        <a:pt x="652332" y="614485"/>
                        <a:pt x="602802" y="530444"/>
                      </a:cubicBezTo>
                      <a:cubicBezTo>
                        <a:pt x="588676" y="506484"/>
                        <a:pt x="567397" y="493967"/>
                        <a:pt x="538251" y="499152"/>
                      </a:cubicBezTo>
                      <a:cubicBezTo>
                        <a:pt x="499450" y="506126"/>
                        <a:pt x="464224" y="512384"/>
                        <a:pt x="425422" y="519179"/>
                      </a:cubicBezTo>
                      <a:cubicBezTo>
                        <a:pt x="423813" y="519537"/>
                        <a:pt x="422383" y="519716"/>
                        <a:pt x="419164" y="520073"/>
                      </a:cubicBezTo>
                      <a:cubicBezTo>
                        <a:pt x="415588" y="501477"/>
                        <a:pt x="394846" y="357535"/>
                        <a:pt x="388945" y="304071"/>
                      </a:cubicBezTo>
                      <a:cubicBezTo>
                        <a:pt x="387515" y="291912"/>
                        <a:pt x="390376" y="286190"/>
                        <a:pt x="401104" y="279574"/>
                      </a:cubicBezTo>
                      <a:cubicBezTo>
                        <a:pt x="447953" y="250965"/>
                        <a:pt x="481926" y="221998"/>
                        <a:pt x="528059" y="192315"/>
                      </a:cubicBezTo>
                      <a:cubicBezTo>
                        <a:pt x="541649" y="183554"/>
                        <a:pt x="550589" y="171216"/>
                        <a:pt x="550947" y="154408"/>
                      </a:cubicBezTo>
                      <a:cubicBezTo>
                        <a:pt x="551126" y="145825"/>
                        <a:pt x="545046" y="127944"/>
                        <a:pt x="527523" y="118646"/>
                      </a:cubicBezTo>
                      <a:cubicBezTo>
                        <a:pt x="466728" y="86818"/>
                        <a:pt x="430250" y="69473"/>
                        <a:pt x="369634" y="37645"/>
                      </a:cubicBezTo>
                      <a:cubicBezTo>
                        <a:pt x="366415" y="35857"/>
                        <a:pt x="361945" y="34069"/>
                        <a:pt x="358727" y="34784"/>
                      </a:cubicBezTo>
                      <a:cubicBezTo>
                        <a:pt x="347283" y="37824"/>
                        <a:pt x="341561" y="30671"/>
                        <a:pt x="334587" y="24056"/>
                      </a:cubicBezTo>
                      <a:cubicBezTo>
                        <a:pt x="293819" y="-14031"/>
                        <a:pt x="228196" y="-5806"/>
                        <a:pt x="198156" y="41042"/>
                      </a:cubicBezTo>
                      <a:cubicBezTo>
                        <a:pt x="193864" y="47837"/>
                        <a:pt x="189036" y="52129"/>
                        <a:pt x="181526" y="55526"/>
                      </a:cubicBezTo>
                      <a:cubicBezTo>
                        <a:pt x="164897" y="63036"/>
                        <a:pt x="36333" y="131520"/>
                        <a:pt x="24532" y="137600"/>
                      </a:cubicBezTo>
                      <a:cubicBezTo>
                        <a:pt x="-3363" y="152083"/>
                        <a:pt x="-7118" y="182838"/>
                        <a:pt x="11478" y="202507"/>
                      </a:cubicBezTo>
                      <a:cubicBezTo>
                        <a:pt x="17200" y="208587"/>
                        <a:pt x="23637" y="213951"/>
                        <a:pt x="30611" y="218421"/>
                      </a:cubicBezTo>
                      <a:cubicBezTo>
                        <a:pt x="77459" y="248819"/>
                        <a:pt x="152023" y="303535"/>
                        <a:pt x="152023" y="303535"/>
                      </a:cubicBezTo>
                      <a:cubicBezTo>
                        <a:pt x="170261" y="314085"/>
                        <a:pt x="177235" y="330177"/>
                        <a:pt x="179917" y="352350"/>
                      </a:cubicBezTo>
                      <a:cubicBezTo>
                        <a:pt x="181169" y="361827"/>
                        <a:pt x="223725" y="618597"/>
                        <a:pt x="223725" y="618597"/>
                      </a:cubicBezTo>
                      <a:cubicBezTo>
                        <a:pt x="233202" y="656505"/>
                        <a:pt x="266818" y="675101"/>
                        <a:pt x="304547" y="664372"/>
                      </a:cubicBezTo>
                      <a:cubicBezTo>
                        <a:pt x="356402" y="649531"/>
                        <a:pt x="408078" y="634511"/>
                        <a:pt x="459754" y="619670"/>
                      </a:cubicBezTo>
                      <a:cubicBezTo>
                        <a:pt x="462257" y="619134"/>
                        <a:pt x="465297" y="618240"/>
                        <a:pt x="469946" y="616988"/>
                      </a:cubicBezTo>
                      <a:close/>
                      <a:moveTo>
                        <a:pt x="190288" y="126513"/>
                      </a:moveTo>
                      <a:cubicBezTo>
                        <a:pt x="210136" y="166030"/>
                        <a:pt x="236778" y="168891"/>
                        <a:pt x="280944" y="164063"/>
                      </a:cubicBezTo>
                      <a:cubicBezTo>
                        <a:pt x="326720" y="159057"/>
                        <a:pt x="346567" y="140818"/>
                        <a:pt x="358190" y="108632"/>
                      </a:cubicBezTo>
                      <a:cubicBezTo>
                        <a:pt x="366237" y="111493"/>
                        <a:pt x="417018" y="137421"/>
                        <a:pt x="447058" y="155302"/>
                      </a:cubicBezTo>
                      <a:cubicBezTo>
                        <a:pt x="443661" y="157269"/>
                        <a:pt x="383760" y="189097"/>
                        <a:pt x="353541" y="205011"/>
                      </a:cubicBezTo>
                      <a:cubicBezTo>
                        <a:pt x="348713" y="207514"/>
                        <a:pt x="341203" y="209481"/>
                        <a:pt x="341203" y="209481"/>
                      </a:cubicBezTo>
                      <a:lnTo>
                        <a:pt x="201195" y="223965"/>
                      </a:lnTo>
                      <a:cubicBezTo>
                        <a:pt x="199586" y="225216"/>
                        <a:pt x="195116" y="223786"/>
                        <a:pt x="192612" y="222534"/>
                      </a:cubicBezTo>
                      <a:cubicBezTo>
                        <a:pt x="165970" y="209123"/>
                        <a:pt x="139506" y="195534"/>
                        <a:pt x="113042" y="181944"/>
                      </a:cubicBezTo>
                      <a:cubicBezTo>
                        <a:pt x="110896" y="180871"/>
                        <a:pt x="108930" y="179441"/>
                        <a:pt x="106069" y="177474"/>
                      </a:cubicBezTo>
                      <a:cubicBezTo>
                        <a:pt x="143797" y="152620"/>
                        <a:pt x="183314" y="130805"/>
                        <a:pt x="190288" y="126513"/>
                      </a:cubicBezTo>
                      <a:close/>
                    </a:path>
                  </a:pathLst>
                </a:custGeom>
                <a:solidFill>
                  <a:schemeClr val="bg1"/>
                </a:solidFill>
                <a:ln w="17859" cap="flat">
                  <a:noFill/>
                  <a:prstDash val="solid"/>
                  <a:miter/>
                </a:ln>
              </p:spPr>
              <p:txBody>
                <a:bodyPr rtlCol="0" anchor="ctr"/>
                <a:lstStyle/>
                <a:p>
                  <a:endParaRPr lang="en-US"/>
                </a:p>
              </p:txBody>
            </p:sp>
            <p:sp>
              <p:nvSpPr>
                <p:cNvPr id="24" name="Freeform: Shape 71">
                  <a:extLst>
                    <a:ext uri="{FF2B5EF4-FFF2-40B4-BE49-F238E27FC236}">
                      <a16:creationId xmlns:a16="http://schemas.microsoft.com/office/drawing/2014/main" id="{D69E70FE-B9D1-2352-DFCB-289230D54D42}"/>
                    </a:ext>
                  </a:extLst>
                </p:cNvPr>
                <p:cNvSpPr/>
                <p:nvPr/>
              </p:nvSpPr>
              <p:spPr>
                <a:xfrm>
                  <a:off x="4054433" y="4548065"/>
                  <a:ext cx="203306" cy="202065"/>
                </a:xfrm>
                <a:custGeom>
                  <a:avLst/>
                  <a:gdLst>
                    <a:gd name="connsiteX0" fmla="*/ 100670 w 203306"/>
                    <a:gd name="connsiteY0" fmla="*/ 2 h 202065"/>
                    <a:gd name="connsiteX1" fmla="*/ 203306 w 203306"/>
                    <a:gd name="connsiteY1" fmla="*/ 100851 h 202065"/>
                    <a:gd name="connsiteX2" fmla="*/ 102637 w 203306"/>
                    <a:gd name="connsiteY2" fmla="*/ 202057 h 202065"/>
                    <a:gd name="connsiteX3" fmla="*/ 0 w 203306"/>
                    <a:gd name="connsiteY3" fmla="*/ 100493 h 202065"/>
                    <a:gd name="connsiteX4" fmla="*/ 100670 w 203306"/>
                    <a:gd name="connsiteY4" fmla="*/ 2 h 202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306" h="202065">
                      <a:moveTo>
                        <a:pt x="100670" y="2"/>
                      </a:moveTo>
                      <a:cubicBezTo>
                        <a:pt x="157889" y="-355"/>
                        <a:pt x="203306" y="44347"/>
                        <a:pt x="203306" y="100851"/>
                      </a:cubicBezTo>
                      <a:cubicBezTo>
                        <a:pt x="203128" y="156103"/>
                        <a:pt x="158246" y="201163"/>
                        <a:pt x="102637" y="202057"/>
                      </a:cubicBezTo>
                      <a:cubicBezTo>
                        <a:pt x="46669" y="202772"/>
                        <a:pt x="0" y="156639"/>
                        <a:pt x="0" y="100493"/>
                      </a:cubicBezTo>
                      <a:cubicBezTo>
                        <a:pt x="179" y="44883"/>
                        <a:pt x="44702" y="360"/>
                        <a:pt x="100670" y="2"/>
                      </a:cubicBezTo>
                    </a:path>
                  </a:pathLst>
                </a:custGeom>
                <a:solidFill>
                  <a:schemeClr val="bg1"/>
                </a:solidFill>
                <a:ln w="17859" cap="flat">
                  <a:noFill/>
                  <a:prstDash val="solid"/>
                  <a:miter/>
                </a:ln>
              </p:spPr>
              <p:txBody>
                <a:bodyPr rtlCol="0" anchor="ctr"/>
                <a:lstStyle/>
                <a:p>
                  <a:endParaRPr lang="en-US"/>
                </a:p>
              </p:txBody>
            </p:sp>
            <p:sp>
              <p:nvSpPr>
                <p:cNvPr id="25" name="Freeform: Shape 72">
                  <a:extLst>
                    <a:ext uri="{FF2B5EF4-FFF2-40B4-BE49-F238E27FC236}">
                      <a16:creationId xmlns:a16="http://schemas.microsoft.com/office/drawing/2014/main" id="{97F7D237-F97C-3E81-6AEA-9ED8AF0EFC23}"/>
                    </a:ext>
                  </a:extLst>
                </p:cNvPr>
                <p:cNvSpPr/>
                <p:nvPr/>
              </p:nvSpPr>
              <p:spPr>
                <a:xfrm>
                  <a:off x="3979333" y="4920169"/>
                  <a:ext cx="324360" cy="407864"/>
                </a:xfrm>
                <a:custGeom>
                  <a:avLst/>
                  <a:gdLst>
                    <a:gd name="connsiteX0" fmla="*/ 0 w 324360"/>
                    <a:gd name="connsiteY0" fmla="*/ 0 h 407864"/>
                    <a:gd name="connsiteX1" fmla="*/ 99060 w 324360"/>
                    <a:gd name="connsiteY1" fmla="*/ 407865 h 407864"/>
                    <a:gd name="connsiteX2" fmla="*/ 324360 w 324360"/>
                    <a:gd name="connsiteY2" fmla="*/ 343672 h 407864"/>
                  </a:gdLst>
                  <a:ahLst/>
                  <a:cxnLst>
                    <a:cxn ang="0">
                      <a:pos x="connsiteX0" y="connsiteY0"/>
                    </a:cxn>
                    <a:cxn ang="0">
                      <a:pos x="connsiteX1" y="connsiteY1"/>
                    </a:cxn>
                    <a:cxn ang="0">
                      <a:pos x="connsiteX2" y="connsiteY2"/>
                    </a:cxn>
                  </a:cxnLst>
                  <a:rect l="l" t="t" r="r" b="b"/>
                  <a:pathLst>
                    <a:path w="324360" h="407864">
                      <a:moveTo>
                        <a:pt x="0" y="0"/>
                      </a:moveTo>
                      <a:lnTo>
                        <a:pt x="99060" y="407865"/>
                      </a:lnTo>
                      <a:lnTo>
                        <a:pt x="324360" y="343672"/>
                      </a:lnTo>
                    </a:path>
                  </a:pathLst>
                </a:custGeom>
                <a:noFill/>
                <a:ln w="9525" cap="rnd">
                  <a:solidFill>
                    <a:schemeClr val="bg1"/>
                  </a:solidFill>
                  <a:prstDash val="solid"/>
                  <a:round/>
                </a:ln>
              </p:spPr>
              <p:txBody>
                <a:bodyPr rtlCol="0" anchor="ctr"/>
                <a:lstStyle/>
                <a:p>
                  <a:endParaRPr lang="en-US"/>
                </a:p>
              </p:txBody>
            </p:sp>
          </p:grpSp>
        </p:grpSp>
      </p:grpSp>
      <p:pic>
        <p:nvPicPr>
          <p:cNvPr id="30" name="Grafik 7">
            <a:extLst>
              <a:ext uri="{FF2B5EF4-FFF2-40B4-BE49-F238E27FC236}">
                <a16:creationId xmlns:a16="http://schemas.microsoft.com/office/drawing/2014/main" id="{C7C6E162-393F-326E-AB70-A7826A834E5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03260" y="1648635"/>
            <a:ext cx="914399" cy="914399"/>
          </a:xfrm>
          <a:prstGeom prst="rect">
            <a:avLst/>
          </a:prstGeom>
        </p:spPr>
      </p:pic>
    </p:spTree>
    <p:extLst>
      <p:ext uri="{BB962C8B-B14F-4D97-AF65-F5344CB8AC3E}">
        <p14:creationId xmlns:p14="http://schemas.microsoft.com/office/powerpoint/2010/main" val="35481706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platzhalter 11" descr="Ein Bild, das drinnen, Mann, Tisch, Frau enthält.&#10;&#10;Automatisch generierte Beschreibung">
            <a:extLst>
              <a:ext uri="{FF2B5EF4-FFF2-40B4-BE49-F238E27FC236}">
                <a16:creationId xmlns:a16="http://schemas.microsoft.com/office/drawing/2014/main" id="{9810A197-0904-5F96-C3F8-496C8FC6CD2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60459" y="-1"/>
            <a:ext cx="6631541" cy="6858000"/>
          </a:xfrm>
          <a:custGeom>
            <a:avLst/>
            <a:gdLst>
              <a:gd name="connsiteX0" fmla="*/ 4761301 w 6631541"/>
              <a:gd name="connsiteY0" fmla="*/ 1 h 6858000"/>
              <a:gd name="connsiteX1" fmla="*/ 4761301 w 6631541"/>
              <a:gd name="connsiteY1" fmla="*/ 673805 h 6858000"/>
              <a:gd name="connsiteX2" fmla="*/ 6326740 w 6631541"/>
              <a:gd name="connsiteY2" fmla="*/ 673805 h 6858000"/>
              <a:gd name="connsiteX3" fmla="*/ 6326740 w 6631541"/>
              <a:gd name="connsiteY3" fmla="*/ 1 h 6858000"/>
              <a:gd name="connsiteX4" fmla="*/ 2183862 w 6631541"/>
              <a:gd name="connsiteY4" fmla="*/ 0 h 6858000"/>
              <a:gd name="connsiteX5" fmla="*/ 6631541 w 6631541"/>
              <a:gd name="connsiteY5" fmla="*/ 0 h 6858000"/>
              <a:gd name="connsiteX6" fmla="*/ 6631541 w 6631541"/>
              <a:gd name="connsiteY6" fmla="*/ 6858000 h 6858000"/>
              <a:gd name="connsiteX7" fmla="*/ 0 w 6631541"/>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1541" h="6858000">
                <a:moveTo>
                  <a:pt x="4761301" y="1"/>
                </a:moveTo>
                <a:lnTo>
                  <a:pt x="4761301" y="673805"/>
                </a:lnTo>
                <a:lnTo>
                  <a:pt x="6326740" y="673805"/>
                </a:lnTo>
                <a:lnTo>
                  <a:pt x="6326740" y="1"/>
                </a:lnTo>
                <a:close/>
                <a:moveTo>
                  <a:pt x="2183862" y="0"/>
                </a:moveTo>
                <a:lnTo>
                  <a:pt x="6631541" y="0"/>
                </a:lnTo>
                <a:lnTo>
                  <a:pt x="6631541" y="6858000"/>
                </a:lnTo>
                <a:lnTo>
                  <a:pt x="0" y="6858000"/>
                </a:lnTo>
                <a:close/>
              </a:path>
            </a:pathLst>
          </a:custGeom>
        </p:spPr>
      </p:pic>
      <p:sp>
        <p:nvSpPr>
          <p:cNvPr id="4" name="Titel 1">
            <a:extLst>
              <a:ext uri="{FF2B5EF4-FFF2-40B4-BE49-F238E27FC236}">
                <a16:creationId xmlns:a16="http://schemas.microsoft.com/office/drawing/2014/main" id="{7CE348E1-FD26-8044-F6A4-D451570582BE}"/>
              </a:ext>
            </a:extLst>
          </p:cNvPr>
          <p:cNvSpPr txBox="1">
            <a:spLocks/>
          </p:cNvSpPr>
          <p:nvPr/>
        </p:nvSpPr>
        <p:spPr>
          <a:xfrm>
            <a:off x="304801" y="304799"/>
            <a:ext cx="9753600" cy="381001"/>
          </a:xfrm>
          <a:prstGeom prst="rect">
            <a:avLst/>
          </a:prstGeom>
        </p:spPr>
        <p:txBody>
          <a:bodyPr/>
          <a:lstStyle>
            <a:lvl1pPr lvl="0" algn="l" rtl="0">
              <a:lnSpc>
                <a:spcPct val="90000"/>
              </a:lnSpc>
              <a:spcBef>
                <a:spcPct val="0"/>
              </a:spcBef>
              <a:buNone/>
              <a:defRPr lang="en-US" sz="4400" dirty="0">
                <a:solidFill>
                  <a:schemeClr val="tx1"/>
                </a:solidFill>
                <a:latin typeface="+mj-lt"/>
              </a:defRPr>
            </a:lvl1pPr>
          </a:lstStyle>
          <a:p>
            <a:r>
              <a:rPr lang="pl-PL" altLang="fi-FI" sz="3600" dirty="0">
                <a:solidFill>
                  <a:srgbClr val="C00000"/>
                </a:solidFill>
                <a:sym typeface="+mj-lt"/>
              </a:rPr>
              <a:t>Wygodne w użyciu oprogramowanie</a:t>
            </a:r>
            <a:endParaRPr lang="pl-PL" sz="3600" dirty="0">
              <a:solidFill>
                <a:srgbClr val="C00000"/>
              </a:solidFill>
              <a:sym typeface="+mj-lt"/>
            </a:endParaRPr>
          </a:p>
        </p:txBody>
      </p:sp>
      <p:sp>
        <p:nvSpPr>
          <p:cNvPr id="5" name="Inhaltsplatzhalter 6">
            <a:extLst>
              <a:ext uri="{FF2B5EF4-FFF2-40B4-BE49-F238E27FC236}">
                <a16:creationId xmlns:a16="http://schemas.microsoft.com/office/drawing/2014/main" id="{2D48DE04-8D1A-FE0D-D368-2717023C683C}"/>
              </a:ext>
            </a:extLst>
          </p:cNvPr>
          <p:cNvSpPr txBox="1">
            <a:spLocks/>
          </p:cNvSpPr>
          <p:nvPr/>
        </p:nvSpPr>
        <p:spPr>
          <a:xfrm>
            <a:off x="304800" y="1447800"/>
            <a:ext cx="5791200" cy="4607954"/>
          </a:xfrm>
          <a:prstGeom prst="rect">
            <a:avLst/>
          </a:prstGeom>
        </p:spPr>
        <p:txBody>
          <a:bodyPr anchor="t"/>
          <a:lstStyle>
            <a:lvl1pPr marL="228600" lvl="0" indent="-228600" algn="l" rtl="0">
              <a:lnSpc>
                <a:spcPct val="90000"/>
              </a:lnSpc>
              <a:spcBef>
                <a:spcPts val="1000"/>
              </a:spcBef>
              <a:buFont typeface="Arial"/>
              <a:buChar char="•"/>
              <a:defRPr lang="en-US" sz="2800" dirty="0">
                <a:solidFill>
                  <a:schemeClr val="tx1"/>
                </a:solidFill>
                <a:latin typeface="+mn-lt"/>
              </a:defRPr>
            </a:lvl1pPr>
            <a:lvl2pPr marL="685800" lvl="1" indent="-228600" algn="l" rtl="0">
              <a:lnSpc>
                <a:spcPct val="90000"/>
              </a:lnSpc>
              <a:spcBef>
                <a:spcPts val="500"/>
              </a:spcBef>
              <a:buFont typeface="Arial"/>
              <a:buChar char="•"/>
              <a:defRPr lang="en-US" sz="2400" dirty="0">
                <a:solidFill>
                  <a:schemeClr val="tx1"/>
                </a:solidFill>
                <a:latin typeface="+mn-lt"/>
              </a:defRPr>
            </a:lvl2pPr>
            <a:lvl3pPr marL="1143000" lvl="2" indent="-228600" algn="l" rtl="0">
              <a:lnSpc>
                <a:spcPct val="90000"/>
              </a:lnSpc>
              <a:spcBef>
                <a:spcPts val="500"/>
              </a:spcBef>
              <a:buFont typeface="Arial"/>
              <a:buChar char="•"/>
              <a:defRPr lang="en-US" sz="2000" dirty="0">
                <a:solidFill>
                  <a:schemeClr val="tx1"/>
                </a:solidFill>
                <a:latin typeface="+mn-lt"/>
              </a:defRPr>
            </a:lvl3pPr>
            <a:lvl4pPr marL="1600200" lvl="3" indent="-228600" algn="l" rtl="0">
              <a:lnSpc>
                <a:spcPct val="90000"/>
              </a:lnSpc>
              <a:spcBef>
                <a:spcPts val="500"/>
              </a:spcBef>
              <a:buFont typeface="Arial"/>
              <a:buChar char="•"/>
              <a:defRPr lang="en-US" sz="1800" dirty="0">
                <a:solidFill>
                  <a:schemeClr val="tx1"/>
                </a:solidFill>
                <a:latin typeface="+mn-lt"/>
              </a:defRPr>
            </a:lvl4pPr>
            <a:lvl5pPr marL="2057400" lvl="4" indent="-228600" algn="l" rtl="0">
              <a:lnSpc>
                <a:spcPct val="90000"/>
              </a:lnSpc>
              <a:spcBef>
                <a:spcPts val="500"/>
              </a:spcBef>
              <a:buFont typeface="Arial"/>
              <a:buChar char="•"/>
              <a:defRPr lang="en-US" sz="1800" dirty="0">
                <a:solidFill>
                  <a:schemeClr val="tx1"/>
                </a:solidFill>
                <a:latin typeface="+mn-lt"/>
              </a:defRPr>
            </a:lvl5pPr>
            <a:lvl6pPr marL="2514600" lvl="5" indent="-228600" algn="l" rtl="0">
              <a:lnSpc>
                <a:spcPct val="90000"/>
              </a:lnSpc>
              <a:spcBef>
                <a:spcPts val="500"/>
              </a:spcBef>
              <a:buFont typeface="Arial"/>
              <a:buChar char="•"/>
              <a:defRPr lang="en-US" sz="1800" dirty="0">
                <a:solidFill>
                  <a:schemeClr val="tx1"/>
                </a:solidFill>
                <a:latin typeface="+mn-lt"/>
              </a:defRPr>
            </a:lvl6pPr>
            <a:lvl7pPr marL="2971800" lvl="6" indent="-228600" algn="l" rtl="0">
              <a:lnSpc>
                <a:spcPct val="90000"/>
              </a:lnSpc>
              <a:spcBef>
                <a:spcPts val="500"/>
              </a:spcBef>
              <a:buFont typeface="Arial"/>
              <a:buChar char="•"/>
              <a:defRPr lang="en-US" sz="1800" dirty="0">
                <a:solidFill>
                  <a:schemeClr val="tx1"/>
                </a:solidFill>
                <a:latin typeface="+mn-lt"/>
              </a:defRPr>
            </a:lvl7pPr>
            <a:lvl8pPr marL="3429000" lvl="7" indent="-228600" algn="l" rtl="0">
              <a:lnSpc>
                <a:spcPct val="90000"/>
              </a:lnSpc>
              <a:spcBef>
                <a:spcPts val="500"/>
              </a:spcBef>
              <a:buFont typeface="Arial"/>
              <a:buChar char="•"/>
              <a:defRPr lang="en-US" sz="1800" dirty="0">
                <a:solidFill>
                  <a:schemeClr val="tx1"/>
                </a:solidFill>
                <a:latin typeface="+mn-lt"/>
              </a:defRPr>
            </a:lvl8pPr>
            <a:lvl9pPr marL="3886200" lvl="8" indent="-228600" algn="l" rtl="0">
              <a:lnSpc>
                <a:spcPct val="90000"/>
              </a:lnSpc>
              <a:spcBef>
                <a:spcPts val="500"/>
              </a:spcBef>
              <a:buFont typeface="Arial"/>
              <a:buChar char="•"/>
              <a:defRPr lang="en-US" sz="1800" dirty="0">
                <a:solidFill>
                  <a:schemeClr val="tx1"/>
                </a:solidFill>
                <a:latin typeface="+mn-lt"/>
              </a:defRPr>
            </a:lvl9pPr>
          </a:lstStyle>
          <a:p>
            <a:r>
              <a:rPr lang="pl-PL" sz="2400" dirty="0">
                <a:sym typeface="+mn-lt"/>
              </a:rPr>
              <a:t>Intuicyjne oprogramowanie</a:t>
            </a:r>
          </a:p>
          <a:p>
            <a:pPr lvl="1"/>
            <a:r>
              <a:rPr lang="pl-PL" sz="2000" dirty="0">
                <a:sym typeface="+mn-lt"/>
              </a:rPr>
              <a:t>Polska wersja językowa</a:t>
            </a:r>
          </a:p>
          <a:p>
            <a:pPr lvl="1"/>
            <a:r>
              <a:rPr lang="pl-PL" sz="2000" dirty="0">
                <a:sym typeface="+mn-lt"/>
              </a:rPr>
              <a:t>Opcjonalny ekran dotykowy</a:t>
            </a:r>
          </a:p>
          <a:p>
            <a:pPr lvl="1"/>
            <a:endParaRPr lang="pl-PL" sz="2000" dirty="0">
              <a:sym typeface="+mn-lt"/>
            </a:endParaRPr>
          </a:p>
          <a:p>
            <a:r>
              <a:rPr lang="pl-PL" sz="2400" dirty="0">
                <a:sym typeface="+mn-lt"/>
              </a:rPr>
              <a:t>Dwukierunkowa komunikacja LIS</a:t>
            </a:r>
          </a:p>
        </p:txBody>
      </p:sp>
      <p:pic>
        <p:nvPicPr>
          <p:cNvPr id="7" name="Picture 4" descr="https://encrypted-tbn0.gstatic.com/images?q=tbn:ANd9GcQFs-rQFHKM-XUXfoi8ZGnTCLPuysKfIW6zSjwh9-oIaI3ZJ00V">
            <a:extLst>
              <a:ext uri="{FF2B5EF4-FFF2-40B4-BE49-F238E27FC236}">
                <a16:creationId xmlns:a16="http://schemas.microsoft.com/office/drawing/2014/main" id="{7006C64E-0D6A-F6F6-402A-D4EBAC4DA862}"/>
              </a:ext>
            </a:extLst>
          </p:cNvPr>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58228" y="918204"/>
            <a:ext cx="966281" cy="1114191"/>
          </a:xfrm>
          <a:prstGeom prst="rect">
            <a:avLst/>
          </a:prstGeom>
          <a:noFill/>
          <a:ln>
            <a:noFill/>
          </a:ln>
        </p:spPr>
      </p:pic>
      <p:grpSp>
        <p:nvGrpSpPr>
          <p:cNvPr id="8" name="Group 30">
            <a:extLst>
              <a:ext uri="{FF2B5EF4-FFF2-40B4-BE49-F238E27FC236}">
                <a16:creationId xmlns:a16="http://schemas.microsoft.com/office/drawing/2014/main" id="{CFA4D1BB-B97E-909C-AC0C-75C1296C34F2}"/>
              </a:ext>
            </a:extLst>
          </p:cNvPr>
          <p:cNvGrpSpPr>
            <a:grpSpLocks noChangeAspect="1"/>
          </p:cNvGrpSpPr>
          <p:nvPr/>
        </p:nvGrpSpPr>
        <p:grpSpPr>
          <a:xfrm>
            <a:off x="10292953" y="893063"/>
            <a:ext cx="1608310" cy="584939"/>
            <a:chOff x="343668" y="1851251"/>
            <a:chExt cx="11514733" cy="4187886"/>
          </a:xfrm>
        </p:grpSpPr>
        <p:sp>
          <p:nvSpPr>
            <p:cNvPr id="9" name="Rectangle 51">
              <a:extLst>
                <a:ext uri="{FF2B5EF4-FFF2-40B4-BE49-F238E27FC236}">
                  <a16:creationId xmlns:a16="http://schemas.microsoft.com/office/drawing/2014/main" id="{C7B75510-C2C1-7B6D-990C-E74A02655B05}"/>
                </a:ext>
              </a:extLst>
            </p:cNvPr>
            <p:cNvSpPr/>
            <p:nvPr/>
          </p:nvSpPr>
          <p:spPr bwMode="auto">
            <a:xfrm>
              <a:off x="343668" y="4455137"/>
              <a:ext cx="3139200" cy="1584000"/>
            </a:xfrm>
            <a:prstGeom prst="rect">
              <a:avLst/>
            </a:prstGeom>
            <a:solidFill>
              <a:schemeClr val="tx2">
                <a:lumMod val="75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10" name="Rectangle 52">
              <a:extLst>
                <a:ext uri="{FF2B5EF4-FFF2-40B4-BE49-F238E27FC236}">
                  <a16:creationId xmlns:a16="http://schemas.microsoft.com/office/drawing/2014/main" id="{0ED8ADE8-DAFA-F9D4-1C51-145DBF6E57BE}"/>
                </a:ext>
              </a:extLst>
            </p:cNvPr>
            <p:cNvSpPr/>
            <p:nvPr/>
          </p:nvSpPr>
          <p:spPr bwMode="auto">
            <a:xfrm>
              <a:off x="4296205" y="4455137"/>
              <a:ext cx="3139200" cy="1584000"/>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11" name="Rectangle 53">
              <a:extLst>
                <a:ext uri="{FF2B5EF4-FFF2-40B4-BE49-F238E27FC236}">
                  <a16:creationId xmlns:a16="http://schemas.microsoft.com/office/drawing/2014/main" id="{D76E24CE-78C8-61C3-68D4-5666B94C8933}"/>
                </a:ext>
              </a:extLst>
            </p:cNvPr>
            <p:cNvSpPr/>
            <p:nvPr/>
          </p:nvSpPr>
          <p:spPr bwMode="auto">
            <a:xfrm>
              <a:off x="8258401" y="4455137"/>
              <a:ext cx="3139200" cy="1584000"/>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12" name="Parallelogram 54">
              <a:extLst>
                <a:ext uri="{FF2B5EF4-FFF2-40B4-BE49-F238E27FC236}">
                  <a16:creationId xmlns:a16="http://schemas.microsoft.com/office/drawing/2014/main" id="{C6A2FB9C-5A8D-1AFB-B01D-147A15C28A4F}"/>
                </a:ext>
              </a:extLst>
            </p:cNvPr>
            <p:cNvSpPr/>
            <p:nvPr/>
          </p:nvSpPr>
          <p:spPr bwMode="auto">
            <a:xfrm>
              <a:off x="343668" y="3028232"/>
              <a:ext cx="3600000" cy="1440000"/>
            </a:xfrm>
            <a:prstGeom prst="parallelogram">
              <a:avLst>
                <a:gd name="adj" fmla="val 31844"/>
              </a:avLst>
            </a:prstGeom>
            <a:solidFill>
              <a:schemeClr val="tx2"/>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13" name="Group 55">
              <a:extLst>
                <a:ext uri="{FF2B5EF4-FFF2-40B4-BE49-F238E27FC236}">
                  <a16:creationId xmlns:a16="http://schemas.microsoft.com/office/drawing/2014/main" id="{4FC9FE70-5737-D7B4-FCC5-DAD8AE4441D2}"/>
                </a:ext>
              </a:extLst>
            </p:cNvPr>
            <p:cNvGrpSpPr/>
            <p:nvPr/>
          </p:nvGrpSpPr>
          <p:grpSpPr>
            <a:xfrm>
              <a:off x="1571478" y="1851251"/>
              <a:ext cx="1504370" cy="1504370"/>
              <a:chOff x="5343815" y="1101555"/>
              <a:chExt cx="1504370" cy="1504370"/>
            </a:xfrm>
          </p:grpSpPr>
          <p:sp>
            <p:nvSpPr>
              <p:cNvPr id="25" name="Freeform: Shape 67">
                <a:extLst>
                  <a:ext uri="{FF2B5EF4-FFF2-40B4-BE49-F238E27FC236}">
                    <a16:creationId xmlns:a16="http://schemas.microsoft.com/office/drawing/2014/main" id="{64A1A8B3-2783-36E7-385C-6123A04A4EDE}"/>
                  </a:ext>
                </a:extLst>
              </p:cNvPr>
              <p:cNvSpPr/>
              <p:nvPr/>
            </p:nvSpPr>
            <p:spPr>
              <a:xfrm>
                <a:off x="5343815" y="1101555"/>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tx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marL="0" lvl="0" indent="0" algn="ctr" defTabSz="1289050">
                  <a:lnSpc>
                    <a:spcPct val="90000"/>
                  </a:lnSpc>
                  <a:spcBef>
                    <a:spcPct val="0"/>
                  </a:spcBef>
                  <a:spcAft>
                    <a:spcPct val="35000"/>
                  </a:spcAft>
                  <a:buNone/>
                </a:pPr>
                <a:endParaRPr lang="en-US" sz="2900" kern="1200"/>
              </a:p>
            </p:txBody>
          </p:sp>
          <p:pic>
            <p:nvPicPr>
              <p:cNvPr id="26" name="Graphic 68">
                <a:extLst>
                  <a:ext uri="{FF2B5EF4-FFF2-40B4-BE49-F238E27FC236}">
                    <a16:creationId xmlns:a16="http://schemas.microsoft.com/office/drawing/2014/main" id="{B34BA3FF-5001-1580-C7BF-98E8D9D9E096}"/>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23810" y="1281550"/>
                <a:ext cx="1144381" cy="1144381"/>
              </a:xfrm>
              <a:prstGeom prst="rect">
                <a:avLst/>
              </a:prstGeom>
            </p:spPr>
          </p:pic>
        </p:grpSp>
        <p:sp>
          <p:nvSpPr>
            <p:cNvPr id="14" name="Parallelogram 56">
              <a:extLst>
                <a:ext uri="{FF2B5EF4-FFF2-40B4-BE49-F238E27FC236}">
                  <a16:creationId xmlns:a16="http://schemas.microsoft.com/office/drawing/2014/main" id="{40A1DA24-3E2C-50A8-F22C-C9C91917EE45}"/>
                </a:ext>
              </a:extLst>
            </p:cNvPr>
            <p:cNvSpPr/>
            <p:nvPr/>
          </p:nvSpPr>
          <p:spPr bwMode="auto">
            <a:xfrm>
              <a:off x="8258401" y="3028232"/>
              <a:ext cx="3600000" cy="1440000"/>
            </a:xfrm>
            <a:prstGeom prst="parallelogram">
              <a:avLst>
                <a:gd name="adj" fmla="val 31844"/>
              </a:avLst>
            </a:prstGeom>
            <a:solidFill>
              <a:schemeClr val="bg2">
                <a:lumMod val="75000"/>
              </a:schemeClr>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15" name="Group 57">
              <a:extLst>
                <a:ext uri="{FF2B5EF4-FFF2-40B4-BE49-F238E27FC236}">
                  <a16:creationId xmlns:a16="http://schemas.microsoft.com/office/drawing/2014/main" id="{AA95FFA3-6B79-0480-9EF8-4E9238FA2931}"/>
                </a:ext>
              </a:extLst>
            </p:cNvPr>
            <p:cNvGrpSpPr/>
            <p:nvPr/>
          </p:nvGrpSpPr>
          <p:grpSpPr>
            <a:xfrm>
              <a:off x="9486211" y="1851251"/>
              <a:ext cx="1504370" cy="1504370"/>
              <a:chOff x="7167592" y="4260429"/>
              <a:chExt cx="1504370" cy="1504370"/>
            </a:xfrm>
          </p:grpSpPr>
          <p:sp>
            <p:nvSpPr>
              <p:cNvPr id="23" name="Freeform: Shape 65">
                <a:extLst>
                  <a:ext uri="{FF2B5EF4-FFF2-40B4-BE49-F238E27FC236}">
                    <a16:creationId xmlns:a16="http://schemas.microsoft.com/office/drawing/2014/main" id="{56AFE6A7-0DA7-707D-D669-B1162DE4A5B9}"/>
                  </a:ext>
                </a:extLst>
              </p:cNvPr>
              <p:cNvSpPr/>
              <p:nvPr/>
            </p:nvSpPr>
            <p:spPr>
              <a:xfrm>
                <a:off x="7167592" y="4260429"/>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marL="0" lvl="0" indent="0" algn="ctr" defTabSz="1289050">
                  <a:lnSpc>
                    <a:spcPct val="90000"/>
                  </a:lnSpc>
                  <a:spcBef>
                    <a:spcPct val="0"/>
                  </a:spcBef>
                  <a:spcAft>
                    <a:spcPct val="35000"/>
                  </a:spcAft>
                  <a:buNone/>
                </a:pPr>
                <a:endParaRPr lang="en-US" sz="2900" kern="1200"/>
              </a:p>
            </p:txBody>
          </p:sp>
          <p:pic>
            <p:nvPicPr>
              <p:cNvPr id="24" name="Graphic 66">
                <a:extLst>
                  <a:ext uri="{FF2B5EF4-FFF2-40B4-BE49-F238E27FC236}">
                    <a16:creationId xmlns:a16="http://schemas.microsoft.com/office/drawing/2014/main" id="{5ED80394-2CE3-9DE4-CA8B-5534B7E855F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347587" y="4440424"/>
                <a:ext cx="1144381" cy="1144381"/>
              </a:xfrm>
              <a:prstGeom prst="rect">
                <a:avLst/>
              </a:prstGeom>
            </p:spPr>
          </p:pic>
        </p:grpSp>
        <p:sp>
          <p:nvSpPr>
            <p:cNvPr id="16" name="Parallelogram 58">
              <a:extLst>
                <a:ext uri="{FF2B5EF4-FFF2-40B4-BE49-F238E27FC236}">
                  <a16:creationId xmlns:a16="http://schemas.microsoft.com/office/drawing/2014/main" id="{384D1BA3-E284-F462-6CB1-B93C805FA8B6}"/>
                </a:ext>
              </a:extLst>
            </p:cNvPr>
            <p:cNvSpPr/>
            <p:nvPr/>
          </p:nvSpPr>
          <p:spPr bwMode="auto">
            <a:xfrm>
              <a:off x="4296205" y="3028232"/>
              <a:ext cx="3600000" cy="1440000"/>
            </a:xfrm>
            <a:prstGeom prst="parallelogram">
              <a:avLst>
                <a:gd name="adj" fmla="val 31844"/>
              </a:avLst>
            </a:prstGeom>
            <a:solidFill>
              <a:schemeClr val="bg2">
                <a:lumMod val="75000"/>
              </a:schemeClr>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17" name="Group 59">
              <a:extLst>
                <a:ext uri="{FF2B5EF4-FFF2-40B4-BE49-F238E27FC236}">
                  <a16:creationId xmlns:a16="http://schemas.microsoft.com/office/drawing/2014/main" id="{39A903E6-3437-5804-F484-539012A36C92}"/>
                </a:ext>
              </a:extLst>
            </p:cNvPr>
            <p:cNvGrpSpPr/>
            <p:nvPr/>
          </p:nvGrpSpPr>
          <p:grpSpPr>
            <a:xfrm>
              <a:off x="5528845" y="1851251"/>
              <a:ext cx="1504370" cy="1504370"/>
              <a:chOff x="3520038" y="4260429"/>
              <a:chExt cx="1504370" cy="1504370"/>
            </a:xfrm>
          </p:grpSpPr>
          <p:sp>
            <p:nvSpPr>
              <p:cNvPr id="18" name="Freeform: Shape 60">
                <a:extLst>
                  <a:ext uri="{FF2B5EF4-FFF2-40B4-BE49-F238E27FC236}">
                    <a16:creationId xmlns:a16="http://schemas.microsoft.com/office/drawing/2014/main" id="{34071702-FED3-CEB9-6A77-F2B1EB0BEABE}"/>
                  </a:ext>
                </a:extLst>
              </p:cNvPr>
              <p:cNvSpPr/>
              <p:nvPr/>
            </p:nvSpPr>
            <p:spPr>
              <a:xfrm>
                <a:off x="3520038" y="4260429"/>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marL="0" lvl="0" indent="0" algn="ctr" defTabSz="1289050">
                  <a:lnSpc>
                    <a:spcPct val="90000"/>
                  </a:lnSpc>
                  <a:spcBef>
                    <a:spcPct val="0"/>
                  </a:spcBef>
                  <a:spcAft>
                    <a:spcPct val="35000"/>
                  </a:spcAft>
                  <a:buNone/>
                </a:pPr>
                <a:endParaRPr lang="en-US" sz="2900" kern="1200"/>
              </a:p>
            </p:txBody>
          </p:sp>
          <p:grpSp>
            <p:nvGrpSpPr>
              <p:cNvPr id="19" name="Group 61">
                <a:extLst>
                  <a:ext uri="{FF2B5EF4-FFF2-40B4-BE49-F238E27FC236}">
                    <a16:creationId xmlns:a16="http://schemas.microsoft.com/office/drawing/2014/main" id="{4744B774-EEE4-E9B5-F5EF-558C77334A22}"/>
                  </a:ext>
                </a:extLst>
              </p:cNvPr>
              <p:cNvGrpSpPr/>
              <p:nvPr/>
            </p:nvGrpSpPr>
            <p:grpSpPr>
              <a:xfrm>
                <a:off x="3886675" y="4548065"/>
                <a:ext cx="756613" cy="987042"/>
                <a:chOff x="3886675" y="4548065"/>
                <a:chExt cx="756613" cy="987042"/>
              </a:xfrm>
            </p:grpSpPr>
            <p:sp>
              <p:nvSpPr>
                <p:cNvPr id="20" name="Freeform: Shape 62">
                  <a:extLst>
                    <a:ext uri="{FF2B5EF4-FFF2-40B4-BE49-F238E27FC236}">
                      <a16:creationId xmlns:a16="http://schemas.microsoft.com/office/drawing/2014/main" id="{FA1B0568-9AE6-C5F8-8B72-5F13ACFFCA9D}"/>
                    </a:ext>
                  </a:extLst>
                </p:cNvPr>
                <p:cNvSpPr/>
                <p:nvPr/>
              </p:nvSpPr>
              <p:spPr>
                <a:xfrm>
                  <a:off x="3886675" y="4569787"/>
                  <a:ext cx="756613" cy="965320"/>
                </a:xfrm>
                <a:custGeom>
                  <a:avLst/>
                  <a:gdLst>
                    <a:gd name="connsiteX0" fmla="*/ 469946 w 756613"/>
                    <a:gd name="connsiteY0" fmla="*/ 616988 h 965320"/>
                    <a:gd name="connsiteX1" fmla="*/ 469946 w 756613"/>
                    <a:gd name="connsiteY1" fmla="*/ 628611 h 965320"/>
                    <a:gd name="connsiteX2" fmla="*/ 452959 w 756613"/>
                    <a:gd name="connsiteY2" fmla="*/ 913633 h 965320"/>
                    <a:gd name="connsiteX3" fmla="*/ 459039 w 756613"/>
                    <a:gd name="connsiteY3" fmla="*/ 943315 h 965320"/>
                    <a:gd name="connsiteX4" fmla="*/ 530741 w 756613"/>
                    <a:gd name="connsiteY4" fmla="*/ 948680 h 965320"/>
                    <a:gd name="connsiteX5" fmla="*/ 539682 w 756613"/>
                    <a:gd name="connsiteY5" fmla="*/ 923646 h 965320"/>
                    <a:gd name="connsiteX6" fmla="*/ 556669 w 756613"/>
                    <a:gd name="connsiteY6" fmla="*/ 747340 h 965320"/>
                    <a:gd name="connsiteX7" fmla="*/ 564894 w 756613"/>
                    <a:gd name="connsiteY7" fmla="*/ 660081 h 965320"/>
                    <a:gd name="connsiteX8" fmla="*/ 566682 w 756613"/>
                    <a:gd name="connsiteY8" fmla="*/ 651498 h 965320"/>
                    <a:gd name="connsiteX9" fmla="*/ 573656 w 756613"/>
                    <a:gd name="connsiteY9" fmla="*/ 660975 h 965320"/>
                    <a:gd name="connsiteX10" fmla="*/ 673074 w 756613"/>
                    <a:gd name="connsiteY10" fmla="*/ 828162 h 965320"/>
                    <a:gd name="connsiteX11" fmla="*/ 701683 w 756613"/>
                    <a:gd name="connsiteY11" fmla="*/ 851228 h 965320"/>
                    <a:gd name="connsiteX12" fmla="*/ 756578 w 756613"/>
                    <a:gd name="connsiteY12" fmla="*/ 814572 h 965320"/>
                    <a:gd name="connsiteX13" fmla="*/ 749425 w 756613"/>
                    <a:gd name="connsiteY13" fmla="*/ 783460 h 965320"/>
                    <a:gd name="connsiteX14" fmla="*/ 602802 w 756613"/>
                    <a:gd name="connsiteY14" fmla="*/ 530444 h 965320"/>
                    <a:gd name="connsiteX15" fmla="*/ 538251 w 756613"/>
                    <a:gd name="connsiteY15" fmla="*/ 499152 h 965320"/>
                    <a:gd name="connsiteX16" fmla="*/ 425422 w 756613"/>
                    <a:gd name="connsiteY16" fmla="*/ 519179 h 965320"/>
                    <a:gd name="connsiteX17" fmla="*/ 419164 w 756613"/>
                    <a:gd name="connsiteY17" fmla="*/ 520073 h 965320"/>
                    <a:gd name="connsiteX18" fmla="*/ 388945 w 756613"/>
                    <a:gd name="connsiteY18" fmla="*/ 304071 h 965320"/>
                    <a:gd name="connsiteX19" fmla="*/ 401104 w 756613"/>
                    <a:gd name="connsiteY19" fmla="*/ 279574 h 965320"/>
                    <a:gd name="connsiteX20" fmla="*/ 528059 w 756613"/>
                    <a:gd name="connsiteY20" fmla="*/ 192315 h 965320"/>
                    <a:gd name="connsiteX21" fmla="*/ 550947 w 756613"/>
                    <a:gd name="connsiteY21" fmla="*/ 154408 h 965320"/>
                    <a:gd name="connsiteX22" fmla="*/ 527523 w 756613"/>
                    <a:gd name="connsiteY22" fmla="*/ 118646 h 965320"/>
                    <a:gd name="connsiteX23" fmla="*/ 369634 w 756613"/>
                    <a:gd name="connsiteY23" fmla="*/ 37645 h 965320"/>
                    <a:gd name="connsiteX24" fmla="*/ 358727 w 756613"/>
                    <a:gd name="connsiteY24" fmla="*/ 34784 h 965320"/>
                    <a:gd name="connsiteX25" fmla="*/ 334587 w 756613"/>
                    <a:gd name="connsiteY25" fmla="*/ 24056 h 965320"/>
                    <a:gd name="connsiteX26" fmla="*/ 198156 w 756613"/>
                    <a:gd name="connsiteY26" fmla="*/ 41042 h 965320"/>
                    <a:gd name="connsiteX27" fmla="*/ 181526 w 756613"/>
                    <a:gd name="connsiteY27" fmla="*/ 55526 h 965320"/>
                    <a:gd name="connsiteX28" fmla="*/ 24532 w 756613"/>
                    <a:gd name="connsiteY28" fmla="*/ 137600 h 965320"/>
                    <a:gd name="connsiteX29" fmla="*/ 11478 w 756613"/>
                    <a:gd name="connsiteY29" fmla="*/ 202507 h 965320"/>
                    <a:gd name="connsiteX30" fmla="*/ 30611 w 756613"/>
                    <a:gd name="connsiteY30" fmla="*/ 218421 h 965320"/>
                    <a:gd name="connsiteX31" fmla="*/ 152023 w 756613"/>
                    <a:gd name="connsiteY31" fmla="*/ 303535 h 965320"/>
                    <a:gd name="connsiteX32" fmla="*/ 179917 w 756613"/>
                    <a:gd name="connsiteY32" fmla="*/ 352350 h 965320"/>
                    <a:gd name="connsiteX33" fmla="*/ 223725 w 756613"/>
                    <a:gd name="connsiteY33" fmla="*/ 618597 h 965320"/>
                    <a:gd name="connsiteX34" fmla="*/ 304547 w 756613"/>
                    <a:gd name="connsiteY34" fmla="*/ 664372 h 965320"/>
                    <a:gd name="connsiteX35" fmla="*/ 459754 w 756613"/>
                    <a:gd name="connsiteY35" fmla="*/ 619670 h 965320"/>
                    <a:gd name="connsiteX36" fmla="*/ 469946 w 756613"/>
                    <a:gd name="connsiteY36" fmla="*/ 616988 h 965320"/>
                    <a:gd name="connsiteX37" fmla="*/ 190288 w 756613"/>
                    <a:gd name="connsiteY37" fmla="*/ 126513 h 965320"/>
                    <a:gd name="connsiteX38" fmla="*/ 280944 w 756613"/>
                    <a:gd name="connsiteY38" fmla="*/ 164063 h 965320"/>
                    <a:gd name="connsiteX39" fmla="*/ 358190 w 756613"/>
                    <a:gd name="connsiteY39" fmla="*/ 108632 h 965320"/>
                    <a:gd name="connsiteX40" fmla="*/ 447058 w 756613"/>
                    <a:gd name="connsiteY40" fmla="*/ 155302 h 965320"/>
                    <a:gd name="connsiteX41" fmla="*/ 353541 w 756613"/>
                    <a:gd name="connsiteY41" fmla="*/ 205011 h 965320"/>
                    <a:gd name="connsiteX42" fmla="*/ 341203 w 756613"/>
                    <a:gd name="connsiteY42" fmla="*/ 209481 h 965320"/>
                    <a:gd name="connsiteX43" fmla="*/ 201195 w 756613"/>
                    <a:gd name="connsiteY43" fmla="*/ 223965 h 965320"/>
                    <a:gd name="connsiteX44" fmla="*/ 192612 w 756613"/>
                    <a:gd name="connsiteY44" fmla="*/ 222534 h 965320"/>
                    <a:gd name="connsiteX45" fmla="*/ 113042 w 756613"/>
                    <a:gd name="connsiteY45" fmla="*/ 181944 h 965320"/>
                    <a:gd name="connsiteX46" fmla="*/ 106069 w 756613"/>
                    <a:gd name="connsiteY46" fmla="*/ 177474 h 965320"/>
                    <a:gd name="connsiteX47" fmla="*/ 190288 w 756613"/>
                    <a:gd name="connsiteY47" fmla="*/ 126513 h 96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56613" h="965320">
                      <a:moveTo>
                        <a:pt x="469946" y="616988"/>
                      </a:moveTo>
                      <a:cubicBezTo>
                        <a:pt x="469946" y="621637"/>
                        <a:pt x="469946" y="625213"/>
                        <a:pt x="469946" y="628611"/>
                      </a:cubicBezTo>
                      <a:cubicBezTo>
                        <a:pt x="467979" y="724274"/>
                        <a:pt x="454390" y="817970"/>
                        <a:pt x="452959" y="913633"/>
                      </a:cubicBezTo>
                      <a:cubicBezTo>
                        <a:pt x="452780" y="923468"/>
                        <a:pt x="454747" y="934375"/>
                        <a:pt x="459039" y="943315"/>
                      </a:cubicBezTo>
                      <a:cubicBezTo>
                        <a:pt x="471734" y="969779"/>
                        <a:pt x="514827" y="973355"/>
                        <a:pt x="530741" y="948680"/>
                      </a:cubicBezTo>
                      <a:cubicBezTo>
                        <a:pt x="535390" y="941348"/>
                        <a:pt x="538788" y="932229"/>
                        <a:pt x="539682" y="923646"/>
                      </a:cubicBezTo>
                      <a:cubicBezTo>
                        <a:pt x="545761" y="864997"/>
                        <a:pt x="551126" y="806168"/>
                        <a:pt x="556669" y="747340"/>
                      </a:cubicBezTo>
                      <a:cubicBezTo>
                        <a:pt x="559351" y="718194"/>
                        <a:pt x="562033" y="689227"/>
                        <a:pt x="564894" y="660081"/>
                      </a:cubicBezTo>
                      <a:cubicBezTo>
                        <a:pt x="565073" y="657578"/>
                        <a:pt x="565788" y="655253"/>
                        <a:pt x="566682" y="651498"/>
                      </a:cubicBezTo>
                      <a:cubicBezTo>
                        <a:pt x="569543" y="655432"/>
                        <a:pt x="571689" y="658114"/>
                        <a:pt x="573656" y="660975"/>
                      </a:cubicBezTo>
                      <a:cubicBezTo>
                        <a:pt x="610312" y="714439"/>
                        <a:pt x="636418" y="774698"/>
                        <a:pt x="673074" y="828162"/>
                      </a:cubicBezTo>
                      <a:cubicBezTo>
                        <a:pt x="680405" y="838712"/>
                        <a:pt x="689167" y="847295"/>
                        <a:pt x="701683" y="851228"/>
                      </a:cubicBezTo>
                      <a:cubicBezTo>
                        <a:pt x="724034" y="858381"/>
                        <a:pt x="756041" y="837997"/>
                        <a:pt x="756578" y="814572"/>
                      </a:cubicBezTo>
                      <a:cubicBezTo>
                        <a:pt x="756935" y="804202"/>
                        <a:pt x="754611" y="792400"/>
                        <a:pt x="749425" y="783460"/>
                      </a:cubicBezTo>
                      <a:cubicBezTo>
                        <a:pt x="701147" y="698704"/>
                        <a:pt x="652332" y="614485"/>
                        <a:pt x="602802" y="530444"/>
                      </a:cubicBezTo>
                      <a:cubicBezTo>
                        <a:pt x="588676" y="506484"/>
                        <a:pt x="567397" y="493967"/>
                        <a:pt x="538251" y="499152"/>
                      </a:cubicBezTo>
                      <a:cubicBezTo>
                        <a:pt x="499450" y="506126"/>
                        <a:pt x="464224" y="512384"/>
                        <a:pt x="425422" y="519179"/>
                      </a:cubicBezTo>
                      <a:cubicBezTo>
                        <a:pt x="423813" y="519537"/>
                        <a:pt x="422383" y="519716"/>
                        <a:pt x="419164" y="520073"/>
                      </a:cubicBezTo>
                      <a:cubicBezTo>
                        <a:pt x="415588" y="501477"/>
                        <a:pt x="394846" y="357535"/>
                        <a:pt x="388945" y="304071"/>
                      </a:cubicBezTo>
                      <a:cubicBezTo>
                        <a:pt x="387515" y="291912"/>
                        <a:pt x="390376" y="286190"/>
                        <a:pt x="401104" y="279574"/>
                      </a:cubicBezTo>
                      <a:cubicBezTo>
                        <a:pt x="447953" y="250965"/>
                        <a:pt x="481926" y="221998"/>
                        <a:pt x="528059" y="192315"/>
                      </a:cubicBezTo>
                      <a:cubicBezTo>
                        <a:pt x="541649" y="183554"/>
                        <a:pt x="550589" y="171216"/>
                        <a:pt x="550947" y="154408"/>
                      </a:cubicBezTo>
                      <a:cubicBezTo>
                        <a:pt x="551126" y="145825"/>
                        <a:pt x="545046" y="127944"/>
                        <a:pt x="527523" y="118646"/>
                      </a:cubicBezTo>
                      <a:cubicBezTo>
                        <a:pt x="466728" y="86818"/>
                        <a:pt x="430250" y="69473"/>
                        <a:pt x="369634" y="37645"/>
                      </a:cubicBezTo>
                      <a:cubicBezTo>
                        <a:pt x="366415" y="35857"/>
                        <a:pt x="361945" y="34069"/>
                        <a:pt x="358727" y="34784"/>
                      </a:cubicBezTo>
                      <a:cubicBezTo>
                        <a:pt x="347283" y="37824"/>
                        <a:pt x="341561" y="30671"/>
                        <a:pt x="334587" y="24056"/>
                      </a:cubicBezTo>
                      <a:cubicBezTo>
                        <a:pt x="293819" y="-14031"/>
                        <a:pt x="228196" y="-5806"/>
                        <a:pt x="198156" y="41042"/>
                      </a:cubicBezTo>
                      <a:cubicBezTo>
                        <a:pt x="193864" y="47837"/>
                        <a:pt x="189036" y="52129"/>
                        <a:pt x="181526" y="55526"/>
                      </a:cubicBezTo>
                      <a:cubicBezTo>
                        <a:pt x="164897" y="63036"/>
                        <a:pt x="36333" y="131520"/>
                        <a:pt x="24532" y="137600"/>
                      </a:cubicBezTo>
                      <a:cubicBezTo>
                        <a:pt x="-3363" y="152083"/>
                        <a:pt x="-7118" y="182838"/>
                        <a:pt x="11478" y="202507"/>
                      </a:cubicBezTo>
                      <a:cubicBezTo>
                        <a:pt x="17200" y="208587"/>
                        <a:pt x="23637" y="213951"/>
                        <a:pt x="30611" y="218421"/>
                      </a:cubicBezTo>
                      <a:cubicBezTo>
                        <a:pt x="77459" y="248819"/>
                        <a:pt x="152023" y="303535"/>
                        <a:pt x="152023" y="303535"/>
                      </a:cubicBezTo>
                      <a:cubicBezTo>
                        <a:pt x="170261" y="314085"/>
                        <a:pt x="177235" y="330177"/>
                        <a:pt x="179917" y="352350"/>
                      </a:cubicBezTo>
                      <a:cubicBezTo>
                        <a:pt x="181169" y="361827"/>
                        <a:pt x="223725" y="618597"/>
                        <a:pt x="223725" y="618597"/>
                      </a:cubicBezTo>
                      <a:cubicBezTo>
                        <a:pt x="233202" y="656505"/>
                        <a:pt x="266818" y="675101"/>
                        <a:pt x="304547" y="664372"/>
                      </a:cubicBezTo>
                      <a:cubicBezTo>
                        <a:pt x="356402" y="649531"/>
                        <a:pt x="408078" y="634511"/>
                        <a:pt x="459754" y="619670"/>
                      </a:cubicBezTo>
                      <a:cubicBezTo>
                        <a:pt x="462257" y="619134"/>
                        <a:pt x="465297" y="618240"/>
                        <a:pt x="469946" y="616988"/>
                      </a:cubicBezTo>
                      <a:close/>
                      <a:moveTo>
                        <a:pt x="190288" y="126513"/>
                      </a:moveTo>
                      <a:cubicBezTo>
                        <a:pt x="210136" y="166030"/>
                        <a:pt x="236778" y="168891"/>
                        <a:pt x="280944" y="164063"/>
                      </a:cubicBezTo>
                      <a:cubicBezTo>
                        <a:pt x="326720" y="159057"/>
                        <a:pt x="346567" y="140818"/>
                        <a:pt x="358190" y="108632"/>
                      </a:cubicBezTo>
                      <a:cubicBezTo>
                        <a:pt x="366237" y="111493"/>
                        <a:pt x="417018" y="137421"/>
                        <a:pt x="447058" y="155302"/>
                      </a:cubicBezTo>
                      <a:cubicBezTo>
                        <a:pt x="443661" y="157269"/>
                        <a:pt x="383760" y="189097"/>
                        <a:pt x="353541" y="205011"/>
                      </a:cubicBezTo>
                      <a:cubicBezTo>
                        <a:pt x="348713" y="207514"/>
                        <a:pt x="341203" y="209481"/>
                        <a:pt x="341203" y="209481"/>
                      </a:cubicBezTo>
                      <a:lnTo>
                        <a:pt x="201195" y="223965"/>
                      </a:lnTo>
                      <a:cubicBezTo>
                        <a:pt x="199586" y="225216"/>
                        <a:pt x="195116" y="223786"/>
                        <a:pt x="192612" y="222534"/>
                      </a:cubicBezTo>
                      <a:cubicBezTo>
                        <a:pt x="165970" y="209123"/>
                        <a:pt x="139506" y="195534"/>
                        <a:pt x="113042" y="181944"/>
                      </a:cubicBezTo>
                      <a:cubicBezTo>
                        <a:pt x="110896" y="180871"/>
                        <a:pt x="108930" y="179441"/>
                        <a:pt x="106069" y="177474"/>
                      </a:cubicBezTo>
                      <a:cubicBezTo>
                        <a:pt x="143797" y="152620"/>
                        <a:pt x="183314" y="130805"/>
                        <a:pt x="190288" y="126513"/>
                      </a:cubicBezTo>
                      <a:close/>
                    </a:path>
                  </a:pathLst>
                </a:custGeom>
                <a:solidFill>
                  <a:schemeClr val="bg1"/>
                </a:solidFill>
                <a:ln w="17859" cap="flat">
                  <a:noFill/>
                  <a:prstDash val="solid"/>
                  <a:miter/>
                </a:ln>
              </p:spPr>
              <p:txBody>
                <a:bodyPr rtlCol="0" anchor="ctr"/>
                <a:lstStyle/>
                <a:p>
                  <a:endParaRPr lang="en-US"/>
                </a:p>
              </p:txBody>
            </p:sp>
            <p:sp>
              <p:nvSpPr>
                <p:cNvPr id="21" name="Freeform: Shape 63">
                  <a:extLst>
                    <a:ext uri="{FF2B5EF4-FFF2-40B4-BE49-F238E27FC236}">
                      <a16:creationId xmlns:a16="http://schemas.microsoft.com/office/drawing/2014/main" id="{28971EE5-2A2C-7668-C28F-0855DCC1250A}"/>
                    </a:ext>
                  </a:extLst>
                </p:cNvPr>
                <p:cNvSpPr/>
                <p:nvPr/>
              </p:nvSpPr>
              <p:spPr>
                <a:xfrm>
                  <a:off x="4054433" y="4548065"/>
                  <a:ext cx="203306" cy="202065"/>
                </a:xfrm>
                <a:custGeom>
                  <a:avLst/>
                  <a:gdLst>
                    <a:gd name="connsiteX0" fmla="*/ 100670 w 203306"/>
                    <a:gd name="connsiteY0" fmla="*/ 2 h 202065"/>
                    <a:gd name="connsiteX1" fmla="*/ 203306 w 203306"/>
                    <a:gd name="connsiteY1" fmla="*/ 100851 h 202065"/>
                    <a:gd name="connsiteX2" fmla="*/ 102637 w 203306"/>
                    <a:gd name="connsiteY2" fmla="*/ 202057 h 202065"/>
                    <a:gd name="connsiteX3" fmla="*/ 0 w 203306"/>
                    <a:gd name="connsiteY3" fmla="*/ 100493 h 202065"/>
                    <a:gd name="connsiteX4" fmla="*/ 100670 w 203306"/>
                    <a:gd name="connsiteY4" fmla="*/ 2 h 202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306" h="202065">
                      <a:moveTo>
                        <a:pt x="100670" y="2"/>
                      </a:moveTo>
                      <a:cubicBezTo>
                        <a:pt x="157889" y="-355"/>
                        <a:pt x="203306" y="44347"/>
                        <a:pt x="203306" y="100851"/>
                      </a:cubicBezTo>
                      <a:cubicBezTo>
                        <a:pt x="203128" y="156103"/>
                        <a:pt x="158246" y="201163"/>
                        <a:pt x="102637" y="202057"/>
                      </a:cubicBezTo>
                      <a:cubicBezTo>
                        <a:pt x="46669" y="202772"/>
                        <a:pt x="0" y="156639"/>
                        <a:pt x="0" y="100493"/>
                      </a:cubicBezTo>
                      <a:cubicBezTo>
                        <a:pt x="179" y="44883"/>
                        <a:pt x="44702" y="360"/>
                        <a:pt x="100670" y="2"/>
                      </a:cubicBezTo>
                    </a:path>
                  </a:pathLst>
                </a:custGeom>
                <a:solidFill>
                  <a:schemeClr val="bg1"/>
                </a:solidFill>
                <a:ln w="17859" cap="flat">
                  <a:noFill/>
                  <a:prstDash val="solid"/>
                  <a:miter/>
                </a:ln>
              </p:spPr>
              <p:txBody>
                <a:bodyPr rtlCol="0" anchor="ctr"/>
                <a:lstStyle/>
                <a:p>
                  <a:endParaRPr lang="en-US"/>
                </a:p>
              </p:txBody>
            </p:sp>
            <p:sp>
              <p:nvSpPr>
                <p:cNvPr id="22" name="Freeform: Shape 64">
                  <a:extLst>
                    <a:ext uri="{FF2B5EF4-FFF2-40B4-BE49-F238E27FC236}">
                      <a16:creationId xmlns:a16="http://schemas.microsoft.com/office/drawing/2014/main" id="{2A16A85D-E3DD-D66E-4D6F-92821A93C86A}"/>
                    </a:ext>
                  </a:extLst>
                </p:cNvPr>
                <p:cNvSpPr/>
                <p:nvPr/>
              </p:nvSpPr>
              <p:spPr>
                <a:xfrm>
                  <a:off x="3979333" y="4920169"/>
                  <a:ext cx="324360" cy="407864"/>
                </a:xfrm>
                <a:custGeom>
                  <a:avLst/>
                  <a:gdLst>
                    <a:gd name="connsiteX0" fmla="*/ 0 w 324360"/>
                    <a:gd name="connsiteY0" fmla="*/ 0 h 407864"/>
                    <a:gd name="connsiteX1" fmla="*/ 99060 w 324360"/>
                    <a:gd name="connsiteY1" fmla="*/ 407865 h 407864"/>
                    <a:gd name="connsiteX2" fmla="*/ 324360 w 324360"/>
                    <a:gd name="connsiteY2" fmla="*/ 343672 h 407864"/>
                  </a:gdLst>
                  <a:ahLst/>
                  <a:cxnLst>
                    <a:cxn ang="0">
                      <a:pos x="connsiteX0" y="connsiteY0"/>
                    </a:cxn>
                    <a:cxn ang="0">
                      <a:pos x="connsiteX1" y="connsiteY1"/>
                    </a:cxn>
                    <a:cxn ang="0">
                      <a:pos x="connsiteX2" y="connsiteY2"/>
                    </a:cxn>
                  </a:cxnLst>
                  <a:rect l="l" t="t" r="r" b="b"/>
                  <a:pathLst>
                    <a:path w="324360" h="407864">
                      <a:moveTo>
                        <a:pt x="0" y="0"/>
                      </a:moveTo>
                      <a:lnTo>
                        <a:pt x="99060" y="407865"/>
                      </a:lnTo>
                      <a:lnTo>
                        <a:pt x="324360" y="343672"/>
                      </a:lnTo>
                    </a:path>
                  </a:pathLst>
                </a:custGeom>
                <a:noFill/>
                <a:ln w="9525" cap="rnd">
                  <a:solidFill>
                    <a:schemeClr val="bg1"/>
                  </a:solidFill>
                  <a:prstDash val="solid"/>
                  <a:round/>
                </a:ln>
              </p:spPr>
              <p:txBody>
                <a:bodyPr rtlCol="0" anchor="ctr"/>
                <a:lstStyle/>
                <a:p>
                  <a:endParaRPr lang="en-US"/>
                </a:p>
              </p:txBody>
            </p:sp>
          </p:grpSp>
        </p:grpSp>
      </p:grpSp>
    </p:spTree>
    <p:extLst>
      <p:ext uri="{BB962C8B-B14F-4D97-AF65-F5344CB8AC3E}">
        <p14:creationId xmlns:p14="http://schemas.microsoft.com/office/powerpoint/2010/main" val="16694121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lock Arc 15">
            <a:extLst>
              <a:ext uri="{FF2B5EF4-FFF2-40B4-BE49-F238E27FC236}">
                <a16:creationId xmlns:a16="http://schemas.microsoft.com/office/drawing/2014/main" id="{ACAEA52D-872B-EB96-07CC-87342C9ECA56}"/>
              </a:ext>
            </a:extLst>
          </p:cNvPr>
          <p:cNvSpPr/>
          <p:nvPr/>
        </p:nvSpPr>
        <p:spPr>
          <a:xfrm>
            <a:off x="-2584450" y="1447800"/>
            <a:ext cx="4577054" cy="4608513"/>
          </a:xfrm>
          <a:prstGeom prst="blockArc">
            <a:avLst>
              <a:gd name="adj1" fmla="val 16373471"/>
              <a:gd name="adj2" fmla="val 5272849"/>
              <a:gd name="adj3" fmla="val 6470"/>
            </a:avLst>
          </a:prstGeom>
          <a:solidFill>
            <a:schemeClr val="accent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3" name="Parallelogram 11">
            <a:extLst>
              <a:ext uri="{FF2B5EF4-FFF2-40B4-BE49-F238E27FC236}">
                <a16:creationId xmlns:a16="http://schemas.microsoft.com/office/drawing/2014/main" id="{3D05533B-87DC-5FB3-C849-606CD3C4BE35}"/>
              </a:ext>
            </a:extLst>
          </p:cNvPr>
          <p:cNvSpPr/>
          <p:nvPr/>
        </p:nvSpPr>
        <p:spPr bwMode="auto">
          <a:xfrm>
            <a:off x="378645" y="1999685"/>
            <a:ext cx="3697250" cy="1260000"/>
          </a:xfrm>
          <a:prstGeom prst="parallelogram">
            <a:avLst>
              <a:gd name="adj" fmla="val 31844"/>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sym typeface="+mn-lt"/>
            </a:endParaRPr>
          </a:p>
        </p:txBody>
      </p:sp>
      <p:sp>
        <p:nvSpPr>
          <p:cNvPr id="4" name="Parallelogram 11">
            <a:extLst>
              <a:ext uri="{FF2B5EF4-FFF2-40B4-BE49-F238E27FC236}">
                <a16:creationId xmlns:a16="http://schemas.microsoft.com/office/drawing/2014/main" id="{13F7F11E-FA84-73E2-6508-4891321F0F97}"/>
              </a:ext>
            </a:extLst>
          </p:cNvPr>
          <p:cNvSpPr/>
          <p:nvPr/>
        </p:nvSpPr>
        <p:spPr bwMode="auto">
          <a:xfrm>
            <a:off x="378645" y="3399918"/>
            <a:ext cx="3697250" cy="1260000"/>
          </a:xfrm>
          <a:prstGeom prst="parallelogram">
            <a:avLst>
              <a:gd name="adj" fmla="val 31844"/>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sym typeface="+mn-lt"/>
            </a:endParaRPr>
          </a:p>
        </p:txBody>
      </p:sp>
      <p:sp>
        <p:nvSpPr>
          <p:cNvPr id="5" name="Parallelogram 11">
            <a:extLst>
              <a:ext uri="{FF2B5EF4-FFF2-40B4-BE49-F238E27FC236}">
                <a16:creationId xmlns:a16="http://schemas.microsoft.com/office/drawing/2014/main" id="{19372F07-0569-68DA-4A69-462D4BFC9048}"/>
              </a:ext>
            </a:extLst>
          </p:cNvPr>
          <p:cNvSpPr/>
          <p:nvPr/>
        </p:nvSpPr>
        <p:spPr bwMode="auto">
          <a:xfrm>
            <a:off x="378645" y="4800151"/>
            <a:ext cx="3697250" cy="1260000"/>
          </a:xfrm>
          <a:prstGeom prst="parallelogram">
            <a:avLst>
              <a:gd name="adj" fmla="val 31844"/>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sym typeface="+mn-lt"/>
            </a:endParaRPr>
          </a:p>
        </p:txBody>
      </p:sp>
      <p:sp>
        <p:nvSpPr>
          <p:cNvPr id="6" name="Titel 1">
            <a:extLst>
              <a:ext uri="{FF2B5EF4-FFF2-40B4-BE49-F238E27FC236}">
                <a16:creationId xmlns:a16="http://schemas.microsoft.com/office/drawing/2014/main" id="{802092F8-97E9-26A5-20C7-E15D09490528}"/>
              </a:ext>
            </a:extLst>
          </p:cNvPr>
          <p:cNvSpPr txBox="1">
            <a:spLocks/>
          </p:cNvSpPr>
          <p:nvPr/>
        </p:nvSpPr>
        <p:spPr>
          <a:xfrm>
            <a:off x="304801" y="304799"/>
            <a:ext cx="9753600" cy="381001"/>
          </a:xfrm>
          <a:prstGeom prst="rect">
            <a:avLst/>
          </a:prstGeom>
        </p:spPr>
        <p:txBody>
          <a:bodyPr/>
          <a:lstStyle>
            <a:lvl1pPr lvl="0" algn="l" rtl="0">
              <a:lnSpc>
                <a:spcPct val="90000"/>
              </a:lnSpc>
              <a:spcBef>
                <a:spcPct val="0"/>
              </a:spcBef>
              <a:buNone/>
              <a:defRPr lang="en-US" sz="4400" dirty="0">
                <a:solidFill>
                  <a:schemeClr val="tx1"/>
                </a:solidFill>
                <a:latin typeface="+mj-lt"/>
              </a:defRPr>
            </a:lvl1pPr>
          </a:lstStyle>
          <a:p>
            <a:r>
              <a:rPr lang="pl-PL" altLang="fi-FI" sz="4000" dirty="0">
                <a:solidFill>
                  <a:srgbClr val="C00000"/>
                </a:solidFill>
                <a:sym typeface="+mj-lt"/>
              </a:rPr>
              <a:t>Wiarygodność systemu</a:t>
            </a:r>
            <a:endParaRPr lang="pl-PL" sz="4000" dirty="0">
              <a:solidFill>
                <a:srgbClr val="C00000"/>
              </a:solidFill>
              <a:sym typeface="+mj-lt"/>
            </a:endParaRPr>
          </a:p>
        </p:txBody>
      </p:sp>
      <p:sp>
        <p:nvSpPr>
          <p:cNvPr id="8" name="Freeform: Shape 43">
            <a:extLst>
              <a:ext uri="{FF2B5EF4-FFF2-40B4-BE49-F238E27FC236}">
                <a16:creationId xmlns:a16="http://schemas.microsoft.com/office/drawing/2014/main" id="{D2C51841-B0E4-A0F1-DC0C-AFA091F9C499}"/>
              </a:ext>
            </a:extLst>
          </p:cNvPr>
          <p:cNvSpPr/>
          <p:nvPr/>
        </p:nvSpPr>
        <p:spPr>
          <a:xfrm>
            <a:off x="857971" y="2060995"/>
            <a:ext cx="2808000" cy="1137381"/>
          </a:xfrm>
          <a:custGeom>
            <a:avLst/>
            <a:gdLst>
              <a:gd name="connsiteX0" fmla="*/ 0 w 1572572"/>
              <a:gd name="connsiteY0" fmla="*/ 0 h 1137381"/>
              <a:gd name="connsiteX1" fmla="*/ 1572572 w 1572572"/>
              <a:gd name="connsiteY1" fmla="*/ 0 h 1137381"/>
              <a:gd name="connsiteX2" fmla="*/ 1572572 w 1572572"/>
              <a:gd name="connsiteY2" fmla="*/ 1137381 h 1137381"/>
              <a:gd name="connsiteX3" fmla="*/ 0 w 1572572"/>
              <a:gd name="connsiteY3" fmla="*/ 1137381 h 1137381"/>
              <a:gd name="connsiteX4" fmla="*/ 0 w 1572572"/>
              <a:gd name="connsiteY4" fmla="*/ 0 h 1137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572" h="1137381">
                <a:moveTo>
                  <a:pt x="0" y="0"/>
                </a:moveTo>
                <a:lnTo>
                  <a:pt x="1572572" y="0"/>
                </a:lnTo>
                <a:lnTo>
                  <a:pt x="1572572" y="1137381"/>
                </a:lnTo>
                <a:lnTo>
                  <a:pt x="0" y="113738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7940" tIns="27940" rIns="27940" bIns="27940" numCol="1" spcCol="1270" anchor="ctr" anchorCtr="0">
            <a:noAutofit/>
          </a:bodyPr>
          <a:lstStyle/>
          <a:p>
            <a:pPr marL="0" lvl="0" indent="0" algn="l" defTabSz="977900">
              <a:lnSpc>
                <a:spcPct val="90000"/>
              </a:lnSpc>
              <a:spcBef>
                <a:spcPct val="0"/>
              </a:spcBef>
              <a:spcAft>
                <a:spcPct val="10000"/>
              </a:spcAft>
              <a:buNone/>
            </a:pPr>
            <a:r>
              <a:rPr lang="pl-PL" sz="2200" b="1" kern="1200" dirty="0">
                <a:solidFill>
                  <a:schemeClr val="tx2"/>
                </a:solidFill>
                <a:sym typeface="+mn-lt"/>
              </a:rPr>
              <a:t>Kompletne rozwiązanie</a:t>
            </a:r>
            <a:endParaRPr lang="en-US" sz="2200" b="1" kern="1200" dirty="0">
              <a:solidFill>
                <a:schemeClr val="tx2"/>
              </a:solidFill>
            </a:endParaRPr>
          </a:p>
        </p:txBody>
      </p:sp>
      <p:sp>
        <p:nvSpPr>
          <p:cNvPr id="9" name="Freeform: Shape 45">
            <a:extLst>
              <a:ext uri="{FF2B5EF4-FFF2-40B4-BE49-F238E27FC236}">
                <a16:creationId xmlns:a16="http://schemas.microsoft.com/office/drawing/2014/main" id="{FCC43F53-582D-EF31-E4F4-154EDFE23BAE}"/>
              </a:ext>
            </a:extLst>
          </p:cNvPr>
          <p:cNvSpPr/>
          <p:nvPr/>
        </p:nvSpPr>
        <p:spPr>
          <a:xfrm>
            <a:off x="857969" y="3468870"/>
            <a:ext cx="2808000" cy="1137381"/>
          </a:xfrm>
          <a:custGeom>
            <a:avLst/>
            <a:gdLst>
              <a:gd name="connsiteX0" fmla="*/ 0 w 1572572"/>
              <a:gd name="connsiteY0" fmla="*/ 0 h 1137381"/>
              <a:gd name="connsiteX1" fmla="*/ 1572572 w 1572572"/>
              <a:gd name="connsiteY1" fmla="*/ 0 h 1137381"/>
              <a:gd name="connsiteX2" fmla="*/ 1572572 w 1572572"/>
              <a:gd name="connsiteY2" fmla="*/ 1137381 h 1137381"/>
              <a:gd name="connsiteX3" fmla="*/ 0 w 1572572"/>
              <a:gd name="connsiteY3" fmla="*/ 1137381 h 1137381"/>
              <a:gd name="connsiteX4" fmla="*/ 0 w 1572572"/>
              <a:gd name="connsiteY4" fmla="*/ 0 h 1137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572" h="1137381">
                <a:moveTo>
                  <a:pt x="0" y="0"/>
                </a:moveTo>
                <a:lnTo>
                  <a:pt x="1572572" y="0"/>
                </a:lnTo>
                <a:lnTo>
                  <a:pt x="1572572" y="1137381"/>
                </a:lnTo>
                <a:lnTo>
                  <a:pt x="0" y="113738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7940" tIns="27940" rIns="27940" bIns="27940" numCol="1" spcCol="1270" anchor="ctr" anchorCtr="0">
            <a:noAutofit/>
          </a:bodyPr>
          <a:lstStyle/>
          <a:p>
            <a:pPr marL="0" lvl="0" indent="0" algn="l" defTabSz="977900">
              <a:lnSpc>
                <a:spcPct val="90000"/>
              </a:lnSpc>
              <a:spcBef>
                <a:spcPct val="0"/>
              </a:spcBef>
              <a:spcAft>
                <a:spcPct val="10000"/>
              </a:spcAft>
              <a:buNone/>
            </a:pPr>
            <a:r>
              <a:rPr lang="pl-PL" sz="2200" b="1" kern="1200" dirty="0">
                <a:solidFill>
                  <a:schemeClr val="tx2"/>
                </a:solidFill>
                <a:sym typeface="+mn-lt"/>
              </a:rPr>
              <a:t>Wiarygodność</a:t>
            </a:r>
            <a:endParaRPr lang="en-US" sz="2200" b="1" kern="1200" dirty="0">
              <a:solidFill>
                <a:schemeClr val="tx2"/>
              </a:solidFill>
            </a:endParaRPr>
          </a:p>
        </p:txBody>
      </p:sp>
      <p:sp>
        <p:nvSpPr>
          <p:cNvPr id="10" name="Freeform: Shape 47">
            <a:extLst>
              <a:ext uri="{FF2B5EF4-FFF2-40B4-BE49-F238E27FC236}">
                <a16:creationId xmlns:a16="http://schemas.microsoft.com/office/drawing/2014/main" id="{2B636E35-6705-2FD4-4AAF-A4B8015A2279}"/>
              </a:ext>
            </a:extLst>
          </p:cNvPr>
          <p:cNvSpPr/>
          <p:nvPr/>
        </p:nvSpPr>
        <p:spPr>
          <a:xfrm>
            <a:off x="857971" y="4861461"/>
            <a:ext cx="2808000" cy="1137381"/>
          </a:xfrm>
          <a:custGeom>
            <a:avLst/>
            <a:gdLst>
              <a:gd name="connsiteX0" fmla="*/ 0 w 1572572"/>
              <a:gd name="connsiteY0" fmla="*/ 0 h 1137381"/>
              <a:gd name="connsiteX1" fmla="*/ 1572572 w 1572572"/>
              <a:gd name="connsiteY1" fmla="*/ 0 h 1137381"/>
              <a:gd name="connsiteX2" fmla="*/ 1572572 w 1572572"/>
              <a:gd name="connsiteY2" fmla="*/ 1137381 h 1137381"/>
              <a:gd name="connsiteX3" fmla="*/ 0 w 1572572"/>
              <a:gd name="connsiteY3" fmla="*/ 1137381 h 1137381"/>
              <a:gd name="connsiteX4" fmla="*/ 0 w 1572572"/>
              <a:gd name="connsiteY4" fmla="*/ 0 h 1137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572" h="1137381">
                <a:moveTo>
                  <a:pt x="0" y="0"/>
                </a:moveTo>
                <a:lnTo>
                  <a:pt x="1572572" y="0"/>
                </a:lnTo>
                <a:lnTo>
                  <a:pt x="1572572" y="1137381"/>
                </a:lnTo>
                <a:lnTo>
                  <a:pt x="0" y="113738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7940" tIns="27940" rIns="27940" bIns="27940" numCol="1" spcCol="1270" anchor="ctr" anchorCtr="0">
            <a:noAutofit/>
          </a:bodyPr>
          <a:lstStyle/>
          <a:p>
            <a:pPr marL="0" lvl="0" indent="0" algn="l" defTabSz="977900">
              <a:lnSpc>
                <a:spcPct val="90000"/>
              </a:lnSpc>
              <a:spcBef>
                <a:spcPct val="0"/>
              </a:spcBef>
              <a:spcAft>
                <a:spcPct val="10000"/>
              </a:spcAft>
              <a:buNone/>
            </a:pPr>
            <a:r>
              <a:rPr lang="en-US" sz="2200" b="1" kern="1200" dirty="0">
                <a:solidFill>
                  <a:schemeClr val="tx2"/>
                </a:solidFill>
                <a:sym typeface="+mn-lt"/>
              </a:rPr>
              <a:t>CE </a:t>
            </a:r>
            <a:r>
              <a:rPr lang="pl-PL" sz="2200" b="1" kern="1200" dirty="0">
                <a:solidFill>
                  <a:schemeClr val="tx2"/>
                </a:solidFill>
                <a:sym typeface="+mn-lt"/>
              </a:rPr>
              <a:t>certyfikat</a:t>
            </a:r>
            <a:r>
              <a:rPr lang="en-US" sz="2200" b="1" kern="1200" dirty="0">
                <a:solidFill>
                  <a:schemeClr val="tx2"/>
                </a:solidFill>
                <a:sym typeface="+mn-lt"/>
              </a:rPr>
              <a:t> </a:t>
            </a:r>
            <a:r>
              <a:rPr lang="pl-PL" sz="2200" b="1" kern="1200" dirty="0">
                <a:solidFill>
                  <a:schemeClr val="tx2"/>
                </a:solidFill>
                <a:sym typeface="+mn-lt"/>
              </a:rPr>
              <a:t>oraz</a:t>
            </a:r>
            <a:r>
              <a:rPr lang="en-US" sz="2200" b="1" kern="1200" dirty="0">
                <a:solidFill>
                  <a:schemeClr val="tx2"/>
                </a:solidFill>
                <a:sym typeface="+mn-lt"/>
              </a:rPr>
              <a:t> </a:t>
            </a:r>
            <a:r>
              <a:rPr lang="pl-PL" sz="2200" b="1" kern="1200" dirty="0">
                <a:solidFill>
                  <a:schemeClr val="tx2"/>
                </a:solidFill>
                <a:sym typeface="+mn-lt"/>
              </a:rPr>
              <a:t>pełna zgodność </a:t>
            </a:r>
            <a:r>
              <a:rPr lang="en-US" sz="2200" b="1" kern="1200" dirty="0">
                <a:solidFill>
                  <a:schemeClr val="tx2"/>
                </a:solidFill>
                <a:sym typeface="+mn-lt"/>
              </a:rPr>
              <a:t> IVD </a:t>
            </a:r>
            <a:endParaRPr lang="en-US" sz="2200" b="1" kern="1200" dirty="0">
              <a:solidFill>
                <a:schemeClr val="tx2"/>
              </a:solidFill>
            </a:endParaRPr>
          </a:p>
        </p:txBody>
      </p:sp>
      <p:grpSp>
        <p:nvGrpSpPr>
          <p:cNvPr id="11" name="Group 7">
            <a:extLst>
              <a:ext uri="{FF2B5EF4-FFF2-40B4-BE49-F238E27FC236}">
                <a16:creationId xmlns:a16="http://schemas.microsoft.com/office/drawing/2014/main" id="{42A60A2F-EDC8-C47F-4FF8-3FDE52E3A834}"/>
              </a:ext>
            </a:extLst>
          </p:cNvPr>
          <p:cNvGrpSpPr/>
          <p:nvPr/>
        </p:nvGrpSpPr>
        <p:grpSpPr>
          <a:xfrm>
            <a:off x="3677841" y="1447800"/>
            <a:ext cx="6796484" cy="1808559"/>
            <a:chOff x="3677841" y="1447800"/>
            <a:chExt cx="6796484" cy="1808559"/>
          </a:xfrm>
        </p:grpSpPr>
        <p:sp>
          <p:nvSpPr>
            <p:cNvPr id="12" name="Freeform: Shape 4">
              <a:extLst>
                <a:ext uri="{FF2B5EF4-FFF2-40B4-BE49-F238E27FC236}">
                  <a16:creationId xmlns:a16="http://schemas.microsoft.com/office/drawing/2014/main" id="{60A508E5-5B0F-F5E2-75A7-BC7A3E97D82F}"/>
                </a:ext>
              </a:extLst>
            </p:cNvPr>
            <p:cNvSpPr/>
            <p:nvPr/>
          </p:nvSpPr>
          <p:spPr bwMode="auto">
            <a:xfrm>
              <a:off x="3677841" y="1447800"/>
              <a:ext cx="967978" cy="1808559"/>
            </a:xfrm>
            <a:custGeom>
              <a:avLst/>
              <a:gdLst>
                <a:gd name="connsiteX0" fmla="*/ 395287 w 967978"/>
                <a:gd name="connsiteY0" fmla="*/ 550069 h 1808559"/>
                <a:gd name="connsiteX1" fmla="*/ 967978 w 967978"/>
                <a:gd name="connsiteY1" fmla="*/ 0 h 1808559"/>
                <a:gd name="connsiteX2" fmla="*/ 561975 w 967978"/>
                <a:gd name="connsiteY2" fmla="*/ 1253728 h 1808559"/>
                <a:gd name="connsiteX3" fmla="*/ 0 w 967978"/>
                <a:gd name="connsiteY3" fmla="*/ 1808559 h 1808559"/>
                <a:gd name="connsiteX4" fmla="*/ 395287 w 967978"/>
                <a:gd name="connsiteY4" fmla="*/ 550069 h 1808559"/>
                <a:gd name="connsiteX0" fmla="*/ 395287 w 967978"/>
                <a:gd name="connsiteY0" fmla="*/ 550069 h 1808559"/>
                <a:gd name="connsiteX1" fmla="*/ 967978 w 967978"/>
                <a:gd name="connsiteY1" fmla="*/ 0 h 1808559"/>
                <a:gd name="connsiteX2" fmla="*/ 581025 w 967978"/>
                <a:gd name="connsiteY2" fmla="*/ 1134666 h 1808559"/>
                <a:gd name="connsiteX3" fmla="*/ 0 w 967978"/>
                <a:gd name="connsiteY3" fmla="*/ 1808559 h 1808559"/>
                <a:gd name="connsiteX4" fmla="*/ 395287 w 967978"/>
                <a:gd name="connsiteY4" fmla="*/ 550069 h 1808559"/>
                <a:gd name="connsiteX0" fmla="*/ 395287 w 967978"/>
                <a:gd name="connsiteY0" fmla="*/ 550069 h 1808559"/>
                <a:gd name="connsiteX1" fmla="*/ 967978 w 967978"/>
                <a:gd name="connsiteY1" fmla="*/ 0 h 1808559"/>
                <a:gd name="connsiteX2" fmla="*/ 565547 w 967978"/>
                <a:gd name="connsiteY2" fmla="*/ 1256110 h 1808559"/>
                <a:gd name="connsiteX3" fmla="*/ 0 w 967978"/>
                <a:gd name="connsiteY3" fmla="*/ 1808559 h 1808559"/>
                <a:gd name="connsiteX4" fmla="*/ 395287 w 967978"/>
                <a:gd name="connsiteY4" fmla="*/ 550069 h 1808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7978" h="1808559">
                  <a:moveTo>
                    <a:pt x="395287" y="550069"/>
                  </a:moveTo>
                  <a:lnTo>
                    <a:pt x="967978" y="0"/>
                  </a:lnTo>
                  <a:lnTo>
                    <a:pt x="565547" y="1256110"/>
                  </a:lnTo>
                  <a:lnTo>
                    <a:pt x="0" y="1808559"/>
                  </a:lnTo>
                  <a:lnTo>
                    <a:pt x="395287" y="550069"/>
                  </a:lnTo>
                  <a:close/>
                </a:path>
              </a:pathLst>
            </a:custGeom>
            <a:gradFill flip="none" rotWithShape="1">
              <a:gsLst>
                <a:gs pos="0">
                  <a:schemeClr val="accent5"/>
                </a:gs>
                <a:gs pos="61000">
                  <a:schemeClr val="bg2"/>
                </a:gs>
              </a:gsLst>
              <a:lin ang="2700000" scaled="1"/>
              <a:tileRect/>
            </a:gra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dirty="0"/>
            </a:p>
          </p:txBody>
        </p:sp>
        <p:sp>
          <p:nvSpPr>
            <p:cNvPr id="13" name="Parallelogram 11">
              <a:extLst>
                <a:ext uri="{FF2B5EF4-FFF2-40B4-BE49-F238E27FC236}">
                  <a16:creationId xmlns:a16="http://schemas.microsoft.com/office/drawing/2014/main" id="{1401695E-C9A1-07C4-FA3A-E840EBE2F8FB}"/>
                </a:ext>
              </a:extLst>
            </p:cNvPr>
            <p:cNvSpPr/>
            <p:nvPr/>
          </p:nvSpPr>
          <p:spPr bwMode="auto">
            <a:xfrm>
              <a:off x="4239584" y="1447800"/>
              <a:ext cx="6234741" cy="1260000"/>
            </a:xfrm>
            <a:prstGeom prst="parallelogram">
              <a:avLst>
                <a:gd name="adj" fmla="val 31844"/>
              </a:avLst>
            </a:prstGeom>
            <a:solidFill>
              <a:schemeClr val="accent1"/>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sym typeface="+mn-lt"/>
              </a:endParaRPr>
            </a:p>
          </p:txBody>
        </p:sp>
        <p:sp>
          <p:nvSpPr>
            <p:cNvPr id="14" name="Parallelogram 14">
              <a:extLst>
                <a:ext uri="{FF2B5EF4-FFF2-40B4-BE49-F238E27FC236}">
                  <a16:creationId xmlns:a16="http://schemas.microsoft.com/office/drawing/2014/main" id="{58A6B283-342A-29E7-DF7D-5DC1EBA5A154}"/>
                </a:ext>
              </a:extLst>
            </p:cNvPr>
            <p:cNvSpPr/>
            <p:nvPr/>
          </p:nvSpPr>
          <p:spPr bwMode="auto">
            <a:xfrm>
              <a:off x="4555218" y="1532747"/>
              <a:ext cx="5198381" cy="1063496"/>
            </a:xfrm>
            <a:prstGeom prst="rect">
              <a:avLst/>
            </a:prstGeom>
            <a:noFill/>
            <a:ln w="317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defTabSz="914400" eaLnBrk="0" fontAlgn="base" hangingPunct="0">
                <a:lnSpc>
                  <a:spcPct val="120000"/>
                </a:lnSpc>
                <a:spcBef>
                  <a:spcPct val="0"/>
                </a:spcBef>
                <a:spcAft>
                  <a:spcPct val="0"/>
                </a:spcAft>
              </a:pPr>
              <a:r>
                <a:rPr lang="pl-PL" dirty="0">
                  <a:solidFill>
                    <a:schemeClr val="bg1"/>
                  </a:solidFill>
                  <a:sym typeface="+mn-lt"/>
                </a:rPr>
                <a:t>W pełni walidowane rozwiązanie(analizator, reagenty, kalibratory, kontrola jakości, aplikacje)</a:t>
              </a:r>
              <a:endParaRPr lang="en-US" dirty="0">
                <a:solidFill>
                  <a:schemeClr val="bg1"/>
                </a:solidFill>
                <a:sym typeface="+mn-lt"/>
              </a:endParaRPr>
            </a:p>
          </p:txBody>
        </p:sp>
      </p:grpSp>
      <p:grpSp>
        <p:nvGrpSpPr>
          <p:cNvPr id="15" name="Group 8">
            <a:extLst>
              <a:ext uri="{FF2B5EF4-FFF2-40B4-BE49-F238E27FC236}">
                <a16:creationId xmlns:a16="http://schemas.microsoft.com/office/drawing/2014/main" id="{138F95D8-656C-1DE0-0555-0E8479434BC8}"/>
              </a:ext>
            </a:extLst>
          </p:cNvPr>
          <p:cNvGrpSpPr/>
          <p:nvPr/>
        </p:nvGrpSpPr>
        <p:grpSpPr>
          <a:xfrm>
            <a:off x="3677841" y="2851359"/>
            <a:ext cx="6796484" cy="1808559"/>
            <a:chOff x="3677841" y="2851359"/>
            <a:chExt cx="6796484" cy="1808559"/>
          </a:xfrm>
        </p:grpSpPr>
        <p:sp>
          <p:nvSpPr>
            <p:cNvPr id="16" name="Freeform: Shape 46">
              <a:extLst>
                <a:ext uri="{FF2B5EF4-FFF2-40B4-BE49-F238E27FC236}">
                  <a16:creationId xmlns:a16="http://schemas.microsoft.com/office/drawing/2014/main" id="{42BF3ADF-87A3-6CFA-9D22-7D61EF19149E}"/>
                </a:ext>
              </a:extLst>
            </p:cNvPr>
            <p:cNvSpPr/>
            <p:nvPr/>
          </p:nvSpPr>
          <p:spPr bwMode="auto">
            <a:xfrm>
              <a:off x="3677841" y="2851359"/>
              <a:ext cx="967978" cy="1808559"/>
            </a:xfrm>
            <a:custGeom>
              <a:avLst/>
              <a:gdLst>
                <a:gd name="connsiteX0" fmla="*/ 395287 w 967978"/>
                <a:gd name="connsiteY0" fmla="*/ 550069 h 1808559"/>
                <a:gd name="connsiteX1" fmla="*/ 967978 w 967978"/>
                <a:gd name="connsiteY1" fmla="*/ 0 h 1808559"/>
                <a:gd name="connsiteX2" fmla="*/ 561975 w 967978"/>
                <a:gd name="connsiteY2" fmla="*/ 1253728 h 1808559"/>
                <a:gd name="connsiteX3" fmla="*/ 0 w 967978"/>
                <a:gd name="connsiteY3" fmla="*/ 1808559 h 1808559"/>
                <a:gd name="connsiteX4" fmla="*/ 395287 w 967978"/>
                <a:gd name="connsiteY4" fmla="*/ 550069 h 1808559"/>
                <a:gd name="connsiteX0" fmla="*/ 395287 w 967978"/>
                <a:gd name="connsiteY0" fmla="*/ 550069 h 1808559"/>
                <a:gd name="connsiteX1" fmla="*/ 967978 w 967978"/>
                <a:gd name="connsiteY1" fmla="*/ 0 h 1808559"/>
                <a:gd name="connsiteX2" fmla="*/ 581025 w 967978"/>
                <a:gd name="connsiteY2" fmla="*/ 1134666 h 1808559"/>
                <a:gd name="connsiteX3" fmla="*/ 0 w 967978"/>
                <a:gd name="connsiteY3" fmla="*/ 1808559 h 1808559"/>
                <a:gd name="connsiteX4" fmla="*/ 395287 w 967978"/>
                <a:gd name="connsiteY4" fmla="*/ 550069 h 1808559"/>
                <a:gd name="connsiteX0" fmla="*/ 395287 w 967978"/>
                <a:gd name="connsiteY0" fmla="*/ 550069 h 1808559"/>
                <a:gd name="connsiteX1" fmla="*/ 967978 w 967978"/>
                <a:gd name="connsiteY1" fmla="*/ 0 h 1808559"/>
                <a:gd name="connsiteX2" fmla="*/ 565547 w 967978"/>
                <a:gd name="connsiteY2" fmla="*/ 1256110 h 1808559"/>
                <a:gd name="connsiteX3" fmla="*/ 0 w 967978"/>
                <a:gd name="connsiteY3" fmla="*/ 1808559 h 1808559"/>
                <a:gd name="connsiteX4" fmla="*/ 395287 w 967978"/>
                <a:gd name="connsiteY4" fmla="*/ 550069 h 1808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7978" h="1808559">
                  <a:moveTo>
                    <a:pt x="395287" y="550069"/>
                  </a:moveTo>
                  <a:lnTo>
                    <a:pt x="967978" y="0"/>
                  </a:lnTo>
                  <a:lnTo>
                    <a:pt x="565547" y="1256110"/>
                  </a:lnTo>
                  <a:lnTo>
                    <a:pt x="0" y="1808559"/>
                  </a:lnTo>
                  <a:lnTo>
                    <a:pt x="395287" y="550069"/>
                  </a:lnTo>
                  <a:close/>
                </a:path>
              </a:pathLst>
            </a:custGeom>
            <a:gradFill flip="none" rotWithShape="1">
              <a:gsLst>
                <a:gs pos="0">
                  <a:schemeClr val="accent5"/>
                </a:gs>
                <a:gs pos="61000">
                  <a:schemeClr val="bg2"/>
                </a:gs>
              </a:gsLst>
              <a:lin ang="2700000" scaled="1"/>
              <a:tileRect/>
            </a:gra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dirty="0"/>
            </a:p>
          </p:txBody>
        </p:sp>
        <p:sp>
          <p:nvSpPr>
            <p:cNvPr id="17" name="Parallelogram 11">
              <a:extLst>
                <a:ext uri="{FF2B5EF4-FFF2-40B4-BE49-F238E27FC236}">
                  <a16:creationId xmlns:a16="http://schemas.microsoft.com/office/drawing/2014/main" id="{0309A26E-7165-EE83-8324-8EEBE16070FA}"/>
                </a:ext>
              </a:extLst>
            </p:cNvPr>
            <p:cNvSpPr/>
            <p:nvPr/>
          </p:nvSpPr>
          <p:spPr bwMode="auto">
            <a:xfrm>
              <a:off x="4239584" y="2857558"/>
              <a:ext cx="6234741" cy="1260000"/>
            </a:xfrm>
            <a:prstGeom prst="parallelogram">
              <a:avLst>
                <a:gd name="adj" fmla="val 31844"/>
              </a:avLst>
            </a:prstGeom>
            <a:solidFill>
              <a:schemeClr val="accent1"/>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sym typeface="+mn-lt"/>
              </a:endParaRPr>
            </a:p>
          </p:txBody>
        </p:sp>
        <p:sp>
          <p:nvSpPr>
            <p:cNvPr id="18" name="Parallelogram 14">
              <a:extLst>
                <a:ext uri="{FF2B5EF4-FFF2-40B4-BE49-F238E27FC236}">
                  <a16:creationId xmlns:a16="http://schemas.microsoft.com/office/drawing/2014/main" id="{6EC4B623-E9D9-79FA-53E8-324B82031DCD}"/>
                </a:ext>
              </a:extLst>
            </p:cNvPr>
            <p:cNvSpPr/>
            <p:nvPr/>
          </p:nvSpPr>
          <p:spPr bwMode="auto">
            <a:xfrm>
              <a:off x="4555218" y="2931818"/>
              <a:ext cx="5293631" cy="1063496"/>
            </a:xfrm>
            <a:prstGeom prst="rect">
              <a:avLst/>
            </a:prstGeom>
            <a:noFill/>
            <a:ln w="317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defTabSz="914400" eaLnBrk="0" fontAlgn="base" hangingPunct="0">
                <a:lnSpc>
                  <a:spcPct val="120000"/>
                </a:lnSpc>
                <a:spcBef>
                  <a:spcPct val="0"/>
                </a:spcBef>
                <a:spcAft>
                  <a:spcPct val="0"/>
                </a:spcAft>
              </a:pPr>
              <a:r>
                <a:rPr lang="pl-PL" dirty="0">
                  <a:solidFill>
                    <a:schemeClr val="bg1"/>
                  </a:solidFill>
                  <a:sym typeface="+mn-lt"/>
                </a:rPr>
                <a:t>Metody, kalibratory, kontrole identyfikowalne z międzynarodowymi metodami referencyjnymi</a:t>
              </a:r>
              <a:endParaRPr lang="en-US" dirty="0">
                <a:solidFill>
                  <a:schemeClr val="bg1"/>
                </a:solidFill>
                <a:sym typeface="+mn-lt"/>
              </a:endParaRPr>
            </a:p>
          </p:txBody>
        </p:sp>
      </p:grpSp>
      <p:grpSp>
        <p:nvGrpSpPr>
          <p:cNvPr id="20" name="Group 58">
            <a:extLst>
              <a:ext uri="{FF2B5EF4-FFF2-40B4-BE49-F238E27FC236}">
                <a16:creationId xmlns:a16="http://schemas.microsoft.com/office/drawing/2014/main" id="{D3765A72-E969-15CD-EC17-21148CD4E864}"/>
              </a:ext>
            </a:extLst>
          </p:cNvPr>
          <p:cNvGrpSpPr>
            <a:grpSpLocks noChangeAspect="1"/>
          </p:cNvGrpSpPr>
          <p:nvPr/>
        </p:nvGrpSpPr>
        <p:grpSpPr>
          <a:xfrm>
            <a:off x="10288189" y="787982"/>
            <a:ext cx="1608310" cy="584939"/>
            <a:chOff x="343668" y="1851251"/>
            <a:chExt cx="11514733" cy="4187886"/>
          </a:xfrm>
        </p:grpSpPr>
        <p:sp>
          <p:nvSpPr>
            <p:cNvPr id="21" name="Rectangle 79">
              <a:extLst>
                <a:ext uri="{FF2B5EF4-FFF2-40B4-BE49-F238E27FC236}">
                  <a16:creationId xmlns:a16="http://schemas.microsoft.com/office/drawing/2014/main" id="{0E005163-FB18-3144-BA29-069A9CDF2AE4}"/>
                </a:ext>
              </a:extLst>
            </p:cNvPr>
            <p:cNvSpPr/>
            <p:nvPr/>
          </p:nvSpPr>
          <p:spPr bwMode="auto">
            <a:xfrm>
              <a:off x="343668" y="4455137"/>
              <a:ext cx="3139200" cy="1584000"/>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dirty="0">
                <a:latin typeface="Arial" pitchFamily="124" charset="0"/>
              </a:endParaRPr>
            </a:p>
          </p:txBody>
        </p:sp>
        <p:sp>
          <p:nvSpPr>
            <p:cNvPr id="22" name="Rectangle 80">
              <a:extLst>
                <a:ext uri="{FF2B5EF4-FFF2-40B4-BE49-F238E27FC236}">
                  <a16:creationId xmlns:a16="http://schemas.microsoft.com/office/drawing/2014/main" id="{73B0432A-A711-5094-D60D-92D57E80B800}"/>
                </a:ext>
              </a:extLst>
            </p:cNvPr>
            <p:cNvSpPr/>
            <p:nvPr/>
          </p:nvSpPr>
          <p:spPr bwMode="auto">
            <a:xfrm>
              <a:off x="4296205" y="4455137"/>
              <a:ext cx="3139200" cy="1584000"/>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dirty="0">
                <a:latin typeface="Arial" pitchFamily="124" charset="0"/>
              </a:endParaRPr>
            </a:p>
          </p:txBody>
        </p:sp>
        <p:sp>
          <p:nvSpPr>
            <p:cNvPr id="23" name="Rectangle 81">
              <a:extLst>
                <a:ext uri="{FF2B5EF4-FFF2-40B4-BE49-F238E27FC236}">
                  <a16:creationId xmlns:a16="http://schemas.microsoft.com/office/drawing/2014/main" id="{81397E4F-C9B8-14B4-9396-13EAA178C039}"/>
                </a:ext>
              </a:extLst>
            </p:cNvPr>
            <p:cNvSpPr/>
            <p:nvPr/>
          </p:nvSpPr>
          <p:spPr bwMode="auto">
            <a:xfrm>
              <a:off x="8258401" y="4455137"/>
              <a:ext cx="3139200" cy="1584000"/>
            </a:xfrm>
            <a:prstGeom prst="rect">
              <a:avLst/>
            </a:prstGeom>
            <a:solidFill>
              <a:schemeClr val="tx2">
                <a:lumMod val="75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dirty="0">
                <a:latin typeface="Arial" pitchFamily="124" charset="0"/>
              </a:endParaRPr>
            </a:p>
          </p:txBody>
        </p:sp>
        <p:sp>
          <p:nvSpPr>
            <p:cNvPr id="24" name="Parallelogram 82">
              <a:extLst>
                <a:ext uri="{FF2B5EF4-FFF2-40B4-BE49-F238E27FC236}">
                  <a16:creationId xmlns:a16="http://schemas.microsoft.com/office/drawing/2014/main" id="{BDACEEA3-9E55-09AC-D54E-1C4AB264BB16}"/>
                </a:ext>
              </a:extLst>
            </p:cNvPr>
            <p:cNvSpPr/>
            <p:nvPr/>
          </p:nvSpPr>
          <p:spPr bwMode="auto">
            <a:xfrm>
              <a:off x="343668" y="3028232"/>
              <a:ext cx="3600000" cy="1440000"/>
            </a:xfrm>
            <a:prstGeom prst="parallelogram">
              <a:avLst>
                <a:gd name="adj" fmla="val 31844"/>
              </a:avLst>
            </a:prstGeom>
            <a:solidFill>
              <a:schemeClr val="bg2">
                <a:lumMod val="75000"/>
              </a:schemeClr>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25" name="Group 83">
              <a:extLst>
                <a:ext uri="{FF2B5EF4-FFF2-40B4-BE49-F238E27FC236}">
                  <a16:creationId xmlns:a16="http://schemas.microsoft.com/office/drawing/2014/main" id="{FAA84BBB-400E-20FF-04C3-5F96CD4CA8F0}"/>
                </a:ext>
              </a:extLst>
            </p:cNvPr>
            <p:cNvGrpSpPr/>
            <p:nvPr/>
          </p:nvGrpSpPr>
          <p:grpSpPr>
            <a:xfrm>
              <a:off x="1571478" y="1851251"/>
              <a:ext cx="1504370" cy="1504370"/>
              <a:chOff x="5343815" y="1101555"/>
              <a:chExt cx="1504370" cy="1504370"/>
            </a:xfrm>
          </p:grpSpPr>
          <p:sp>
            <p:nvSpPr>
              <p:cNvPr id="37" name="Freeform: Shape 95">
                <a:extLst>
                  <a:ext uri="{FF2B5EF4-FFF2-40B4-BE49-F238E27FC236}">
                    <a16:creationId xmlns:a16="http://schemas.microsoft.com/office/drawing/2014/main" id="{4C80F1F1-FEA0-2ECF-A7CE-411FF1436293}"/>
                  </a:ext>
                </a:extLst>
              </p:cNvPr>
              <p:cNvSpPr/>
              <p:nvPr/>
            </p:nvSpPr>
            <p:spPr>
              <a:xfrm>
                <a:off x="5343815" y="1101555"/>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algn="ctr" defTabSz="1289050">
                  <a:lnSpc>
                    <a:spcPct val="90000"/>
                  </a:lnSpc>
                  <a:spcBef>
                    <a:spcPct val="0"/>
                  </a:spcBef>
                  <a:spcAft>
                    <a:spcPct val="35000"/>
                  </a:spcAft>
                </a:pPr>
                <a:endParaRPr lang="en-US" sz="2900"/>
              </a:p>
            </p:txBody>
          </p:sp>
          <p:pic>
            <p:nvPicPr>
              <p:cNvPr id="38" name="Graphic 96">
                <a:extLst>
                  <a:ext uri="{FF2B5EF4-FFF2-40B4-BE49-F238E27FC236}">
                    <a16:creationId xmlns:a16="http://schemas.microsoft.com/office/drawing/2014/main" id="{E019D967-6716-15B8-78A1-FD278234980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23810" y="1281550"/>
                <a:ext cx="1144381" cy="1144381"/>
              </a:xfrm>
              <a:prstGeom prst="rect">
                <a:avLst/>
              </a:prstGeom>
            </p:spPr>
          </p:pic>
        </p:grpSp>
        <p:sp>
          <p:nvSpPr>
            <p:cNvPr id="26" name="Parallelogram 84">
              <a:extLst>
                <a:ext uri="{FF2B5EF4-FFF2-40B4-BE49-F238E27FC236}">
                  <a16:creationId xmlns:a16="http://schemas.microsoft.com/office/drawing/2014/main" id="{7199390C-4198-2057-83CA-7194D0EB9D4C}"/>
                </a:ext>
              </a:extLst>
            </p:cNvPr>
            <p:cNvSpPr/>
            <p:nvPr/>
          </p:nvSpPr>
          <p:spPr bwMode="auto">
            <a:xfrm>
              <a:off x="8258401" y="3028232"/>
              <a:ext cx="3600000" cy="1440000"/>
            </a:xfrm>
            <a:prstGeom prst="parallelogram">
              <a:avLst>
                <a:gd name="adj" fmla="val 31844"/>
              </a:avLst>
            </a:prstGeom>
            <a:solidFill>
              <a:schemeClr val="tx2"/>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27" name="Group 85">
              <a:extLst>
                <a:ext uri="{FF2B5EF4-FFF2-40B4-BE49-F238E27FC236}">
                  <a16:creationId xmlns:a16="http://schemas.microsoft.com/office/drawing/2014/main" id="{380AFB95-F0B5-27E6-AD32-349AA6C4060F}"/>
                </a:ext>
              </a:extLst>
            </p:cNvPr>
            <p:cNvGrpSpPr/>
            <p:nvPr/>
          </p:nvGrpSpPr>
          <p:grpSpPr>
            <a:xfrm>
              <a:off x="9486211" y="1851251"/>
              <a:ext cx="1504370" cy="1504370"/>
              <a:chOff x="7167592" y="4260429"/>
              <a:chExt cx="1504370" cy="1504370"/>
            </a:xfrm>
          </p:grpSpPr>
          <p:sp>
            <p:nvSpPr>
              <p:cNvPr id="35" name="Freeform: Shape 93">
                <a:extLst>
                  <a:ext uri="{FF2B5EF4-FFF2-40B4-BE49-F238E27FC236}">
                    <a16:creationId xmlns:a16="http://schemas.microsoft.com/office/drawing/2014/main" id="{CE860911-3E6A-B175-3B08-37FB0DA9E3C7}"/>
                  </a:ext>
                </a:extLst>
              </p:cNvPr>
              <p:cNvSpPr/>
              <p:nvPr/>
            </p:nvSpPr>
            <p:spPr>
              <a:xfrm>
                <a:off x="7167592" y="4260429"/>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tx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marL="0" lvl="0" indent="0" algn="ctr" defTabSz="1289050">
                  <a:lnSpc>
                    <a:spcPct val="90000"/>
                  </a:lnSpc>
                  <a:spcBef>
                    <a:spcPct val="0"/>
                  </a:spcBef>
                  <a:spcAft>
                    <a:spcPct val="35000"/>
                  </a:spcAft>
                  <a:buNone/>
                </a:pPr>
                <a:endParaRPr lang="en-US" sz="2900" kern="1200"/>
              </a:p>
            </p:txBody>
          </p:sp>
          <p:pic>
            <p:nvPicPr>
              <p:cNvPr id="36" name="Graphic 94">
                <a:extLst>
                  <a:ext uri="{FF2B5EF4-FFF2-40B4-BE49-F238E27FC236}">
                    <a16:creationId xmlns:a16="http://schemas.microsoft.com/office/drawing/2014/main" id="{00846140-FE65-BE74-AA27-759EC54A6EF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347587" y="4440424"/>
                <a:ext cx="1144381" cy="1144381"/>
              </a:xfrm>
              <a:prstGeom prst="rect">
                <a:avLst/>
              </a:prstGeom>
            </p:spPr>
          </p:pic>
        </p:grpSp>
        <p:sp>
          <p:nvSpPr>
            <p:cNvPr id="28" name="Parallelogram 86">
              <a:extLst>
                <a:ext uri="{FF2B5EF4-FFF2-40B4-BE49-F238E27FC236}">
                  <a16:creationId xmlns:a16="http://schemas.microsoft.com/office/drawing/2014/main" id="{56BA8104-F900-9E3B-605D-760B9708858E}"/>
                </a:ext>
              </a:extLst>
            </p:cNvPr>
            <p:cNvSpPr/>
            <p:nvPr/>
          </p:nvSpPr>
          <p:spPr bwMode="auto">
            <a:xfrm>
              <a:off x="4296205" y="3028232"/>
              <a:ext cx="3600000" cy="1440000"/>
            </a:xfrm>
            <a:prstGeom prst="parallelogram">
              <a:avLst>
                <a:gd name="adj" fmla="val 31844"/>
              </a:avLst>
            </a:prstGeom>
            <a:solidFill>
              <a:schemeClr val="bg2">
                <a:lumMod val="75000"/>
              </a:schemeClr>
            </a:solidFill>
            <a:ln w="31750" cap="flat" cmpd="sng" algn="ctr">
              <a:noFill/>
              <a:prstDash val="solid"/>
              <a:round/>
              <a:headEnd type="none" w="med" len="med"/>
              <a:tailEnd type="none" w="med" len="med"/>
            </a:ln>
            <a:effectLst/>
          </p:spPr>
          <p:txBody>
            <a:bodyPr vert="horz" wrap="square" lIns="72000" tIns="72000" rIns="72000" bIns="36000" numCol="1" rtlCol="0" anchor="b" anchorCtr="0" compatLnSpc="1">
              <a:prstTxWarp prst="textNoShape">
                <a:avLst/>
              </a:prstTxWarp>
            </a:bodyPr>
            <a:lstStyle/>
            <a:p>
              <a:pPr algn="ctr" defTabSz="914400" eaLnBrk="0" fontAlgn="base" hangingPunct="0">
                <a:spcBef>
                  <a:spcPct val="0"/>
                </a:spcBef>
                <a:spcAft>
                  <a:spcPct val="0"/>
                </a:spcAft>
              </a:pPr>
              <a:endParaRPr lang="en-US" sz="2400" b="1" dirty="0">
                <a:solidFill>
                  <a:schemeClr val="bg1"/>
                </a:solidFill>
                <a:sym typeface="+mn-lt"/>
              </a:endParaRPr>
            </a:p>
          </p:txBody>
        </p:sp>
        <p:grpSp>
          <p:nvGrpSpPr>
            <p:cNvPr id="29" name="Group 87">
              <a:extLst>
                <a:ext uri="{FF2B5EF4-FFF2-40B4-BE49-F238E27FC236}">
                  <a16:creationId xmlns:a16="http://schemas.microsoft.com/office/drawing/2014/main" id="{7CF10443-B7B2-C017-1EBC-B39E055B57E0}"/>
                </a:ext>
              </a:extLst>
            </p:cNvPr>
            <p:cNvGrpSpPr/>
            <p:nvPr/>
          </p:nvGrpSpPr>
          <p:grpSpPr>
            <a:xfrm>
              <a:off x="5528845" y="1851251"/>
              <a:ext cx="1504370" cy="1504370"/>
              <a:chOff x="3520038" y="4260429"/>
              <a:chExt cx="1504370" cy="1504370"/>
            </a:xfrm>
          </p:grpSpPr>
          <p:sp>
            <p:nvSpPr>
              <p:cNvPr id="30" name="Freeform: Shape 88">
                <a:extLst>
                  <a:ext uri="{FF2B5EF4-FFF2-40B4-BE49-F238E27FC236}">
                    <a16:creationId xmlns:a16="http://schemas.microsoft.com/office/drawing/2014/main" id="{C6910F01-7605-0BD8-2269-78A9A324E012}"/>
                  </a:ext>
                </a:extLst>
              </p:cNvPr>
              <p:cNvSpPr/>
              <p:nvPr/>
            </p:nvSpPr>
            <p:spPr>
              <a:xfrm>
                <a:off x="3520038" y="4260429"/>
                <a:ext cx="1504370" cy="1504370"/>
              </a:xfrm>
              <a:custGeom>
                <a:avLst/>
                <a:gdLst>
                  <a:gd name="connsiteX0" fmla="*/ 0 w 1504370"/>
                  <a:gd name="connsiteY0" fmla="*/ 752185 h 1504370"/>
                  <a:gd name="connsiteX1" fmla="*/ 752185 w 1504370"/>
                  <a:gd name="connsiteY1" fmla="*/ 0 h 1504370"/>
                  <a:gd name="connsiteX2" fmla="*/ 1504370 w 1504370"/>
                  <a:gd name="connsiteY2" fmla="*/ 752185 h 1504370"/>
                  <a:gd name="connsiteX3" fmla="*/ 752185 w 1504370"/>
                  <a:gd name="connsiteY3" fmla="*/ 1504370 h 1504370"/>
                  <a:gd name="connsiteX4" fmla="*/ 0 w 1504370"/>
                  <a:gd name="connsiteY4" fmla="*/ 752185 h 150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370" h="1504370">
                    <a:moveTo>
                      <a:pt x="0" y="752185"/>
                    </a:moveTo>
                    <a:cubicBezTo>
                      <a:pt x="0" y="336765"/>
                      <a:pt x="336765" y="0"/>
                      <a:pt x="752185" y="0"/>
                    </a:cubicBezTo>
                    <a:cubicBezTo>
                      <a:pt x="1167605" y="0"/>
                      <a:pt x="1504370" y="336765"/>
                      <a:pt x="1504370" y="752185"/>
                    </a:cubicBezTo>
                    <a:cubicBezTo>
                      <a:pt x="1504370" y="1167605"/>
                      <a:pt x="1167605" y="1504370"/>
                      <a:pt x="752185" y="1504370"/>
                    </a:cubicBezTo>
                    <a:cubicBezTo>
                      <a:pt x="336765" y="1504370"/>
                      <a:pt x="0" y="1167605"/>
                      <a:pt x="0" y="752185"/>
                    </a:cubicBezTo>
                    <a:close/>
                  </a:path>
                </a:pathLst>
              </a:cu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140" tIns="257140" rIns="257140" bIns="257140" numCol="1" spcCol="1270" anchor="ctr" anchorCtr="0">
                <a:noAutofit/>
              </a:bodyPr>
              <a:lstStyle/>
              <a:p>
                <a:pPr algn="ctr" defTabSz="1289050">
                  <a:lnSpc>
                    <a:spcPct val="90000"/>
                  </a:lnSpc>
                  <a:spcBef>
                    <a:spcPct val="0"/>
                  </a:spcBef>
                  <a:spcAft>
                    <a:spcPct val="35000"/>
                  </a:spcAft>
                </a:pPr>
                <a:endParaRPr lang="en-US" sz="2900"/>
              </a:p>
            </p:txBody>
          </p:sp>
          <p:grpSp>
            <p:nvGrpSpPr>
              <p:cNvPr id="31" name="Group 89">
                <a:extLst>
                  <a:ext uri="{FF2B5EF4-FFF2-40B4-BE49-F238E27FC236}">
                    <a16:creationId xmlns:a16="http://schemas.microsoft.com/office/drawing/2014/main" id="{F7DF892D-B3C1-862B-3875-7060D29AC491}"/>
                  </a:ext>
                </a:extLst>
              </p:cNvPr>
              <p:cNvGrpSpPr/>
              <p:nvPr/>
            </p:nvGrpSpPr>
            <p:grpSpPr>
              <a:xfrm>
                <a:off x="3886675" y="4548065"/>
                <a:ext cx="756613" cy="987042"/>
                <a:chOff x="3886675" y="4548065"/>
                <a:chExt cx="756613" cy="987042"/>
              </a:xfrm>
            </p:grpSpPr>
            <p:sp>
              <p:nvSpPr>
                <p:cNvPr id="32" name="Freeform: Shape 90">
                  <a:extLst>
                    <a:ext uri="{FF2B5EF4-FFF2-40B4-BE49-F238E27FC236}">
                      <a16:creationId xmlns:a16="http://schemas.microsoft.com/office/drawing/2014/main" id="{2876F68B-D59B-B1EC-9B08-AED91F505F70}"/>
                    </a:ext>
                  </a:extLst>
                </p:cNvPr>
                <p:cNvSpPr/>
                <p:nvPr/>
              </p:nvSpPr>
              <p:spPr>
                <a:xfrm>
                  <a:off x="3886675" y="4569787"/>
                  <a:ext cx="756613" cy="965320"/>
                </a:xfrm>
                <a:custGeom>
                  <a:avLst/>
                  <a:gdLst>
                    <a:gd name="connsiteX0" fmla="*/ 469946 w 756613"/>
                    <a:gd name="connsiteY0" fmla="*/ 616988 h 965320"/>
                    <a:gd name="connsiteX1" fmla="*/ 469946 w 756613"/>
                    <a:gd name="connsiteY1" fmla="*/ 628611 h 965320"/>
                    <a:gd name="connsiteX2" fmla="*/ 452959 w 756613"/>
                    <a:gd name="connsiteY2" fmla="*/ 913633 h 965320"/>
                    <a:gd name="connsiteX3" fmla="*/ 459039 w 756613"/>
                    <a:gd name="connsiteY3" fmla="*/ 943315 h 965320"/>
                    <a:gd name="connsiteX4" fmla="*/ 530741 w 756613"/>
                    <a:gd name="connsiteY4" fmla="*/ 948680 h 965320"/>
                    <a:gd name="connsiteX5" fmla="*/ 539682 w 756613"/>
                    <a:gd name="connsiteY5" fmla="*/ 923646 h 965320"/>
                    <a:gd name="connsiteX6" fmla="*/ 556669 w 756613"/>
                    <a:gd name="connsiteY6" fmla="*/ 747340 h 965320"/>
                    <a:gd name="connsiteX7" fmla="*/ 564894 w 756613"/>
                    <a:gd name="connsiteY7" fmla="*/ 660081 h 965320"/>
                    <a:gd name="connsiteX8" fmla="*/ 566682 w 756613"/>
                    <a:gd name="connsiteY8" fmla="*/ 651498 h 965320"/>
                    <a:gd name="connsiteX9" fmla="*/ 573656 w 756613"/>
                    <a:gd name="connsiteY9" fmla="*/ 660975 h 965320"/>
                    <a:gd name="connsiteX10" fmla="*/ 673074 w 756613"/>
                    <a:gd name="connsiteY10" fmla="*/ 828162 h 965320"/>
                    <a:gd name="connsiteX11" fmla="*/ 701683 w 756613"/>
                    <a:gd name="connsiteY11" fmla="*/ 851228 h 965320"/>
                    <a:gd name="connsiteX12" fmla="*/ 756578 w 756613"/>
                    <a:gd name="connsiteY12" fmla="*/ 814572 h 965320"/>
                    <a:gd name="connsiteX13" fmla="*/ 749425 w 756613"/>
                    <a:gd name="connsiteY13" fmla="*/ 783460 h 965320"/>
                    <a:gd name="connsiteX14" fmla="*/ 602802 w 756613"/>
                    <a:gd name="connsiteY14" fmla="*/ 530444 h 965320"/>
                    <a:gd name="connsiteX15" fmla="*/ 538251 w 756613"/>
                    <a:gd name="connsiteY15" fmla="*/ 499152 h 965320"/>
                    <a:gd name="connsiteX16" fmla="*/ 425422 w 756613"/>
                    <a:gd name="connsiteY16" fmla="*/ 519179 h 965320"/>
                    <a:gd name="connsiteX17" fmla="*/ 419164 w 756613"/>
                    <a:gd name="connsiteY17" fmla="*/ 520073 h 965320"/>
                    <a:gd name="connsiteX18" fmla="*/ 388945 w 756613"/>
                    <a:gd name="connsiteY18" fmla="*/ 304071 h 965320"/>
                    <a:gd name="connsiteX19" fmla="*/ 401104 w 756613"/>
                    <a:gd name="connsiteY19" fmla="*/ 279574 h 965320"/>
                    <a:gd name="connsiteX20" fmla="*/ 528059 w 756613"/>
                    <a:gd name="connsiteY20" fmla="*/ 192315 h 965320"/>
                    <a:gd name="connsiteX21" fmla="*/ 550947 w 756613"/>
                    <a:gd name="connsiteY21" fmla="*/ 154408 h 965320"/>
                    <a:gd name="connsiteX22" fmla="*/ 527523 w 756613"/>
                    <a:gd name="connsiteY22" fmla="*/ 118646 h 965320"/>
                    <a:gd name="connsiteX23" fmla="*/ 369634 w 756613"/>
                    <a:gd name="connsiteY23" fmla="*/ 37645 h 965320"/>
                    <a:gd name="connsiteX24" fmla="*/ 358727 w 756613"/>
                    <a:gd name="connsiteY24" fmla="*/ 34784 h 965320"/>
                    <a:gd name="connsiteX25" fmla="*/ 334587 w 756613"/>
                    <a:gd name="connsiteY25" fmla="*/ 24056 h 965320"/>
                    <a:gd name="connsiteX26" fmla="*/ 198156 w 756613"/>
                    <a:gd name="connsiteY26" fmla="*/ 41042 h 965320"/>
                    <a:gd name="connsiteX27" fmla="*/ 181526 w 756613"/>
                    <a:gd name="connsiteY27" fmla="*/ 55526 h 965320"/>
                    <a:gd name="connsiteX28" fmla="*/ 24532 w 756613"/>
                    <a:gd name="connsiteY28" fmla="*/ 137600 h 965320"/>
                    <a:gd name="connsiteX29" fmla="*/ 11478 w 756613"/>
                    <a:gd name="connsiteY29" fmla="*/ 202507 h 965320"/>
                    <a:gd name="connsiteX30" fmla="*/ 30611 w 756613"/>
                    <a:gd name="connsiteY30" fmla="*/ 218421 h 965320"/>
                    <a:gd name="connsiteX31" fmla="*/ 152023 w 756613"/>
                    <a:gd name="connsiteY31" fmla="*/ 303535 h 965320"/>
                    <a:gd name="connsiteX32" fmla="*/ 179917 w 756613"/>
                    <a:gd name="connsiteY32" fmla="*/ 352350 h 965320"/>
                    <a:gd name="connsiteX33" fmla="*/ 223725 w 756613"/>
                    <a:gd name="connsiteY33" fmla="*/ 618597 h 965320"/>
                    <a:gd name="connsiteX34" fmla="*/ 304547 w 756613"/>
                    <a:gd name="connsiteY34" fmla="*/ 664372 h 965320"/>
                    <a:gd name="connsiteX35" fmla="*/ 459754 w 756613"/>
                    <a:gd name="connsiteY35" fmla="*/ 619670 h 965320"/>
                    <a:gd name="connsiteX36" fmla="*/ 469946 w 756613"/>
                    <a:gd name="connsiteY36" fmla="*/ 616988 h 965320"/>
                    <a:gd name="connsiteX37" fmla="*/ 190288 w 756613"/>
                    <a:gd name="connsiteY37" fmla="*/ 126513 h 965320"/>
                    <a:gd name="connsiteX38" fmla="*/ 280944 w 756613"/>
                    <a:gd name="connsiteY38" fmla="*/ 164063 h 965320"/>
                    <a:gd name="connsiteX39" fmla="*/ 358190 w 756613"/>
                    <a:gd name="connsiteY39" fmla="*/ 108632 h 965320"/>
                    <a:gd name="connsiteX40" fmla="*/ 447058 w 756613"/>
                    <a:gd name="connsiteY40" fmla="*/ 155302 h 965320"/>
                    <a:gd name="connsiteX41" fmla="*/ 353541 w 756613"/>
                    <a:gd name="connsiteY41" fmla="*/ 205011 h 965320"/>
                    <a:gd name="connsiteX42" fmla="*/ 341203 w 756613"/>
                    <a:gd name="connsiteY42" fmla="*/ 209481 h 965320"/>
                    <a:gd name="connsiteX43" fmla="*/ 201195 w 756613"/>
                    <a:gd name="connsiteY43" fmla="*/ 223965 h 965320"/>
                    <a:gd name="connsiteX44" fmla="*/ 192612 w 756613"/>
                    <a:gd name="connsiteY44" fmla="*/ 222534 h 965320"/>
                    <a:gd name="connsiteX45" fmla="*/ 113042 w 756613"/>
                    <a:gd name="connsiteY45" fmla="*/ 181944 h 965320"/>
                    <a:gd name="connsiteX46" fmla="*/ 106069 w 756613"/>
                    <a:gd name="connsiteY46" fmla="*/ 177474 h 965320"/>
                    <a:gd name="connsiteX47" fmla="*/ 190288 w 756613"/>
                    <a:gd name="connsiteY47" fmla="*/ 126513 h 96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56613" h="965320">
                      <a:moveTo>
                        <a:pt x="469946" y="616988"/>
                      </a:moveTo>
                      <a:cubicBezTo>
                        <a:pt x="469946" y="621637"/>
                        <a:pt x="469946" y="625213"/>
                        <a:pt x="469946" y="628611"/>
                      </a:cubicBezTo>
                      <a:cubicBezTo>
                        <a:pt x="467979" y="724274"/>
                        <a:pt x="454390" y="817970"/>
                        <a:pt x="452959" y="913633"/>
                      </a:cubicBezTo>
                      <a:cubicBezTo>
                        <a:pt x="452780" y="923468"/>
                        <a:pt x="454747" y="934375"/>
                        <a:pt x="459039" y="943315"/>
                      </a:cubicBezTo>
                      <a:cubicBezTo>
                        <a:pt x="471734" y="969779"/>
                        <a:pt x="514827" y="973355"/>
                        <a:pt x="530741" y="948680"/>
                      </a:cubicBezTo>
                      <a:cubicBezTo>
                        <a:pt x="535390" y="941348"/>
                        <a:pt x="538788" y="932229"/>
                        <a:pt x="539682" y="923646"/>
                      </a:cubicBezTo>
                      <a:cubicBezTo>
                        <a:pt x="545761" y="864997"/>
                        <a:pt x="551126" y="806168"/>
                        <a:pt x="556669" y="747340"/>
                      </a:cubicBezTo>
                      <a:cubicBezTo>
                        <a:pt x="559351" y="718194"/>
                        <a:pt x="562033" y="689227"/>
                        <a:pt x="564894" y="660081"/>
                      </a:cubicBezTo>
                      <a:cubicBezTo>
                        <a:pt x="565073" y="657578"/>
                        <a:pt x="565788" y="655253"/>
                        <a:pt x="566682" y="651498"/>
                      </a:cubicBezTo>
                      <a:cubicBezTo>
                        <a:pt x="569543" y="655432"/>
                        <a:pt x="571689" y="658114"/>
                        <a:pt x="573656" y="660975"/>
                      </a:cubicBezTo>
                      <a:cubicBezTo>
                        <a:pt x="610312" y="714439"/>
                        <a:pt x="636418" y="774698"/>
                        <a:pt x="673074" y="828162"/>
                      </a:cubicBezTo>
                      <a:cubicBezTo>
                        <a:pt x="680405" y="838712"/>
                        <a:pt x="689167" y="847295"/>
                        <a:pt x="701683" y="851228"/>
                      </a:cubicBezTo>
                      <a:cubicBezTo>
                        <a:pt x="724034" y="858381"/>
                        <a:pt x="756041" y="837997"/>
                        <a:pt x="756578" y="814572"/>
                      </a:cubicBezTo>
                      <a:cubicBezTo>
                        <a:pt x="756935" y="804202"/>
                        <a:pt x="754611" y="792400"/>
                        <a:pt x="749425" y="783460"/>
                      </a:cubicBezTo>
                      <a:cubicBezTo>
                        <a:pt x="701147" y="698704"/>
                        <a:pt x="652332" y="614485"/>
                        <a:pt x="602802" y="530444"/>
                      </a:cubicBezTo>
                      <a:cubicBezTo>
                        <a:pt x="588676" y="506484"/>
                        <a:pt x="567397" y="493967"/>
                        <a:pt x="538251" y="499152"/>
                      </a:cubicBezTo>
                      <a:cubicBezTo>
                        <a:pt x="499450" y="506126"/>
                        <a:pt x="464224" y="512384"/>
                        <a:pt x="425422" y="519179"/>
                      </a:cubicBezTo>
                      <a:cubicBezTo>
                        <a:pt x="423813" y="519537"/>
                        <a:pt x="422383" y="519716"/>
                        <a:pt x="419164" y="520073"/>
                      </a:cubicBezTo>
                      <a:cubicBezTo>
                        <a:pt x="415588" y="501477"/>
                        <a:pt x="394846" y="357535"/>
                        <a:pt x="388945" y="304071"/>
                      </a:cubicBezTo>
                      <a:cubicBezTo>
                        <a:pt x="387515" y="291912"/>
                        <a:pt x="390376" y="286190"/>
                        <a:pt x="401104" y="279574"/>
                      </a:cubicBezTo>
                      <a:cubicBezTo>
                        <a:pt x="447953" y="250965"/>
                        <a:pt x="481926" y="221998"/>
                        <a:pt x="528059" y="192315"/>
                      </a:cubicBezTo>
                      <a:cubicBezTo>
                        <a:pt x="541649" y="183554"/>
                        <a:pt x="550589" y="171216"/>
                        <a:pt x="550947" y="154408"/>
                      </a:cubicBezTo>
                      <a:cubicBezTo>
                        <a:pt x="551126" y="145825"/>
                        <a:pt x="545046" y="127944"/>
                        <a:pt x="527523" y="118646"/>
                      </a:cubicBezTo>
                      <a:cubicBezTo>
                        <a:pt x="466728" y="86818"/>
                        <a:pt x="430250" y="69473"/>
                        <a:pt x="369634" y="37645"/>
                      </a:cubicBezTo>
                      <a:cubicBezTo>
                        <a:pt x="366415" y="35857"/>
                        <a:pt x="361945" y="34069"/>
                        <a:pt x="358727" y="34784"/>
                      </a:cubicBezTo>
                      <a:cubicBezTo>
                        <a:pt x="347283" y="37824"/>
                        <a:pt x="341561" y="30671"/>
                        <a:pt x="334587" y="24056"/>
                      </a:cubicBezTo>
                      <a:cubicBezTo>
                        <a:pt x="293819" y="-14031"/>
                        <a:pt x="228196" y="-5806"/>
                        <a:pt x="198156" y="41042"/>
                      </a:cubicBezTo>
                      <a:cubicBezTo>
                        <a:pt x="193864" y="47837"/>
                        <a:pt x="189036" y="52129"/>
                        <a:pt x="181526" y="55526"/>
                      </a:cubicBezTo>
                      <a:cubicBezTo>
                        <a:pt x="164897" y="63036"/>
                        <a:pt x="36333" y="131520"/>
                        <a:pt x="24532" y="137600"/>
                      </a:cubicBezTo>
                      <a:cubicBezTo>
                        <a:pt x="-3363" y="152083"/>
                        <a:pt x="-7118" y="182838"/>
                        <a:pt x="11478" y="202507"/>
                      </a:cubicBezTo>
                      <a:cubicBezTo>
                        <a:pt x="17200" y="208587"/>
                        <a:pt x="23637" y="213951"/>
                        <a:pt x="30611" y="218421"/>
                      </a:cubicBezTo>
                      <a:cubicBezTo>
                        <a:pt x="77459" y="248819"/>
                        <a:pt x="152023" y="303535"/>
                        <a:pt x="152023" y="303535"/>
                      </a:cubicBezTo>
                      <a:cubicBezTo>
                        <a:pt x="170261" y="314085"/>
                        <a:pt x="177235" y="330177"/>
                        <a:pt x="179917" y="352350"/>
                      </a:cubicBezTo>
                      <a:cubicBezTo>
                        <a:pt x="181169" y="361827"/>
                        <a:pt x="223725" y="618597"/>
                        <a:pt x="223725" y="618597"/>
                      </a:cubicBezTo>
                      <a:cubicBezTo>
                        <a:pt x="233202" y="656505"/>
                        <a:pt x="266818" y="675101"/>
                        <a:pt x="304547" y="664372"/>
                      </a:cubicBezTo>
                      <a:cubicBezTo>
                        <a:pt x="356402" y="649531"/>
                        <a:pt x="408078" y="634511"/>
                        <a:pt x="459754" y="619670"/>
                      </a:cubicBezTo>
                      <a:cubicBezTo>
                        <a:pt x="462257" y="619134"/>
                        <a:pt x="465297" y="618240"/>
                        <a:pt x="469946" y="616988"/>
                      </a:cubicBezTo>
                      <a:close/>
                      <a:moveTo>
                        <a:pt x="190288" y="126513"/>
                      </a:moveTo>
                      <a:cubicBezTo>
                        <a:pt x="210136" y="166030"/>
                        <a:pt x="236778" y="168891"/>
                        <a:pt x="280944" y="164063"/>
                      </a:cubicBezTo>
                      <a:cubicBezTo>
                        <a:pt x="326720" y="159057"/>
                        <a:pt x="346567" y="140818"/>
                        <a:pt x="358190" y="108632"/>
                      </a:cubicBezTo>
                      <a:cubicBezTo>
                        <a:pt x="366237" y="111493"/>
                        <a:pt x="417018" y="137421"/>
                        <a:pt x="447058" y="155302"/>
                      </a:cubicBezTo>
                      <a:cubicBezTo>
                        <a:pt x="443661" y="157269"/>
                        <a:pt x="383760" y="189097"/>
                        <a:pt x="353541" y="205011"/>
                      </a:cubicBezTo>
                      <a:cubicBezTo>
                        <a:pt x="348713" y="207514"/>
                        <a:pt x="341203" y="209481"/>
                        <a:pt x="341203" y="209481"/>
                      </a:cubicBezTo>
                      <a:lnTo>
                        <a:pt x="201195" y="223965"/>
                      </a:lnTo>
                      <a:cubicBezTo>
                        <a:pt x="199586" y="225216"/>
                        <a:pt x="195116" y="223786"/>
                        <a:pt x="192612" y="222534"/>
                      </a:cubicBezTo>
                      <a:cubicBezTo>
                        <a:pt x="165970" y="209123"/>
                        <a:pt x="139506" y="195534"/>
                        <a:pt x="113042" y="181944"/>
                      </a:cubicBezTo>
                      <a:cubicBezTo>
                        <a:pt x="110896" y="180871"/>
                        <a:pt x="108930" y="179441"/>
                        <a:pt x="106069" y="177474"/>
                      </a:cubicBezTo>
                      <a:cubicBezTo>
                        <a:pt x="143797" y="152620"/>
                        <a:pt x="183314" y="130805"/>
                        <a:pt x="190288" y="126513"/>
                      </a:cubicBezTo>
                      <a:close/>
                    </a:path>
                  </a:pathLst>
                </a:custGeom>
                <a:solidFill>
                  <a:schemeClr val="bg1"/>
                </a:solidFill>
                <a:ln w="17859" cap="flat">
                  <a:noFill/>
                  <a:prstDash val="solid"/>
                  <a:miter/>
                </a:ln>
              </p:spPr>
              <p:txBody>
                <a:bodyPr rtlCol="0" anchor="ctr"/>
                <a:lstStyle/>
                <a:p>
                  <a:endParaRPr lang="en-US"/>
                </a:p>
              </p:txBody>
            </p:sp>
            <p:sp>
              <p:nvSpPr>
                <p:cNvPr id="33" name="Freeform: Shape 91">
                  <a:extLst>
                    <a:ext uri="{FF2B5EF4-FFF2-40B4-BE49-F238E27FC236}">
                      <a16:creationId xmlns:a16="http://schemas.microsoft.com/office/drawing/2014/main" id="{E68EBF79-AEFC-E7BE-D096-988FE18D772B}"/>
                    </a:ext>
                  </a:extLst>
                </p:cNvPr>
                <p:cNvSpPr/>
                <p:nvPr/>
              </p:nvSpPr>
              <p:spPr>
                <a:xfrm>
                  <a:off x="4054433" y="4548065"/>
                  <a:ext cx="203306" cy="202065"/>
                </a:xfrm>
                <a:custGeom>
                  <a:avLst/>
                  <a:gdLst>
                    <a:gd name="connsiteX0" fmla="*/ 100670 w 203306"/>
                    <a:gd name="connsiteY0" fmla="*/ 2 h 202065"/>
                    <a:gd name="connsiteX1" fmla="*/ 203306 w 203306"/>
                    <a:gd name="connsiteY1" fmla="*/ 100851 h 202065"/>
                    <a:gd name="connsiteX2" fmla="*/ 102637 w 203306"/>
                    <a:gd name="connsiteY2" fmla="*/ 202057 h 202065"/>
                    <a:gd name="connsiteX3" fmla="*/ 0 w 203306"/>
                    <a:gd name="connsiteY3" fmla="*/ 100493 h 202065"/>
                    <a:gd name="connsiteX4" fmla="*/ 100670 w 203306"/>
                    <a:gd name="connsiteY4" fmla="*/ 2 h 202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306" h="202065">
                      <a:moveTo>
                        <a:pt x="100670" y="2"/>
                      </a:moveTo>
                      <a:cubicBezTo>
                        <a:pt x="157889" y="-355"/>
                        <a:pt x="203306" y="44347"/>
                        <a:pt x="203306" y="100851"/>
                      </a:cubicBezTo>
                      <a:cubicBezTo>
                        <a:pt x="203128" y="156103"/>
                        <a:pt x="158246" y="201163"/>
                        <a:pt x="102637" y="202057"/>
                      </a:cubicBezTo>
                      <a:cubicBezTo>
                        <a:pt x="46669" y="202772"/>
                        <a:pt x="0" y="156639"/>
                        <a:pt x="0" y="100493"/>
                      </a:cubicBezTo>
                      <a:cubicBezTo>
                        <a:pt x="179" y="44883"/>
                        <a:pt x="44702" y="360"/>
                        <a:pt x="100670" y="2"/>
                      </a:cubicBezTo>
                    </a:path>
                  </a:pathLst>
                </a:custGeom>
                <a:solidFill>
                  <a:schemeClr val="bg1"/>
                </a:solidFill>
                <a:ln w="17859" cap="flat">
                  <a:noFill/>
                  <a:prstDash val="solid"/>
                  <a:miter/>
                </a:ln>
              </p:spPr>
              <p:txBody>
                <a:bodyPr rtlCol="0" anchor="ctr"/>
                <a:lstStyle/>
                <a:p>
                  <a:endParaRPr lang="en-US"/>
                </a:p>
              </p:txBody>
            </p:sp>
            <p:sp>
              <p:nvSpPr>
                <p:cNvPr id="34" name="Freeform: Shape 92">
                  <a:extLst>
                    <a:ext uri="{FF2B5EF4-FFF2-40B4-BE49-F238E27FC236}">
                      <a16:creationId xmlns:a16="http://schemas.microsoft.com/office/drawing/2014/main" id="{3A7262C7-2CBB-1A9B-C71B-E9FBFDCF85E8}"/>
                    </a:ext>
                  </a:extLst>
                </p:cNvPr>
                <p:cNvSpPr/>
                <p:nvPr/>
              </p:nvSpPr>
              <p:spPr>
                <a:xfrm>
                  <a:off x="3979333" y="4920169"/>
                  <a:ext cx="324360" cy="407864"/>
                </a:xfrm>
                <a:custGeom>
                  <a:avLst/>
                  <a:gdLst>
                    <a:gd name="connsiteX0" fmla="*/ 0 w 324360"/>
                    <a:gd name="connsiteY0" fmla="*/ 0 h 407864"/>
                    <a:gd name="connsiteX1" fmla="*/ 99060 w 324360"/>
                    <a:gd name="connsiteY1" fmla="*/ 407865 h 407864"/>
                    <a:gd name="connsiteX2" fmla="*/ 324360 w 324360"/>
                    <a:gd name="connsiteY2" fmla="*/ 343672 h 407864"/>
                  </a:gdLst>
                  <a:ahLst/>
                  <a:cxnLst>
                    <a:cxn ang="0">
                      <a:pos x="connsiteX0" y="connsiteY0"/>
                    </a:cxn>
                    <a:cxn ang="0">
                      <a:pos x="connsiteX1" y="connsiteY1"/>
                    </a:cxn>
                    <a:cxn ang="0">
                      <a:pos x="connsiteX2" y="connsiteY2"/>
                    </a:cxn>
                  </a:cxnLst>
                  <a:rect l="l" t="t" r="r" b="b"/>
                  <a:pathLst>
                    <a:path w="324360" h="407864">
                      <a:moveTo>
                        <a:pt x="0" y="0"/>
                      </a:moveTo>
                      <a:lnTo>
                        <a:pt x="99060" y="407865"/>
                      </a:lnTo>
                      <a:lnTo>
                        <a:pt x="324360" y="343672"/>
                      </a:lnTo>
                    </a:path>
                  </a:pathLst>
                </a:custGeom>
                <a:noFill/>
                <a:ln w="9525" cap="rnd">
                  <a:solidFill>
                    <a:schemeClr val="bg1"/>
                  </a:solidFill>
                  <a:prstDash val="solid"/>
                  <a:round/>
                </a:ln>
              </p:spPr>
              <p:txBody>
                <a:bodyPr rtlCol="0" anchor="ctr"/>
                <a:lstStyle/>
                <a:p>
                  <a:endParaRPr lang="en-US"/>
                </a:p>
              </p:txBody>
            </p:sp>
          </p:grpSp>
        </p:grpSp>
      </p:grpSp>
      <p:grpSp>
        <p:nvGrpSpPr>
          <p:cNvPr id="39" name="Gruppieren 10">
            <a:extLst>
              <a:ext uri="{FF2B5EF4-FFF2-40B4-BE49-F238E27FC236}">
                <a16:creationId xmlns:a16="http://schemas.microsoft.com/office/drawing/2014/main" id="{1340CF23-4620-C9FE-CFD0-71358DF26A20}"/>
              </a:ext>
            </a:extLst>
          </p:cNvPr>
          <p:cNvGrpSpPr/>
          <p:nvPr/>
        </p:nvGrpSpPr>
        <p:grpSpPr>
          <a:xfrm>
            <a:off x="3677841" y="4251592"/>
            <a:ext cx="6796484" cy="1808559"/>
            <a:chOff x="3677841" y="4251592"/>
            <a:chExt cx="6796484" cy="1808559"/>
          </a:xfrm>
        </p:grpSpPr>
        <p:grpSp>
          <p:nvGrpSpPr>
            <p:cNvPr id="40" name="Group 9">
              <a:extLst>
                <a:ext uri="{FF2B5EF4-FFF2-40B4-BE49-F238E27FC236}">
                  <a16:creationId xmlns:a16="http://schemas.microsoft.com/office/drawing/2014/main" id="{FEDCB3C3-E3A3-17C8-DDCC-4771F6FE7318}"/>
                </a:ext>
              </a:extLst>
            </p:cNvPr>
            <p:cNvGrpSpPr/>
            <p:nvPr/>
          </p:nvGrpSpPr>
          <p:grpSpPr>
            <a:xfrm>
              <a:off x="3677841" y="4251592"/>
              <a:ext cx="6796484" cy="1808559"/>
              <a:chOff x="3677841" y="4251592"/>
              <a:chExt cx="6796484" cy="1808559"/>
            </a:xfrm>
          </p:grpSpPr>
          <p:sp>
            <p:nvSpPr>
              <p:cNvPr id="42" name="Freeform: Shape 54">
                <a:extLst>
                  <a:ext uri="{FF2B5EF4-FFF2-40B4-BE49-F238E27FC236}">
                    <a16:creationId xmlns:a16="http://schemas.microsoft.com/office/drawing/2014/main" id="{D970AAD0-AA2F-7923-92BB-359ABB9378DB}"/>
                  </a:ext>
                </a:extLst>
              </p:cNvPr>
              <p:cNvSpPr/>
              <p:nvPr/>
            </p:nvSpPr>
            <p:spPr bwMode="auto">
              <a:xfrm>
                <a:off x="3677841" y="4251592"/>
                <a:ext cx="967978" cy="1808559"/>
              </a:xfrm>
              <a:custGeom>
                <a:avLst/>
                <a:gdLst>
                  <a:gd name="connsiteX0" fmla="*/ 395287 w 967978"/>
                  <a:gd name="connsiteY0" fmla="*/ 550069 h 1808559"/>
                  <a:gd name="connsiteX1" fmla="*/ 967978 w 967978"/>
                  <a:gd name="connsiteY1" fmla="*/ 0 h 1808559"/>
                  <a:gd name="connsiteX2" fmla="*/ 561975 w 967978"/>
                  <a:gd name="connsiteY2" fmla="*/ 1253728 h 1808559"/>
                  <a:gd name="connsiteX3" fmla="*/ 0 w 967978"/>
                  <a:gd name="connsiteY3" fmla="*/ 1808559 h 1808559"/>
                  <a:gd name="connsiteX4" fmla="*/ 395287 w 967978"/>
                  <a:gd name="connsiteY4" fmla="*/ 550069 h 1808559"/>
                  <a:gd name="connsiteX0" fmla="*/ 395287 w 967978"/>
                  <a:gd name="connsiteY0" fmla="*/ 550069 h 1808559"/>
                  <a:gd name="connsiteX1" fmla="*/ 967978 w 967978"/>
                  <a:gd name="connsiteY1" fmla="*/ 0 h 1808559"/>
                  <a:gd name="connsiteX2" fmla="*/ 581025 w 967978"/>
                  <a:gd name="connsiteY2" fmla="*/ 1134666 h 1808559"/>
                  <a:gd name="connsiteX3" fmla="*/ 0 w 967978"/>
                  <a:gd name="connsiteY3" fmla="*/ 1808559 h 1808559"/>
                  <a:gd name="connsiteX4" fmla="*/ 395287 w 967978"/>
                  <a:gd name="connsiteY4" fmla="*/ 550069 h 1808559"/>
                  <a:gd name="connsiteX0" fmla="*/ 395287 w 967978"/>
                  <a:gd name="connsiteY0" fmla="*/ 550069 h 1808559"/>
                  <a:gd name="connsiteX1" fmla="*/ 967978 w 967978"/>
                  <a:gd name="connsiteY1" fmla="*/ 0 h 1808559"/>
                  <a:gd name="connsiteX2" fmla="*/ 565547 w 967978"/>
                  <a:gd name="connsiteY2" fmla="*/ 1256110 h 1808559"/>
                  <a:gd name="connsiteX3" fmla="*/ 0 w 967978"/>
                  <a:gd name="connsiteY3" fmla="*/ 1808559 h 1808559"/>
                  <a:gd name="connsiteX4" fmla="*/ 395287 w 967978"/>
                  <a:gd name="connsiteY4" fmla="*/ 550069 h 1808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7978" h="1808559">
                    <a:moveTo>
                      <a:pt x="395287" y="550069"/>
                    </a:moveTo>
                    <a:lnTo>
                      <a:pt x="967978" y="0"/>
                    </a:lnTo>
                    <a:lnTo>
                      <a:pt x="565547" y="1256110"/>
                    </a:lnTo>
                    <a:lnTo>
                      <a:pt x="0" y="1808559"/>
                    </a:lnTo>
                    <a:lnTo>
                      <a:pt x="395287" y="550069"/>
                    </a:lnTo>
                    <a:close/>
                  </a:path>
                </a:pathLst>
              </a:custGeom>
              <a:gradFill flip="none" rotWithShape="1">
                <a:gsLst>
                  <a:gs pos="0">
                    <a:schemeClr val="accent5"/>
                  </a:gs>
                  <a:gs pos="61000">
                    <a:schemeClr val="bg2"/>
                  </a:gs>
                </a:gsLst>
                <a:lin ang="2700000" scaled="1"/>
                <a:tileRect/>
              </a:gra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dirty="0"/>
              </a:p>
            </p:txBody>
          </p:sp>
          <p:sp>
            <p:nvSpPr>
              <p:cNvPr id="43" name="Parallelogram 11">
                <a:extLst>
                  <a:ext uri="{FF2B5EF4-FFF2-40B4-BE49-F238E27FC236}">
                    <a16:creationId xmlns:a16="http://schemas.microsoft.com/office/drawing/2014/main" id="{F4B02B80-580C-9DA5-39AB-52433AC58F27}"/>
                  </a:ext>
                </a:extLst>
              </p:cNvPr>
              <p:cNvSpPr/>
              <p:nvPr/>
            </p:nvSpPr>
            <p:spPr bwMode="auto">
              <a:xfrm>
                <a:off x="4239584" y="4257791"/>
                <a:ext cx="6234741" cy="1260000"/>
              </a:xfrm>
              <a:prstGeom prst="parallelogram">
                <a:avLst>
                  <a:gd name="adj" fmla="val 31844"/>
                </a:avLst>
              </a:prstGeom>
              <a:solidFill>
                <a:schemeClr val="accent1"/>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sym typeface="+mn-lt"/>
                </a:endParaRPr>
              </a:p>
            </p:txBody>
          </p:sp>
          <p:sp>
            <p:nvSpPr>
              <p:cNvPr id="44" name="Inhaltsplatzhalter 6">
                <a:extLst>
                  <a:ext uri="{FF2B5EF4-FFF2-40B4-BE49-F238E27FC236}">
                    <a16:creationId xmlns:a16="http://schemas.microsoft.com/office/drawing/2014/main" id="{EB2A5FCD-15E0-C35F-081C-519300B83D46}"/>
                  </a:ext>
                </a:extLst>
              </p:cNvPr>
              <p:cNvSpPr txBox="1">
                <a:spLocks/>
              </p:cNvSpPr>
              <p:nvPr/>
            </p:nvSpPr>
            <p:spPr>
              <a:xfrm>
                <a:off x="4596607" y="4440620"/>
                <a:ext cx="5080478" cy="820522"/>
              </a:xfrm>
              <a:prstGeom prst="rect">
                <a:avLst/>
              </a:prstGeom>
              <a:noFill/>
            </p:spPr>
            <p:txBody>
              <a:bodyPr vert="horz" wrap="square" lIns="90000" tIns="90000" rIns="90000" bIns="90000" rtlCol="0">
                <a:spAutoFit/>
              </a:bodyPr>
              <a:lstStyle>
                <a:lvl1pPr marL="287338" indent="-287338" algn="l" defTabSz="914400" rtl="0" eaLnBrk="1" latinLnBrk="0" hangingPunct="1">
                  <a:lnSpc>
                    <a:spcPct val="120000"/>
                  </a:lnSpc>
                  <a:spcBef>
                    <a:spcPts val="200"/>
                  </a:spcBef>
                  <a:buClr>
                    <a:schemeClr val="tx2"/>
                  </a:buClr>
                  <a:buSzPct val="100000"/>
                  <a:buFont typeface="Arial" panose="020B0604020202020204" pitchFamily="34" charset="0"/>
                  <a:buChar char="•"/>
                  <a:tabLst/>
                  <a:defRPr sz="2000" b="0" kern="1200">
                    <a:solidFill>
                      <a:schemeClr val="tx1"/>
                    </a:solidFill>
                    <a:latin typeface="+mn-lt"/>
                    <a:ea typeface="+mn-ea"/>
                    <a:cs typeface="+mn-cs"/>
                  </a:defRPr>
                </a:lvl1pPr>
                <a:lvl2pPr marL="519113" marR="0" indent="-284163"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defRPr>
                </a:lvl2pPr>
                <a:lvl3pPr marL="692150" marR="0" indent="-22860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defRPr>
                </a:lvl4pPr>
                <a:lvl5pPr marL="1079500" marR="0" indent="-157163"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chemeClr val="bg1"/>
                  </a:buClr>
                  <a:buNone/>
                </a:pPr>
                <a:r>
                  <a:rPr lang="pl-PL" sz="1800" dirty="0">
                    <a:solidFill>
                      <a:schemeClr val="bg1"/>
                    </a:solidFill>
                    <a:sym typeface="+mn-lt"/>
                  </a:rPr>
                  <a:t>Pełna odpowiedzialność za jakość po stronie producenta</a:t>
                </a:r>
                <a:endParaRPr lang="en-US" dirty="0">
                  <a:solidFill>
                    <a:schemeClr val="bg1"/>
                  </a:solidFill>
                  <a:sym typeface="+mn-lt"/>
                </a:endParaRPr>
              </a:p>
            </p:txBody>
          </p:sp>
        </p:grpSp>
        <p:pic>
          <p:nvPicPr>
            <p:cNvPr id="41" name="Grafik 60">
              <a:extLst>
                <a:ext uri="{FF2B5EF4-FFF2-40B4-BE49-F238E27FC236}">
                  <a16:creationId xmlns:a16="http://schemas.microsoft.com/office/drawing/2014/main" id="{1402AAEC-8D12-77C0-9274-18F191173F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89679" y="4440620"/>
              <a:ext cx="944429" cy="944429"/>
            </a:xfrm>
            <a:prstGeom prst="rect">
              <a:avLst/>
            </a:prstGeom>
          </p:spPr>
        </p:pic>
      </p:grpSp>
    </p:spTree>
    <p:extLst>
      <p:ext uri="{BB962C8B-B14F-4D97-AF65-F5344CB8AC3E}">
        <p14:creationId xmlns:p14="http://schemas.microsoft.com/office/powerpoint/2010/main" val="20572036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0">
            <a:extLst>
              <a:ext uri="{FF2B5EF4-FFF2-40B4-BE49-F238E27FC236}">
                <a16:creationId xmlns:a16="http://schemas.microsoft.com/office/drawing/2014/main" id="{4C770284-9B62-7D25-7470-7ED2944D7D47}"/>
              </a:ext>
            </a:extLst>
          </p:cNvPr>
          <p:cNvGrpSpPr/>
          <p:nvPr/>
        </p:nvGrpSpPr>
        <p:grpSpPr>
          <a:xfrm>
            <a:off x="0" y="1691925"/>
            <a:ext cx="12191999" cy="684000"/>
            <a:chOff x="0" y="2057681"/>
            <a:chExt cx="12191999" cy="684000"/>
          </a:xfrm>
        </p:grpSpPr>
        <p:sp>
          <p:nvSpPr>
            <p:cNvPr id="3" name="Parallelogram 35">
              <a:extLst>
                <a:ext uri="{FF2B5EF4-FFF2-40B4-BE49-F238E27FC236}">
                  <a16:creationId xmlns:a16="http://schemas.microsoft.com/office/drawing/2014/main" id="{9B2E8A80-83BA-DE59-7791-DF821EC162F5}"/>
                </a:ext>
              </a:extLst>
            </p:cNvPr>
            <p:cNvSpPr/>
            <p:nvPr/>
          </p:nvSpPr>
          <p:spPr bwMode="auto">
            <a:xfrm>
              <a:off x="0" y="2179526"/>
              <a:ext cx="12191999" cy="440310"/>
            </a:xfrm>
            <a:prstGeom prst="parallelogram">
              <a:avLst>
                <a:gd name="adj" fmla="val 0"/>
              </a:avLst>
            </a:prstGeom>
            <a:solidFill>
              <a:schemeClr val="accent5"/>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r>
                <a:rPr lang="pl-PL" b="1" dirty="0">
                  <a:solidFill>
                    <a:schemeClr val="bg1"/>
                  </a:solidFill>
                </a:rPr>
                <a:t>Niewielki, elastyczny analizator o dużej wydajności</a:t>
              </a:r>
              <a:r>
                <a:rPr lang="en-US" b="1" dirty="0">
                  <a:solidFill>
                    <a:schemeClr val="bg1"/>
                  </a:solidFill>
                </a:rPr>
                <a:t> </a:t>
              </a:r>
            </a:p>
          </p:txBody>
        </p:sp>
        <p:pic>
          <p:nvPicPr>
            <p:cNvPr id="4" name="Graphic 6">
              <a:extLst>
                <a:ext uri="{FF2B5EF4-FFF2-40B4-BE49-F238E27FC236}">
                  <a16:creationId xmlns:a16="http://schemas.microsoft.com/office/drawing/2014/main" id="{BDF7E7F2-8FA9-F044-C3F0-38A78F3775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3695" y="2057681"/>
              <a:ext cx="684000" cy="684000"/>
            </a:xfrm>
            <a:prstGeom prst="rect">
              <a:avLst/>
            </a:prstGeom>
          </p:spPr>
        </p:pic>
      </p:grpSp>
      <p:grpSp>
        <p:nvGrpSpPr>
          <p:cNvPr id="5" name="Group 41">
            <a:extLst>
              <a:ext uri="{FF2B5EF4-FFF2-40B4-BE49-F238E27FC236}">
                <a16:creationId xmlns:a16="http://schemas.microsoft.com/office/drawing/2014/main" id="{47D7AEAD-801C-C385-C814-C9DACC734BD3}"/>
              </a:ext>
            </a:extLst>
          </p:cNvPr>
          <p:cNvGrpSpPr/>
          <p:nvPr/>
        </p:nvGrpSpPr>
        <p:grpSpPr>
          <a:xfrm>
            <a:off x="0" y="2394097"/>
            <a:ext cx="12191999" cy="684000"/>
            <a:chOff x="0" y="2057681"/>
            <a:chExt cx="12191999" cy="684000"/>
          </a:xfrm>
        </p:grpSpPr>
        <p:sp>
          <p:nvSpPr>
            <p:cNvPr id="6" name="Parallelogram 42">
              <a:extLst>
                <a:ext uri="{FF2B5EF4-FFF2-40B4-BE49-F238E27FC236}">
                  <a16:creationId xmlns:a16="http://schemas.microsoft.com/office/drawing/2014/main" id="{53E2BF39-CF99-FFC3-8F75-E54838F761C6}"/>
                </a:ext>
              </a:extLst>
            </p:cNvPr>
            <p:cNvSpPr/>
            <p:nvPr/>
          </p:nvSpPr>
          <p:spPr bwMode="auto">
            <a:xfrm>
              <a:off x="0" y="2179526"/>
              <a:ext cx="12191999" cy="440310"/>
            </a:xfrm>
            <a:prstGeom prst="parallelogram">
              <a:avLst>
                <a:gd name="adj" fmla="val 0"/>
              </a:avLst>
            </a:prstGeom>
            <a:solidFill>
              <a:schemeClr val="accent5"/>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r>
                <a:rPr lang="pl-PL" b="1" dirty="0">
                  <a:solidFill>
                    <a:schemeClr val="bg1"/>
                  </a:solidFill>
                </a:rPr>
                <a:t>Automatyzacja codziennych czynności i łatwość obsługi</a:t>
              </a:r>
              <a:endParaRPr lang="en-US" b="1" dirty="0">
                <a:solidFill>
                  <a:schemeClr val="bg1"/>
                </a:solidFill>
              </a:endParaRPr>
            </a:p>
          </p:txBody>
        </p:sp>
        <p:pic>
          <p:nvPicPr>
            <p:cNvPr id="7" name="Graphic 6">
              <a:extLst>
                <a:ext uri="{FF2B5EF4-FFF2-40B4-BE49-F238E27FC236}">
                  <a16:creationId xmlns:a16="http://schemas.microsoft.com/office/drawing/2014/main" id="{E56FC2AC-7452-4CB2-9ED8-117D63A875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3695" y="2057681"/>
              <a:ext cx="684000" cy="684000"/>
            </a:xfrm>
            <a:prstGeom prst="rect">
              <a:avLst/>
            </a:prstGeom>
          </p:spPr>
        </p:pic>
      </p:grpSp>
      <p:grpSp>
        <p:nvGrpSpPr>
          <p:cNvPr id="8" name="Group 44">
            <a:extLst>
              <a:ext uri="{FF2B5EF4-FFF2-40B4-BE49-F238E27FC236}">
                <a16:creationId xmlns:a16="http://schemas.microsoft.com/office/drawing/2014/main" id="{F1518A13-0CEE-464A-DDF2-715BC3BD81AB}"/>
              </a:ext>
            </a:extLst>
          </p:cNvPr>
          <p:cNvGrpSpPr/>
          <p:nvPr/>
        </p:nvGrpSpPr>
        <p:grpSpPr>
          <a:xfrm>
            <a:off x="0" y="3096269"/>
            <a:ext cx="12191999" cy="684000"/>
            <a:chOff x="0" y="2057681"/>
            <a:chExt cx="12191999" cy="684000"/>
          </a:xfrm>
        </p:grpSpPr>
        <p:sp>
          <p:nvSpPr>
            <p:cNvPr id="9" name="Parallelogram 45">
              <a:extLst>
                <a:ext uri="{FF2B5EF4-FFF2-40B4-BE49-F238E27FC236}">
                  <a16:creationId xmlns:a16="http://schemas.microsoft.com/office/drawing/2014/main" id="{0912DA7C-469D-2950-ED2C-EF3D5B08AB17}"/>
                </a:ext>
              </a:extLst>
            </p:cNvPr>
            <p:cNvSpPr/>
            <p:nvPr/>
          </p:nvSpPr>
          <p:spPr bwMode="auto">
            <a:xfrm>
              <a:off x="0" y="2179526"/>
              <a:ext cx="12191999" cy="440310"/>
            </a:xfrm>
            <a:prstGeom prst="parallelogram">
              <a:avLst>
                <a:gd name="adj" fmla="val 0"/>
              </a:avLst>
            </a:prstGeom>
            <a:solidFill>
              <a:schemeClr val="accent5"/>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r>
                <a:rPr lang="pl-PL" b="1" dirty="0">
                  <a:solidFill>
                    <a:schemeClr val="bg1"/>
                  </a:solidFill>
                </a:rPr>
                <a:t>Niskie koszty utrzymania i wysoka niezawodność</a:t>
              </a:r>
              <a:endParaRPr lang="en-US" b="1" dirty="0">
                <a:solidFill>
                  <a:schemeClr val="bg1"/>
                </a:solidFill>
              </a:endParaRPr>
            </a:p>
          </p:txBody>
        </p:sp>
        <p:pic>
          <p:nvPicPr>
            <p:cNvPr id="10" name="Graphic 6">
              <a:extLst>
                <a:ext uri="{FF2B5EF4-FFF2-40B4-BE49-F238E27FC236}">
                  <a16:creationId xmlns:a16="http://schemas.microsoft.com/office/drawing/2014/main" id="{B81CE28C-43A3-1E57-A697-032E9F7573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3695" y="2057681"/>
              <a:ext cx="684000" cy="684000"/>
            </a:xfrm>
            <a:prstGeom prst="rect">
              <a:avLst/>
            </a:prstGeom>
          </p:spPr>
        </p:pic>
      </p:grpSp>
      <p:grpSp>
        <p:nvGrpSpPr>
          <p:cNvPr id="11" name="Group 47">
            <a:extLst>
              <a:ext uri="{FF2B5EF4-FFF2-40B4-BE49-F238E27FC236}">
                <a16:creationId xmlns:a16="http://schemas.microsoft.com/office/drawing/2014/main" id="{6DDB2530-66AD-5807-F146-9929037BE343}"/>
              </a:ext>
            </a:extLst>
          </p:cNvPr>
          <p:cNvGrpSpPr/>
          <p:nvPr/>
        </p:nvGrpSpPr>
        <p:grpSpPr>
          <a:xfrm>
            <a:off x="0" y="3798441"/>
            <a:ext cx="12191999" cy="684000"/>
            <a:chOff x="0" y="2057681"/>
            <a:chExt cx="12191999" cy="684000"/>
          </a:xfrm>
        </p:grpSpPr>
        <p:sp>
          <p:nvSpPr>
            <p:cNvPr id="12" name="Parallelogram 48">
              <a:extLst>
                <a:ext uri="{FF2B5EF4-FFF2-40B4-BE49-F238E27FC236}">
                  <a16:creationId xmlns:a16="http://schemas.microsoft.com/office/drawing/2014/main" id="{9F14F406-8B8C-67E2-E539-5C3632F37E8B}"/>
                </a:ext>
              </a:extLst>
            </p:cNvPr>
            <p:cNvSpPr/>
            <p:nvPr/>
          </p:nvSpPr>
          <p:spPr bwMode="auto">
            <a:xfrm>
              <a:off x="0" y="2179526"/>
              <a:ext cx="12191999" cy="440310"/>
            </a:xfrm>
            <a:prstGeom prst="parallelogram">
              <a:avLst>
                <a:gd name="adj" fmla="val 0"/>
              </a:avLst>
            </a:prstGeom>
            <a:solidFill>
              <a:schemeClr val="accent5"/>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r>
                <a:rPr lang="pl-PL" b="1" dirty="0">
                  <a:solidFill>
                    <a:schemeClr val="bg1"/>
                  </a:solidFill>
                </a:rPr>
                <a:t>Wiarygodność wyników dzięki sprawdzonym rozwiązaniom systemowym</a:t>
              </a:r>
              <a:endParaRPr lang="en-US" b="1" dirty="0">
                <a:solidFill>
                  <a:schemeClr val="bg1"/>
                </a:solidFill>
              </a:endParaRPr>
            </a:p>
          </p:txBody>
        </p:sp>
        <p:pic>
          <p:nvPicPr>
            <p:cNvPr id="13" name="Graphic 6">
              <a:extLst>
                <a:ext uri="{FF2B5EF4-FFF2-40B4-BE49-F238E27FC236}">
                  <a16:creationId xmlns:a16="http://schemas.microsoft.com/office/drawing/2014/main" id="{D1AB078A-F716-78E0-682F-CC1A3EE674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3695" y="2057681"/>
              <a:ext cx="684000" cy="684000"/>
            </a:xfrm>
            <a:prstGeom prst="rect">
              <a:avLst/>
            </a:prstGeom>
          </p:spPr>
        </p:pic>
      </p:grpSp>
      <p:grpSp>
        <p:nvGrpSpPr>
          <p:cNvPr id="14" name="Group 50">
            <a:extLst>
              <a:ext uri="{FF2B5EF4-FFF2-40B4-BE49-F238E27FC236}">
                <a16:creationId xmlns:a16="http://schemas.microsoft.com/office/drawing/2014/main" id="{62E860CB-E90F-85A6-91CB-BEF4A536C40F}"/>
              </a:ext>
            </a:extLst>
          </p:cNvPr>
          <p:cNvGrpSpPr/>
          <p:nvPr/>
        </p:nvGrpSpPr>
        <p:grpSpPr>
          <a:xfrm>
            <a:off x="0" y="4500613"/>
            <a:ext cx="12191999" cy="684000"/>
            <a:chOff x="0" y="2057681"/>
            <a:chExt cx="12191999" cy="684000"/>
          </a:xfrm>
        </p:grpSpPr>
        <p:sp>
          <p:nvSpPr>
            <p:cNvPr id="15" name="Parallelogram 51">
              <a:extLst>
                <a:ext uri="{FF2B5EF4-FFF2-40B4-BE49-F238E27FC236}">
                  <a16:creationId xmlns:a16="http://schemas.microsoft.com/office/drawing/2014/main" id="{F4DE90B4-9ADD-F387-5B90-E7262D7B7804}"/>
                </a:ext>
              </a:extLst>
            </p:cNvPr>
            <p:cNvSpPr/>
            <p:nvPr/>
          </p:nvSpPr>
          <p:spPr bwMode="auto">
            <a:xfrm>
              <a:off x="0" y="2179526"/>
              <a:ext cx="12191999" cy="440310"/>
            </a:xfrm>
            <a:prstGeom prst="parallelogram">
              <a:avLst>
                <a:gd name="adj" fmla="val 0"/>
              </a:avLst>
            </a:prstGeom>
            <a:solidFill>
              <a:schemeClr val="accent5"/>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r>
                <a:rPr lang="pl-PL" b="1" dirty="0">
                  <a:solidFill>
                    <a:schemeClr val="bg1"/>
                  </a:solidFill>
                </a:rPr>
                <a:t>Duża oszczędność kosztów</a:t>
              </a:r>
              <a:endParaRPr lang="en-US" b="1" dirty="0">
                <a:solidFill>
                  <a:schemeClr val="bg1"/>
                </a:solidFill>
              </a:endParaRPr>
            </a:p>
          </p:txBody>
        </p:sp>
        <p:pic>
          <p:nvPicPr>
            <p:cNvPr id="16" name="Graphic 6">
              <a:extLst>
                <a:ext uri="{FF2B5EF4-FFF2-40B4-BE49-F238E27FC236}">
                  <a16:creationId xmlns:a16="http://schemas.microsoft.com/office/drawing/2014/main" id="{9BCCADED-7018-5AC5-4B1B-74498FD96B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3695" y="2057681"/>
              <a:ext cx="684000" cy="684000"/>
            </a:xfrm>
            <a:prstGeom prst="rect">
              <a:avLst/>
            </a:prstGeom>
          </p:spPr>
        </p:pic>
      </p:grpSp>
      <p:grpSp>
        <p:nvGrpSpPr>
          <p:cNvPr id="17" name="Group 53">
            <a:extLst>
              <a:ext uri="{FF2B5EF4-FFF2-40B4-BE49-F238E27FC236}">
                <a16:creationId xmlns:a16="http://schemas.microsoft.com/office/drawing/2014/main" id="{94F6DD31-8722-3F2A-8032-2132152671DC}"/>
              </a:ext>
            </a:extLst>
          </p:cNvPr>
          <p:cNvGrpSpPr/>
          <p:nvPr/>
        </p:nvGrpSpPr>
        <p:grpSpPr>
          <a:xfrm>
            <a:off x="0" y="5202787"/>
            <a:ext cx="12191999" cy="684000"/>
            <a:chOff x="0" y="2057681"/>
            <a:chExt cx="12191999" cy="684000"/>
          </a:xfrm>
        </p:grpSpPr>
        <p:sp>
          <p:nvSpPr>
            <p:cNvPr id="18" name="Parallelogram 54">
              <a:extLst>
                <a:ext uri="{FF2B5EF4-FFF2-40B4-BE49-F238E27FC236}">
                  <a16:creationId xmlns:a16="http://schemas.microsoft.com/office/drawing/2014/main" id="{CAC22ED7-1E7D-5EF1-00DD-8167063A5307}"/>
                </a:ext>
              </a:extLst>
            </p:cNvPr>
            <p:cNvSpPr/>
            <p:nvPr/>
          </p:nvSpPr>
          <p:spPr bwMode="auto">
            <a:xfrm>
              <a:off x="0" y="2179526"/>
              <a:ext cx="12191999" cy="440310"/>
            </a:xfrm>
            <a:prstGeom prst="parallelogram">
              <a:avLst>
                <a:gd name="adj" fmla="val 0"/>
              </a:avLst>
            </a:prstGeom>
            <a:solidFill>
              <a:schemeClr val="accent5"/>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r>
                <a:rPr lang="pl-PL" b="1" dirty="0">
                  <a:solidFill>
                    <a:schemeClr val="bg1"/>
                  </a:solidFill>
                </a:rPr>
                <a:t>Szerokie menu testów </a:t>
              </a:r>
              <a:endParaRPr lang="en-US" b="1" dirty="0">
                <a:solidFill>
                  <a:schemeClr val="bg1"/>
                </a:solidFill>
              </a:endParaRPr>
            </a:p>
          </p:txBody>
        </p:sp>
        <p:pic>
          <p:nvPicPr>
            <p:cNvPr id="19" name="Graphic 6">
              <a:extLst>
                <a:ext uri="{FF2B5EF4-FFF2-40B4-BE49-F238E27FC236}">
                  <a16:creationId xmlns:a16="http://schemas.microsoft.com/office/drawing/2014/main" id="{725384E3-44AF-9D57-2792-F579B7A054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3695" y="2057681"/>
              <a:ext cx="684000" cy="684000"/>
            </a:xfrm>
            <a:prstGeom prst="rect">
              <a:avLst/>
            </a:prstGeom>
          </p:spPr>
        </p:pic>
      </p:grpSp>
      <p:sp>
        <p:nvSpPr>
          <p:cNvPr id="20" name="Titel 1">
            <a:extLst>
              <a:ext uri="{FF2B5EF4-FFF2-40B4-BE49-F238E27FC236}">
                <a16:creationId xmlns:a16="http://schemas.microsoft.com/office/drawing/2014/main" id="{70050CFB-DABD-CD7B-7898-A98D54520F82}"/>
              </a:ext>
            </a:extLst>
          </p:cNvPr>
          <p:cNvSpPr txBox="1">
            <a:spLocks/>
          </p:cNvSpPr>
          <p:nvPr/>
        </p:nvSpPr>
        <p:spPr>
          <a:xfrm>
            <a:off x="295274" y="434010"/>
            <a:ext cx="9753600" cy="381001"/>
          </a:xfrm>
          <a:prstGeom prst="rect">
            <a:avLst/>
          </a:prstGeom>
        </p:spPr>
        <p:txBody>
          <a:bodyPr/>
          <a:lstStyle>
            <a:lvl1pPr lvl="0" algn="l" rtl="0">
              <a:lnSpc>
                <a:spcPct val="90000"/>
              </a:lnSpc>
              <a:spcBef>
                <a:spcPct val="0"/>
              </a:spcBef>
              <a:buNone/>
              <a:defRPr lang="en-US" sz="4400" dirty="0">
                <a:solidFill>
                  <a:schemeClr val="tx1"/>
                </a:solidFill>
                <a:latin typeface="+mj-lt"/>
              </a:defRPr>
            </a:lvl1pPr>
          </a:lstStyle>
          <a:p>
            <a:r>
              <a:rPr lang="pl-PL" sz="4000" dirty="0">
                <a:solidFill>
                  <a:srgbClr val="C00000"/>
                </a:solidFill>
                <a:sym typeface="+mj-lt"/>
              </a:rPr>
              <a:t>Główne zalety</a:t>
            </a:r>
          </a:p>
        </p:txBody>
      </p:sp>
      <p:pic>
        <p:nvPicPr>
          <p:cNvPr id="22" name="Graphic 20">
            <a:extLst>
              <a:ext uri="{FF2B5EF4-FFF2-40B4-BE49-F238E27FC236}">
                <a16:creationId xmlns:a16="http://schemas.microsoft.com/office/drawing/2014/main" id="{F773AAAA-EF5C-F1F0-5004-25446651073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86800" y="815011"/>
            <a:ext cx="3975051" cy="3975051"/>
          </a:xfrm>
          <a:prstGeom prst="rect">
            <a:avLst/>
          </a:prstGeom>
          <a:effectLst>
            <a:glow rad="127000">
              <a:schemeClr val="bg1"/>
            </a:glow>
            <a:softEdge rad="0"/>
          </a:effectLst>
        </p:spPr>
      </p:pic>
    </p:spTree>
    <p:extLst>
      <p:ext uri="{BB962C8B-B14F-4D97-AF65-F5344CB8AC3E}">
        <p14:creationId xmlns:p14="http://schemas.microsoft.com/office/powerpoint/2010/main" val="14328593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93775" y="4170105"/>
            <a:ext cx="4399280" cy="1311275"/>
          </a:xfrm>
          <a:prstGeom prst="rect">
            <a:avLst/>
          </a:prstGeom>
        </p:spPr>
        <p:txBody>
          <a:bodyPr vert="horz" wrap="square" lIns="0" tIns="106045" rIns="0" bIns="0" rtlCol="0">
            <a:spAutoFit/>
          </a:bodyPr>
          <a:lstStyle/>
          <a:p>
            <a:pPr marL="12700">
              <a:lnSpc>
                <a:spcPct val="100000"/>
              </a:lnSpc>
              <a:spcBef>
                <a:spcPts val="835"/>
              </a:spcBef>
            </a:pPr>
            <a:r>
              <a:rPr lang="pl-PL" sz="2200" b="1" spc="-5" dirty="0">
                <a:solidFill>
                  <a:srgbClr val="C00000"/>
                </a:solidFill>
                <a:latin typeface="Verdana"/>
                <a:cs typeface="Verdana"/>
              </a:rPr>
              <a:t>Bartosz Wiza</a:t>
            </a:r>
            <a:endParaRPr sz="2200" dirty="0">
              <a:solidFill>
                <a:srgbClr val="C00000"/>
              </a:solidFill>
              <a:latin typeface="Verdana"/>
              <a:cs typeface="Verdana"/>
            </a:endParaRPr>
          </a:p>
          <a:p>
            <a:pPr marL="12700">
              <a:lnSpc>
                <a:spcPct val="100000"/>
              </a:lnSpc>
              <a:spcBef>
                <a:spcPts val="735"/>
              </a:spcBef>
            </a:pPr>
            <a:r>
              <a:rPr lang="pl-PL" sz="2200" b="1" spc="-110" dirty="0">
                <a:solidFill>
                  <a:srgbClr val="D2342D"/>
                </a:solidFill>
                <a:latin typeface="Verdana"/>
                <a:cs typeface="Verdana"/>
              </a:rPr>
              <a:t>t</a:t>
            </a:r>
            <a:r>
              <a:rPr sz="2200" b="1" spc="-110" dirty="0">
                <a:solidFill>
                  <a:srgbClr val="D2342D"/>
                </a:solidFill>
                <a:latin typeface="Verdana"/>
                <a:cs typeface="Verdana"/>
              </a:rPr>
              <a:t>:</a:t>
            </a:r>
            <a:r>
              <a:rPr sz="2200" b="1" spc="-100" dirty="0">
                <a:solidFill>
                  <a:srgbClr val="D2342D"/>
                </a:solidFill>
                <a:latin typeface="Verdana"/>
                <a:cs typeface="Verdana"/>
              </a:rPr>
              <a:t> </a:t>
            </a:r>
            <a:r>
              <a:rPr sz="2200" b="1" spc="75" dirty="0">
                <a:solidFill>
                  <a:srgbClr val="D2342D"/>
                </a:solidFill>
                <a:latin typeface="Cambria"/>
                <a:cs typeface="Cambria"/>
              </a:rPr>
              <a:t>+48</a:t>
            </a:r>
            <a:r>
              <a:rPr sz="2200" b="1" spc="165" dirty="0">
                <a:solidFill>
                  <a:srgbClr val="D2342D"/>
                </a:solidFill>
                <a:latin typeface="Cambria"/>
                <a:cs typeface="Cambria"/>
              </a:rPr>
              <a:t> </a:t>
            </a:r>
            <a:r>
              <a:rPr lang="pl-PL" sz="2200" b="1" spc="195" dirty="0">
                <a:solidFill>
                  <a:srgbClr val="D2342D"/>
                </a:solidFill>
                <a:latin typeface="Cambria"/>
                <a:cs typeface="Cambria"/>
              </a:rPr>
              <a:t>517 368 258</a:t>
            </a:r>
            <a:endParaRPr sz="2200" dirty="0">
              <a:latin typeface="Cambria"/>
              <a:cs typeface="Cambria"/>
            </a:endParaRPr>
          </a:p>
          <a:p>
            <a:pPr marL="12700">
              <a:lnSpc>
                <a:spcPct val="100000"/>
              </a:lnSpc>
              <a:spcBef>
                <a:spcPts val="730"/>
              </a:spcBef>
            </a:pPr>
            <a:r>
              <a:rPr sz="2200" b="1" spc="-145" dirty="0">
                <a:solidFill>
                  <a:srgbClr val="D2342D"/>
                </a:solidFill>
                <a:latin typeface="Verdana"/>
                <a:cs typeface="Verdana"/>
              </a:rPr>
              <a:t>e:</a:t>
            </a:r>
            <a:r>
              <a:rPr sz="2200" b="1" spc="-105" dirty="0">
                <a:solidFill>
                  <a:srgbClr val="D2342D"/>
                </a:solidFill>
                <a:latin typeface="Verdana"/>
                <a:cs typeface="Verdana"/>
              </a:rPr>
              <a:t> </a:t>
            </a:r>
            <a:r>
              <a:rPr lang="pl-PL" sz="2200" b="1" u="sng" spc="275" dirty="0" err="1">
                <a:solidFill>
                  <a:srgbClr val="D2342D"/>
                </a:solidFill>
                <a:latin typeface="Cambria"/>
                <a:cs typeface="Verdana"/>
              </a:rPr>
              <a:t>b.wiza</a:t>
            </a:r>
            <a:r>
              <a:rPr sz="2200" b="1" u="sng" spc="360" dirty="0">
                <a:solidFill>
                  <a:srgbClr val="D2342D"/>
                </a:solidFill>
                <a:latin typeface="Cambria"/>
                <a:cs typeface="Cambria"/>
                <a:hlinkClick r:id="rId2"/>
              </a:rPr>
              <a:t>@</a:t>
            </a:r>
            <a:r>
              <a:rPr sz="2200" b="1" u="sng" spc="190" dirty="0">
                <a:solidFill>
                  <a:srgbClr val="D2342D"/>
                </a:solidFill>
                <a:latin typeface="Cambria"/>
                <a:cs typeface="Cambria"/>
                <a:hlinkClick r:id="rId2"/>
              </a:rPr>
              <a:t>arg</a:t>
            </a:r>
            <a:r>
              <a:rPr sz="2200" b="1" u="sng" spc="204" dirty="0">
                <a:solidFill>
                  <a:srgbClr val="D2342D"/>
                </a:solidFill>
                <a:latin typeface="Cambria"/>
                <a:cs typeface="Cambria"/>
                <a:hlinkClick r:id="rId2"/>
              </a:rPr>
              <a:t>e</a:t>
            </a:r>
            <a:r>
              <a:rPr sz="2200" b="1" u="sng" spc="265" dirty="0">
                <a:solidFill>
                  <a:srgbClr val="D2342D"/>
                </a:solidFill>
                <a:latin typeface="Cambria"/>
                <a:cs typeface="Cambria"/>
                <a:hlinkClick r:id="rId2"/>
              </a:rPr>
              <a:t>nta.com</a:t>
            </a:r>
            <a:r>
              <a:rPr sz="2200" b="1" u="sng" spc="120" dirty="0">
                <a:solidFill>
                  <a:srgbClr val="D2342D"/>
                </a:solidFill>
                <a:latin typeface="Cambria"/>
                <a:cs typeface="Cambria"/>
                <a:hlinkClick r:id="rId2"/>
              </a:rPr>
              <a:t>.</a:t>
            </a:r>
            <a:r>
              <a:rPr sz="2200" b="1" u="sng" spc="210" dirty="0">
                <a:solidFill>
                  <a:srgbClr val="D2342D"/>
                </a:solidFill>
                <a:latin typeface="Cambria"/>
                <a:cs typeface="Cambria"/>
                <a:hlinkClick r:id="rId2"/>
              </a:rPr>
              <a:t>pl</a:t>
            </a:r>
            <a:endParaRPr sz="2200" u="sng" dirty="0">
              <a:latin typeface="Cambria"/>
              <a:cs typeface="Cambria"/>
            </a:endParaRPr>
          </a:p>
        </p:txBody>
      </p:sp>
      <p:sp>
        <p:nvSpPr>
          <p:cNvPr id="3" name="object 3"/>
          <p:cNvSpPr txBox="1"/>
          <p:nvPr/>
        </p:nvSpPr>
        <p:spPr>
          <a:xfrm>
            <a:off x="893775" y="3423920"/>
            <a:ext cx="5243195" cy="635000"/>
          </a:xfrm>
          <a:prstGeom prst="rect">
            <a:avLst/>
          </a:prstGeom>
        </p:spPr>
        <p:txBody>
          <a:bodyPr vert="horz" wrap="square" lIns="0" tIns="12065" rIns="0" bIns="0" rtlCol="0">
            <a:spAutoFit/>
          </a:bodyPr>
          <a:lstStyle/>
          <a:p>
            <a:pPr marL="12700">
              <a:lnSpc>
                <a:spcPct val="100000"/>
              </a:lnSpc>
              <a:spcBef>
                <a:spcPts val="95"/>
              </a:spcBef>
            </a:pPr>
            <a:r>
              <a:rPr sz="4000" b="1" spc="-20" dirty="0">
                <a:solidFill>
                  <a:srgbClr val="C70F2D"/>
                </a:solidFill>
                <a:latin typeface="Verdana"/>
                <a:cs typeface="Verdana"/>
              </a:rPr>
              <a:t>Dziękuję</a:t>
            </a:r>
            <a:r>
              <a:rPr sz="4000" b="1" spc="-215" dirty="0">
                <a:solidFill>
                  <a:srgbClr val="C70F2D"/>
                </a:solidFill>
                <a:latin typeface="Verdana"/>
                <a:cs typeface="Verdana"/>
              </a:rPr>
              <a:t> </a:t>
            </a:r>
            <a:r>
              <a:rPr sz="4000" b="1" spc="-80" dirty="0">
                <a:solidFill>
                  <a:srgbClr val="C70F2D"/>
                </a:solidFill>
                <a:latin typeface="Verdana"/>
                <a:cs typeface="Verdana"/>
              </a:rPr>
              <a:t>za</a:t>
            </a:r>
            <a:r>
              <a:rPr sz="4000" b="1" spc="-235" dirty="0">
                <a:solidFill>
                  <a:srgbClr val="C70F2D"/>
                </a:solidFill>
                <a:latin typeface="Verdana"/>
                <a:cs typeface="Verdana"/>
              </a:rPr>
              <a:t> </a:t>
            </a:r>
            <a:r>
              <a:rPr sz="4000" b="1" spc="-100" dirty="0">
                <a:solidFill>
                  <a:srgbClr val="C70F2D"/>
                </a:solidFill>
                <a:latin typeface="Verdana"/>
                <a:cs typeface="Verdana"/>
              </a:rPr>
              <a:t>uwagę</a:t>
            </a:r>
            <a:endParaRPr sz="4000" dirty="0">
              <a:latin typeface="Verdana"/>
              <a:cs typeface="Verdan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8EC8EC19-6E0E-4D67-94FE-C6656879E2A5}"/>
              </a:ext>
            </a:extLst>
          </p:cNvPr>
          <p:cNvSpPr>
            <a:spLocks noGrp="1"/>
          </p:cNvSpPr>
          <p:nvPr/>
        </p:nvSpPr>
        <p:spPr>
          <a:xfrm>
            <a:off x="609600" y="807441"/>
            <a:ext cx="10515600" cy="1008186"/>
          </a:xfrm>
          <a:prstGeom prst="rect">
            <a:avLst/>
          </a:prstGeom>
        </p:spPr>
        <p:txBody>
          <a:bodyPr vert="horz" lIns="91440" tIns="45720" rIns="91440" bIns="45720" rtlCol="0" anchor="t">
            <a:normAutofit/>
          </a:bodyPr>
          <a:lstStyle>
            <a:lvl1pPr lvl="0" algn="l" rtl="0">
              <a:lnSpc>
                <a:spcPct val="90000"/>
              </a:lnSpc>
              <a:spcBef>
                <a:spcPct val="0"/>
              </a:spcBef>
              <a:buNone/>
              <a:defRPr lang="en-US" sz="3000" b="1" i="0" dirty="0">
                <a:solidFill>
                  <a:schemeClr val="accent1"/>
                </a:solidFill>
                <a:latin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l-PL" sz="3600" b="1" i="0" u="none" strike="noStrike" kern="0" cap="none" spc="0" normalizeH="0" baseline="0" noProof="0" dirty="0">
                <a:ln>
                  <a:noFill/>
                </a:ln>
                <a:solidFill>
                  <a:srgbClr val="C8102E"/>
                </a:solidFill>
                <a:effectLst/>
                <a:uLnTx/>
                <a:uFillTx/>
                <a:latin typeface="Hepta Slab SemiBold"/>
              </a:rPr>
              <a:t>NASZA WIZJA</a:t>
            </a:r>
          </a:p>
        </p:txBody>
      </p:sp>
      <p:sp>
        <p:nvSpPr>
          <p:cNvPr id="16" name="TextBox 33">
            <a:extLst>
              <a:ext uri="{FF2B5EF4-FFF2-40B4-BE49-F238E27FC236}">
                <a16:creationId xmlns:a16="http://schemas.microsoft.com/office/drawing/2014/main" id="{F3A714F4-8860-429C-AA7F-D6D083D4C874}"/>
              </a:ext>
            </a:extLst>
          </p:cNvPr>
          <p:cNvSpPr txBox="1"/>
          <p:nvPr/>
        </p:nvSpPr>
        <p:spPr>
          <a:xfrm>
            <a:off x="381000" y="4890809"/>
            <a:ext cx="2150961"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0" cap="none" spc="0" normalizeH="0" baseline="0" noProof="0" dirty="0">
                <a:ln>
                  <a:noFill/>
                </a:ln>
                <a:solidFill>
                  <a:srgbClr val="FFFFFF"/>
                </a:solidFill>
                <a:effectLst/>
                <a:uLnTx/>
                <a:uFillTx/>
                <a:latin typeface="Montserrat"/>
              </a:rPr>
              <a:t>INNOWACYJNOŚĆ</a:t>
            </a:r>
            <a:br>
              <a:rPr kumimoji="0" lang="pl-PL" sz="1400" b="1" i="0" u="none" strike="noStrike" kern="0" cap="none" spc="0" normalizeH="0" baseline="0" noProof="0" dirty="0">
                <a:ln>
                  <a:noFill/>
                </a:ln>
                <a:solidFill>
                  <a:srgbClr val="FFFFFF"/>
                </a:solidFill>
                <a:effectLst/>
                <a:uLnTx/>
                <a:uFillTx/>
                <a:latin typeface="Montserrat"/>
              </a:rPr>
            </a:br>
            <a:r>
              <a:rPr kumimoji="0" lang="pl-PL" sz="1400" b="1" i="0" u="none" strike="noStrike" kern="0" cap="none" spc="0" normalizeH="0" baseline="0" noProof="0" dirty="0">
                <a:ln>
                  <a:noFill/>
                </a:ln>
                <a:solidFill>
                  <a:srgbClr val="FFFFFF"/>
                </a:solidFill>
                <a:effectLst/>
                <a:uLnTx/>
                <a:uFillTx/>
                <a:latin typeface="Montserrat"/>
              </a:rPr>
              <a:t>I DIGITALIZACJA</a:t>
            </a:r>
            <a:endParaRPr kumimoji="0" lang="en-US" sz="1400" b="1" i="0" u="none" strike="noStrike" kern="0" cap="none" spc="0" normalizeH="0" baseline="0" noProof="0" dirty="0">
              <a:ln>
                <a:noFill/>
              </a:ln>
              <a:solidFill>
                <a:srgbClr val="FFFFFF"/>
              </a:solidFill>
              <a:effectLst/>
              <a:uLnTx/>
              <a:uFillTx/>
              <a:latin typeface="Montserrat"/>
            </a:endParaRPr>
          </a:p>
        </p:txBody>
      </p:sp>
      <p:sp>
        <p:nvSpPr>
          <p:cNvPr id="17" name="TextBox 37">
            <a:extLst>
              <a:ext uri="{FF2B5EF4-FFF2-40B4-BE49-F238E27FC236}">
                <a16:creationId xmlns:a16="http://schemas.microsoft.com/office/drawing/2014/main" id="{96EF69C8-120A-4D1D-9988-3A0B029346F0}"/>
              </a:ext>
            </a:extLst>
          </p:cNvPr>
          <p:cNvSpPr txBox="1"/>
          <p:nvPr/>
        </p:nvSpPr>
        <p:spPr>
          <a:xfrm>
            <a:off x="5486400" y="4849792"/>
            <a:ext cx="3082723"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0" cap="none" spc="0" normalizeH="0" baseline="0" noProof="0" dirty="0">
                <a:ln>
                  <a:noFill/>
                </a:ln>
                <a:solidFill>
                  <a:srgbClr val="FFFFFF"/>
                </a:solidFill>
                <a:effectLst/>
                <a:uLnTx/>
                <a:uFillTx/>
                <a:latin typeface="Montserrat"/>
              </a:rPr>
              <a:t>WSPARCIE</a:t>
            </a:r>
            <a:br>
              <a:rPr kumimoji="0" lang="pl-PL" sz="1400" b="1" i="0" u="none" strike="noStrike" kern="0" cap="none" spc="0" normalizeH="0" baseline="0" noProof="0" dirty="0">
                <a:ln>
                  <a:noFill/>
                </a:ln>
                <a:solidFill>
                  <a:srgbClr val="FFFFFF"/>
                </a:solidFill>
                <a:effectLst/>
                <a:uLnTx/>
                <a:uFillTx/>
                <a:latin typeface="Montserrat"/>
              </a:rPr>
            </a:br>
            <a:r>
              <a:rPr kumimoji="0" lang="pl-PL" sz="1400" b="1" i="0" u="none" strike="noStrike" kern="0" cap="none" spc="0" normalizeH="0" baseline="0" noProof="0" dirty="0">
                <a:ln>
                  <a:noFill/>
                </a:ln>
                <a:solidFill>
                  <a:srgbClr val="FFFFFF"/>
                </a:solidFill>
                <a:effectLst/>
                <a:uLnTx/>
                <a:uFillTx/>
                <a:latin typeface="Montserrat"/>
              </a:rPr>
              <a:t>I BEZPIECZEŃSTWO</a:t>
            </a:r>
            <a:endParaRPr kumimoji="0" lang="en-US" sz="1400" b="1" i="0" u="none" strike="noStrike" kern="0" cap="none" spc="0" normalizeH="0" baseline="0" noProof="0" dirty="0">
              <a:ln>
                <a:noFill/>
              </a:ln>
              <a:solidFill>
                <a:srgbClr val="FFFFFF"/>
              </a:solidFill>
              <a:effectLst/>
              <a:uLnTx/>
              <a:uFillTx/>
              <a:latin typeface="Montserrat"/>
            </a:endParaRPr>
          </a:p>
        </p:txBody>
      </p:sp>
      <p:sp>
        <p:nvSpPr>
          <p:cNvPr id="18" name="TextBox 44">
            <a:extLst>
              <a:ext uri="{FF2B5EF4-FFF2-40B4-BE49-F238E27FC236}">
                <a16:creationId xmlns:a16="http://schemas.microsoft.com/office/drawing/2014/main" id="{5F152D4C-1832-4AE2-AB96-332093806CA5}"/>
              </a:ext>
            </a:extLst>
          </p:cNvPr>
          <p:cNvSpPr txBox="1"/>
          <p:nvPr/>
        </p:nvSpPr>
        <p:spPr>
          <a:xfrm>
            <a:off x="3490813" y="4951871"/>
            <a:ext cx="2039098"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0" cap="none" spc="0" normalizeH="0" baseline="0" noProof="0" dirty="0">
                <a:ln>
                  <a:noFill/>
                </a:ln>
                <a:solidFill>
                  <a:srgbClr val="FFFFFF"/>
                </a:solidFill>
                <a:effectLst/>
                <a:uLnTx/>
                <a:uFillTx/>
                <a:latin typeface="Montserrat"/>
              </a:rPr>
              <a:t>KOMPLEKSOWOŚĆ</a:t>
            </a:r>
            <a:endParaRPr kumimoji="0" lang="en-US" sz="1400" b="1" i="0" u="none" strike="noStrike" kern="0" cap="none" spc="0" normalizeH="0" baseline="0" noProof="0" dirty="0">
              <a:ln>
                <a:noFill/>
              </a:ln>
              <a:solidFill>
                <a:srgbClr val="FFFFFF"/>
              </a:solidFill>
              <a:effectLst/>
              <a:uLnTx/>
              <a:uFillTx/>
              <a:latin typeface="Montserrat"/>
            </a:endParaRPr>
          </a:p>
        </p:txBody>
      </p:sp>
      <p:grpSp>
        <p:nvGrpSpPr>
          <p:cNvPr id="19" name="Grupa 18">
            <a:extLst>
              <a:ext uri="{FF2B5EF4-FFF2-40B4-BE49-F238E27FC236}">
                <a16:creationId xmlns:a16="http://schemas.microsoft.com/office/drawing/2014/main" id="{D80720DD-79FA-405A-9FF8-92726FCC3E90}"/>
              </a:ext>
            </a:extLst>
          </p:cNvPr>
          <p:cNvGrpSpPr/>
          <p:nvPr/>
        </p:nvGrpSpPr>
        <p:grpSpPr>
          <a:xfrm>
            <a:off x="2626968" y="4785896"/>
            <a:ext cx="722651" cy="656847"/>
            <a:chOff x="4701729" y="2177986"/>
            <a:chExt cx="722651" cy="656847"/>
          </a:xfrm>
        </p:grpSpPr>
        <p:sp>
          <p:nvSpPr>
            <p:cNvPr id="20" name="Prostokąt 19">
              <a:extLst>
                <a:ext uri="{FF2B5EF4-FFF2-40B4-BE49-F238E27FC236}">
                  <a16:creationId xmlns:a16="http://schemas.microsoft.com/office/drawing/2014/main" id="{D2224DF2-C04F-486C-AEB7-7D99109F79BF}"/>
                </a:ext>
              </a:extLst>
            </p:cNvPr>
            <p:cNvSpPr/>
            <p:nvPr/>
          </p:nvSpPr>
          <p:spPr>
            <a:xfrm>
              <a:off x="4777929" y="2177986"/>
              <a:ext cx="646451" cy="58064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Montserrat"/>
                <a:ea typeface="+mn-ea"/>
                <a:cs typeface="+mn-cs"/>
              </a:endParaRPr>
            </a:p>
          </p:txBody>
        </p:sp>
        <p:sp>
          <p:nvSpPr>
            <p:cNvPr id="21" name="Prostokąt 20">
              <a:extLst>
                <a:ext uri="{FF2B5EF4-FFF2-40B4-BE49-F238E27FC236}">
                  <a16:creationId xmlns:a16="http://schemas.microsoft.com/office/drawing/2014/main" id="{7C407FF2-BE77-4FAF-895B-C100E7A3DB45}"/>
                </a:ext>
              </a:extLst>
            </p:cNvPr>
            <p:cNvSpPr/>
            <p:nvPr/>
          </p:nvSpPr>
          <p:spPr>
            <a:xfrm>
              <a:off x="4701729" y="2254186"/>
              <a:ext cx="646451" cy="580647"/>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Montserrat"/>
                <a:ea typeface="+mn-ea"/>
                <a:cs typeface="+mn-cs"/>
              </a:endParaRPr>
            </a:p>
          </p:txBody>
        </p:sp>
      </p:grpSp>
      <p:grpSp>
        <p:nvGrpSpPr>
          <p:cNvPr id="22" name="Grupa 21">
            <a:extLst>
              <a:ext uri="{FF2B5EF4-FFF2-40B4-BE49-F238E27FC236}">
                <a16:creationId xmlns:a16="http://schemas.microsoft.com/office/drawing/2014/main" id="{110F703C-5B11-4E95-B1A5-5C469647864C}"/>
              </a:ext>
            </a:extLst>
          </p:cNvPr>
          <p:cNvGrpSpPr/>
          <p:nvPr/>
        </p:nvGrpSpPr>
        <p:grpSpPr>
          <a:xfrm>
            <a:off x="5608787" y="4777335"/>
            <a:ext cx="722651" cy="656847"/>
            <a:chOff x="4701729" y="2177986"/>
            <a:chExt cx="722651" cy="656847"/>
          </a:xfrm>
        </p:grpSpPr>
        <p:sp>
          <p:nvSpPr>
            <p:cNvPr id="23" name="Prostokąt 22">
              <a:extLst>
                <a:ext uri="{FF2B5EF4-FFF2-40B4-BE49-F238E27FC236}">
                  <a16:creationId xmlns:a16="http://schemas.microsoft.com/office/drawing/2014/main" id="{D5FC49E0-8D94-4B18-98FE-5F9FCA4D5A63}"/>
                </a:ext>
              </a:extLst>
            </p:cNvPr>
            <p:cNvSpPr/>
            <p:nvPr/>
          </p:nvSpPr>
          <p:spPr>
            <a:xfrm>
              <a:off x="4777929" y="2177986"/>
              <a:ext cx="646451" cy="58064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Montserrat"/>
                <a:ea typeface="+mn-ea"/>
                <a:cs typeface="+mn-cs"/>
              </a:endParaRPr>
            </a:p>
          </p:txBody>
        </p:sp>
        <p:sp>
          <p:nvSpPr>
            <p:cNvPr id="24" name="Prostokąt 23">
              <a:extLst>
                <a:ext uri="{FF2B5EF4-FFF2-40B4-BE49-F238E27FC236}">
                  <a16:creationId xmlns:a16="http://schemas.microsoft.com/office/drawing/2014/main" id="{85422CD5-56BA-48AD-9E66-E6AF7387F6BC}"/>
                </a:ext>
              </a:extLst>
            </p:cNvPr>
            <p:cNvSpPr/>
            <p:nvPr/>
          </p:nvSpPr>
          <p:spPr>
            <a:xfrm>
              <a:off x="4701729" y="2254186"/>
              <a:ext cx="646451" cy="580647"/>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Montserrat"/>
                <a:ea typeface="+mn-ea"/>
                <a:cs typeface="+mn-cs"/>
              </a:endParaRPr>
            </a:p>
          </p:txBody>
        </p:sp>
      </p:grpSp>
      <p:grpSp>
        <p:nvGrpSpPr>
          <p:cNvPr id="25" name="Grupa 24">
            <a:extLst>
              <a:ext uri="{FF2B5EF4-FFF2-40B4-BE49-F238E27FC236}">
                <a16:creationId xmlns:a16="http://schemas.microsoft.com/office/drawing/2014/main" id="{13AD8041-E01F-4116-BD83-43BF0323EB54}"/>
              </a:ext>
            </a:extLst>
          </p:cNvPr>
          <p:cNvGrpSpPr/>
          <p:nvPr/>
        </p:nvGrpSpPr>
        <p:grpSpPr>
          <a:xfrm>
            <a:off x="8664130" y="4740295"/>
            <a:ext cx="722651" cy="656847"/>
            <a:chOff x="4701729" y="2177986"/>
            <a:chExt cx="722651" cy="656847"/>
          </a:xfrm>
        </p:grpSpPr>
        <p:sp>
          <p:nvSpPr>
            <p:cNvPr id="26" name="Prostokąt 25">
              <a:extLst>
                <a:ext uri="{FF2B5EF4-FFF2-40B4-BE49-F238E27FC236}">
                  <a16:creationId xmlns:a16="http://schemas.microsoft.com/office/drawing/2014/main" id="{2FE9578F-E620-42D0-9404-8B48B3FAA741}"/>
                </a:ext>
              </a:extLst>
            </p:cNvPr>
            <p:cNvSpPr/>
            <p:nvPr/>
          </p:nvSpPr>
          <p:spPr>
            <a:xfrm>
              <a:off x="4777929" y="2177986"/>
              <a:ext cx="646451" cy="58064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Montserrat"/>
                <a:ea typeface="+mn-ea"/>
                <a:cs typeface="+mn-cs"/>
              </a:endParaRPr>
            </a:p>
          </p:txBody>
        </p:sp>
        <p:sp>
          <p:nvSpPr>
            <p:cNvPr id="27" name="Prostokąt 26">
              <a:extLst>
                <a:ext uri="{FF2B5EF4-FFF2-40B4-BE49-F238E27FC236}">
                  <a16:creationId xmlns:a16="http://schemas.microsoft.com/office/drawing/2014/main" id="{9E09FFDE-84B5-4488-8867-EBFFE029C9E2}"/>
                </a:ext>
              </a:extLst>
            </p:cNvPr>
            <p:cNvSpPr/>
            <p:nvPr/>
          </p:nvSpPr>
          <p:spPr>
            <a:xfrm>
              <a:off x="4701729" y="2254186"/>
              <a:ext cx="646451" cy="580647"/>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Montserrat"/>
                <a:ea typeface="+mn-ea"/>
                <a:cs typeface="+mn-cs"/>
              </a:endParaRPr>
            </a:p>
          </p:txBody>
        </p:sp>
      </p:grpSp>
      <p:sp>
        <p:nvSpPr>
          <p:cNvPr id="28" name="TextBox 36">
            <a:extLst>
              <a:ext uri="{FF2B5EF4-FFF2-40B4-BE49-F238E27FC236}">
                <a16:creationId xmlns:a16="http://schemas.microsoft.com/office/drawing/2014/main" id="{06C35696-620C-4440-85BE-C9114227654B}"/>
              </a:ext>
            </a:extLst>
          </p:cNvPr>
          <p:cNvSpPr txBox="1"/>
          <p:nvPr/>
        </p:nvSpPr>
        <p:spPr>
          <a:xfrm>
            <a:off x="645736" y="1630682"/>
            <a:ext cx="9060730" cy="3046347"/>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pl-PL" sz="2800" b="1" i="0" u="none" strike="noStrike" kern="0" cap="none" spc="0" normalizeH="0" baseline="0" noProof="0" dirty="0">
                <a:ln>
                  <a:noFill/>
                </a:ln>
                <a:solidFill>
                  <a:srgbClr val="E3E3E2"/>
                </a:solidFill>
                <a:effectLst/>
                <a:uLnTx/>
                <a:uFillTx/>
                <a:latin typeface="Montserrat"/>
                <a:ea typeface="Roboto" pitchFamily="2" charset="0"/>
              </a:rPr>
              <a:t>Najbardziej innowacyjne i kompleksowe rozwiązania, zabezpieczone eksperckim wsparciem aplikacyjnym, technicznym</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pl-PL" sz="2800" b="1" i="0" u="none" strike="noStrike" kern="0" cap="none" spc="0" normalizeH="0" baseline="0" noProof="0" dirty="0">
                <a:ln>
                  <a:noFill/>
                </a:ln>
                <a:solidFill>
                  <a:srgbClr val="E3E3E2"/>
                </a:solidFill>
                <a:effectLst/>
                <a:uLnTx/>
                <a:uFillTx/>
                <a:latin typeface="Montserrat"/>
                <a:ea typeface="Roboto" pitchFamily="2" charset="0"/>
              </a:rPr>
              <a:t>i logistycznym. </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pl-PL" sz="1800" b="1" i="0" u="none" strike="noStrike" kern="0" cap="none" spc="0" normalizeH="0" baseline="0" noProof="0" dirty="0">
                <a:ln>
                  <a:noFill/>
                </a:ln>
                <a:solidFill>
                  <a:srgbClr val="E3E3E2"/>
                </a:solidFill>
                <a:effectLst/>
                <a:uLnTx/>
                <a:uFillTx/>
                <a:latin typeface="Montserrat"/>
                <a:ea typeface="Roboto" pitchFamily="2" charset="0"/>
              </a:rPr>
              <a:t> </a:t>
            </a:r>
          </a:p>
        </p:txBody>
      </p:sp>
    </p:spTree>
    <p:extLst>
      <p:ext uri="{BB962C8B-B14F-4D97-AF65-F5344CB8AC3E}">
        <p14:creationId xmlns:p14="http://schemas.microsoft.com/office/powerpoint/2010/main" val="31639544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rostokąt 5">
            <a:extLst>
              <a:ext uri="{FF2B5EF4-FFF2-40B4-BE49-F238E27FC236}">
                <a16:creationId xmlns:a16="http://schemas.microsoft.com/office/drawing/2014/main" id="{37A9EA01-9D11-4ABA-8632-4EDA09BFD655}"/>
              </a:ext>
            </a:extLst>
          </p:cNvPr>
          <p:cNvSpPr/>
          <p:nvPr/>
        </p:nvSpPr>
        <p:spPr>
          <a:xfrm>
            <a:off x="666161" y="2269425"/>
            <a:ext cx="736092" cy="7360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Montserrat"/>
              <a:ea typeface="+mn-ea"/>
              <a:cs typeface="+mn-cs"/>
            </a:endParaRPr>
          </a:p>
        </p:txBody>
      </p:sp>
      <p:sp>
        <p:nvSpPr>
          <p:cNvPr id="7" name="Prostokąt 6">
            <a:extLst>
              <a:ext uri="{FF2B5EF4-FFF2-40B4-BE49-F238E27FC236}">
                <a16:creationId xmlns:a16="http://schemas.microsoft.com/office/drawing/2014/main" id="{3C19D068-995F-4EB7-B2B0-F751398455FF}"/>
              </a:ext>
            </a:extLst>
          </p:cNvPr>
          <p:cNvSpPr/>
          <p:nvPr/>
        </p:nvSpPr>
        <p:spPr>
          <a:xfrm>
            <a:off x="589961" y="2345625"/>
            <a:ext cx="736092" cy="73609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Montserrat"/>
              <a:ea typeface="+mn-ea"/>
              <a:cs typeface="+mn-cs"/>
            </a:endParaRPr>
          </a:p>
        </p:txBody>
      </p:sp>
      <p:sp>
        <p:nvSpPr>
          <p:cNvPr id="8" name="pole tekstowe 7">
            <a:extLst>
              <a:ext uri="{FF2B5EF4-FFF2-40B4-BE49-F238E27FC236}">
                <a16:creationId xmlns:a16="http://schemas.microsoft.com/office/drawing/2014/main" id="{47BCBD35-3C66-448F-AC66-6FE407B13AB1}"/>
              </a:ext>
            </a:extLst>
          </p:cNvPr>
          <p:cNvSpPr txBox="1"/>
          <p:nvPr/>
        </p:nvSpPr>
        <p:spPr>
          <a:xfrm>
            <a:off x="727883" y="2528040"/>
            <a:ext cx="62407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0" cap="none" spc="0" normalizeH="0" baseline="0" noProof="0" dirty="0">
              <a:ln>
                <a:noFill/>
              </a:ln>
              <a:solidFill>
                <a:srgbClr val="FFFFFF"/>
              </a:solidFill>
              <a:effectLst/>
              <a:uLnTx/>
              <a:uFillTx/>
              <a:latin typeface="Montserrat"/>
            </a:endParaRPr>
          </a:p>
        </p:txBody>
      </p:sp>
      <p:sp>
        <p:nvSpPr>
          <p:cNvPr id="9" name="pole tekstowe 8">
            <a:extLst>
              <a:ext uri="{FF2B5EF4-FFF2-40B4-BE49-F238E27FC236}">
                <a16:creationId xmlns:a16="http://schemas.microsoft.com/office/drawing/2014/main" id="{4CD26AD1-9EFE-44D4-9AE3-814A3035DAFF}"/>
              </a:ext>
            </a:extLst>
          </p:cNvPr>
          <p:cNvSpPr txBox="1"/>
          <p:nvPr/>
        </p:nvSpPr>
        <p:spPr>
          <a:xfrm>
            <a:off x="1513796" y="2314305"/>
            <a:ext cx="23622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1" i="0" u="none" strike="noStrike" kern="0" cap="none" spc="0" normalizeH="0" baseline="0" noProof="0" dirty="0">
                <a:ln>
                  <a:noFill/>
                </a:ln>
                <a:solidFill>
                  <a:srgbClr val="FFFFFF"/>
                </a:solidFill>
                <a:effectLst/>
                <a:uLnTx/>
                <a:uFillTx/>
                <a:latin typeface="Montserrat"/>
              </a:rPr>
              <a:t>DIAGNOSTYKA PRZEMYSŁOWA</a:t>
            </a:r>
          </a:p>
        </p:txBody>
      </p:sp>
      <p:sp>
        <p:nvSpPr>
          <p:cNvPr id="10" name="Prostokąt 9">
            <a:extLst>
              <a:ext uri="{FF2B5EF4-FFF2-40B4-BE49-F238E27FC236}">
                <a16:creationId xmlns:a16="http://schemas.microsoft.com/office/drawing/2014/main" id="{E36F7408-8DA5-4BD2-B230-1C0FCF1EB364}"/>
              </a:ext>
            </a:extLst>
          </p:cNvPr>
          <p:cNvSpPr/>
          <p:nvPr/>
        </p:nvSpPr>
        <p:spPr>
          <a:xfrm>
            <a:off x="4399961" y="2269425"/>
            <a:ext cx="736092" cy="7360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Montserrat"/>
              <a:ea typeface="+mn-ea"/>
              <a:cs typeface="+mn-cs"/>
            </a:endParaRPr>
          </a:p>
        </p:txBody>
      </p:sp>
      <p:sp>
        <p:nvSpPr>
          <p:cNvPr id="11" name="Prostokąt 10">
            <a:extLst>
              <a:ext uri="{FF2B5EF4-FFF2-40B4-BE49-F238E27FC236}">
                <a16:creationId xmlns:a16="http://schemas.microsoft.com/office/drawing/2014/main" id="{D1968328-6F3A-4198-8550-86988A4D7A9E}"/>
              </a:ext>
            </a:extLst>
          </p:cNvPr>
          <p:cNvSpPr/>
          <p:nvPr/>
        </p:nvSpPr>
        <p:spPr>
          <a:xfrm>
            <a:off x="4323761" y="2345625"/>
            <a:ext cx="736092" cy="73609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Montserrat"/>
              <a:ea typeface="+mn-ea"/>
              <a:cs typeface="+mn-cs"/>
            </a:endParaRPr>
          </a:p>
        </p:txBody>
      </p:sp>
      <p:sp>
        <p:nvSpPr>
          <p:cNvPr id="13" name="pole tekstowe 12">
            <a:extLst>
              <a:ext uri="{FF2B5EF4-FFF2-40B4-BE49-F238E27FC236}">
                <a16:creationId xmlns:a16="http://schemas.microsoft.com/office/drawing/2014/main" id="{B7BF3FC9-9601-4DE0-B62C-919523F20995}"/>
              </a:ext>
            </a:extLst>
          </p:cNvPr>
          <p:cNvSpPr txBox="1"/>
          <p:nvPr/>
        </p:nvSpPr>
        <p:spPr>
          <a:xfrm>
            <a:off x="5238962" y="2326482"/>
            <a:ext cx="23622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1" i="0" u="none" strike="noStrike" kern="0" cap="none" spc="0" normalizeH="0" baseline="0" noProof="0" dirty="0">
                <a:ln>
                  <a:noFill/>
                </a:ln>
                <a:solidFill>
                  <a:srgbClr val="FFFFFF"/>
                </a:solidFill>
                <a:effectLst/>
                <a:uLnTx/>
                <a:uFillTx/>
                <a:latin typeface="Montserrat"/>
              </a:rPr>
              <a:t>MIKROBIOLOGIA KLINICZNA</a:t>
            </a:r>
          </a:p>
        </p:txBody>
      </p:sp>
      <p:sp>
        <p:nvSpPr>
          <p:cNvPr id="14" name="Prostokąt 13">
            <a:extLst>
              <a:ext uri="{FF2B5EF4-FFF2-40B4-BE49-F238E27FC236}">
                <a16:creationId xmlns:a16="http://schemas.microsoft.com/office/drawing/2014/main" id="{8DA1941A-CB3E-4E04-A2D3-14B4176908E3}"/>
              </a:ext>
            </a:extLst>
          </p:cNvPr>
          <p:cNvSpPr/>
          <p:nvPr/>
        </p:nvSpPr>
        <p:spPr>
          <a:xfrm>
            <a:off x="7857257" y="2274787"/>
            <a:ext cx="736092" cy="7360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Montserrat"/>
              <a:ea typeface="+mn-ea"/>
              <a:cs typeface="+mn-cs"/>
            </a:endParaRPr>
          </a:p>
        </p:txBody>
      </p:sp>
      <p:sp>
        <p:nvSpPr>
          <p:cNvPr id="15" name="Prostokąt 14">
            <a:extLst>
              <a:ext uri="{FF2B5EF4-FFF2-40B4-BE49-F238E27FC236}">
                <a16:creationId xmlns:a16="http://schemas.microsoft.com/office/drawing/2014/main" id="{5EFB6E65-FCF0-4878-9173-FF5218FD4F63}"/>
              </a:ext>
            </a:extLst>
          </p:cNvPr>
          <p:cNvSpPr/>
          <p:nvPr/>
        </p:nvSpPr>
        <p:spPr>
          <a:xfrm>
            <a:off x="7781057" y="2350987"/>
            <a:ext cx="736092" cy="73609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Montserrat"/>
              <a:ea typeface="+mn-ea"/>
              <a:cs typeface="+mn-cs"/>
            </a:endParaRPr>
          </a:p>
        </p:txBody>
      </p:sp>
      <p:sp>
        <p:nvSpPr>
          <p:cNvPr id="17" name="pole tekstowe 16">
            <a:extLst>
              <a:ext uri="{FF2B5EF4-FFF2-40B4-BE49-F238E27FC236}">
                <a16:creationId xmlns:a16="http://schemas.microsoft.com/office/drawing/2014/main" id="{A9B18904-9779-4538-A608-8C1AF0F7C9C7}"/>
              </a:ext>
            </a:extLst>
          </p:cNvPr>
          <p:cNvSpPr txBox="1"/>
          <p:nvPr/>
        </p:nvSpPr>
        <p:spPr>
          <a:xfrm>
            <a:off x="8669549" y="2331843"/>
            <a:ext cx="23622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1" i="0" u="none" strike="noStrike" kern="0" cap="none" spc="0" normalizeH="0" baseline="0" noProof="0" dirty="0">
                <a:ln>
                  <a:noFill/>
                </a:ln>
                <a:solidFill>
                  <a:srgbClr val="FFFFFF"/>
                </a:solidFill>
                <a:effectLst/>
                <a:uLnTx/>
                <a:uFillTx/>
                <a:latin typeface="Montserrat"/>
              </a:rPr>
              <a:t>DIAGNOSTYKA LABORATORYJNA</a:t>
            </a:r>
          </a:p>
        </p:txBody>
      </p:sp>
      <p:sp>
        <p:nvSpPr>
          <p:cNvPr id="18" name="Prostokąt 17">
            <a:extLst>
              <a:ext uri="{FF2B5EF4-FFF2-40B4-BE49-F238E27FC236}">
                <a16:creationId xmlns:a16="http://schemas.microsoft.com/office/drawing/2014/main" id="{39858429-0F70-437D-BBDD-5EA46876A1C3}"/>
              </a:ext>
            </a:extLst>
          </p:cNvPr>
          <p:cNvSpPr/>
          <p:nvPr/>
        </p:nvSpPr>
        <p:spPr>
          <a:xfrm>
            <a:off x="666161" y="4495800"/>
            <a:ext cx="736092" cy="7360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Montserrat"/>
              <a:ea typeface="+mn-ea"/>
              <a:cs typeface="+mn-cs"/>
            </a:endParaRPr>
          </a:p>
        </p:txBody>
      </p:sp>
      <p:sp>
        <p:nvSpPr>
          <p:cNvPr id="19" name="Prostokąt 18">
            <a:extLst>
              <a:ext uri="{FF2B5EF4-FFF2-40B4-BE49-F238E27FC236}">
                <a16:creationId xmlns:a16="http://schemas.microsoft.com/office/drawing/2014/main" id="{09E26998-958B-4848-BACF-26C772C05026}"/>
              </a:ext>
            </a:extLst>
          </p:cNvPr>
          <p:cNvSpPr/>
          <p:nvPr/>
        </p:nvSpPr>
        <p:spPr>
          <a:xfrm>
            <a:off x="589961" y="4572000"/>
            <a:ext cx="736092" cy="73609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Montserrat"/>
              <a:ea typeface="+mn-ea"/>
              <a:cs typeface="+mn-cs"/>
            </a:endParaRPr>
          </a:p>
        </p:txBody>
      </p:sp>
      <p:sp>
        <p:nvSpPr>
          <p:cNvPr id="21" name="pole tekstowe 20">
            <a:extLst>
              <a:ext uri="{FF2B5EF4-FFF2-40B4-BE49-F238E27FC236}">
                <a16:creationId xmlns:a16="http://schemas.microsoft.com/office/drawing/2014/main" id="{B39D172C-D440-4097-8597-BA73FEE5933F}"/>
              </a:ext>
            </a:extLst>
          </p:cNvPr>
          <p:cNvSpPr txBox="1"/>
          <p:nvPr/>
        </p:nvSpPr>
        <p:spPr>
          <a:xfrm>
            <a:off x="1513796" y="4540680"/>
            <a:ext cx="249498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1" i="0" u="none" strike="noStrike" kern="0" cap="none" spc="0" normalizeH="0" baseline="0" noProof="0" dirty="0">
                <a:ln>
                  <a:noFill/>
                </a:ln>
                <a:solidFill>
                  <a:srgbClr val="FFFFFF"/>
                </a:solidFill>
                <a:effectLst/>
                <a:uLnTx/>
                <a:uFillTx/>
                <a:latin typeface="Montserrat"/>
              </a:rPr>
              <a:t>DIAGNOSTYKA WETERYNARYJNA</a:t>
            </a:r>
          </a:p>
        </p:txBody>
      </p:sp>
      <p:sp>
        <p:nvSpPr>
          <p:cNvPr id="22" name="Prostokąt 21">
            <a:extLst>
              <a:ext uri="{FF2B5EF4-FFF2-40B4-BE49-F238E27FC236}">
                <a16:creationId xmlns:a16="http://schemas.microsoft.com/office/drawing/2014/main" id="{853D829F-719B-4A89-BA92-54A47CD59564}"/>
              </a:ext>
            </a:extLst>
          </p:cNvPr>
          <p:cNvSpPr/>
          <p:nvPr/>
        </p:nvSpPr>
        <p:spPr>
          <a:xfrm>
            <a:off x="4399961" y="4495800"/>
            <a:ext cx="736092" cy="7360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Montserrat"/>
              <a:ea typeface="+mn-ea"/>
              <a:cs typeface="+mn-cs"/>
            </a:endParaRPr>
          </a:p>
        </p:txBody>
      </p:sp>
      <p:sp>
        <p:nvSpPr>
          <p:cNvPr id="23" name="Prostokąt 22">
            <a:extLst>
              <a:ext uri="{FF2B5EF4-FFF2-40B4-BE49-F238E27FC236}">
                <a16:creationId xmlns:a16="http://schemas.microsoft.com/office/drawing/2014/main" id="{533E6A3F-FBFC-432A-8405-26EFAADAE7AF}"/>
              </a:ext>
            </a:extLst>
          </p:cNvPr>
          <p:cNvSpPr/>
          <p:nvPr/>
        </p:nvSpPr>
        <p:spPr>
          <a:xfrm>
            <a:off x="4323761" y="4572000"/>
            <a:ext cx="736092" cy="73609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Montserrat"/>
              <a:ea typeface="+mn-ea"/>
              <a:cs typeface="+mn-cs"/>
            </a:endParaRPr>
          </a:p>
        </p:txBody>
      </p:sp>
      <p:sp>
        <p:nvSpPr>
          <p:cNvPr id="25" name="pole tekstowe 24">
            <a:extLst>
              <a:ext uri="{FF2B5EF4-FFF2-40B4-BE49-F238E27FC236}">
                <a16:creationId xmlns:a16="http://schemas.microsoft.com/office/drawing/2014/main" id="{26736AB8-EAC0-49C3-922A-085A015C6DC1}"/>
              </a:ext>
            </a:extLst>
          </p:cNvPr>
          <p:cNvSpPr txBox="1"/>
          <p:nvPr/>
        </p:nvSpPr>
        <p:spPr>
          <a:xfrm>
            <a:off x="5238962" y="4600526"/>
            <a:ext cx="23622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1" i="0" u="none" strike="noStrike" kern="0" cap="none" spc="0" normalizeH="0" baseline="0" noProof="0" dirty="0">
                <a:ln>
                  <a:noFill/>
                </a:ln>
                <a:solidFill>
                  <a:srgbClr val="FFFFFF"/>
                </a:solidFill>
                <a:effectLst/>
                <a:uLnTx/>
                <a:uFillTx/>
                <a:latin typeface="Montserrat"/>
              </a:rPr>
              <a:t>BIOLOGIA MOLEKULARNA</a:t>
            </a:r>
          </a:p>
        </p:txBody>
      </p:sp>
      <p:sp>
        <p:nvSpPr>
          <p:cNvPr id="26" name="Prostokąt 25">
            <a:extLst>
              <a:ext uri="{FF2B5EF4-FFF2-40B4-BE49-F238E27FC236}">
                <a16:creationId xmlns:a16="http://schemas.microsoft.com/office/drawing/2014/main" id="{2C03CD6C-6048-4317-AE54-B8EEF3DF4142}"/>
              </a:ext>
            </a:extLst>
          </p:cNvPr>
          <p:cNvSpPr/>
          <p:nvPr/>
        </p:nvSpPr>
        <p:spPr>
          <a:xfrm>
            <a:off x="7857257" y="4501162"/>
            <a:ext cx="736092" cy="7360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Montserrat"/>
              <a:ea typeface="+mn-ea"/>
              <a:cs typeface="+mn-cs"/>
            </a:endParaRPr>
          </a:p>
        </p:txBody>
      </p:sp>
      <p:sp>
        <p:nvSpPr>
          <p:cNvPr id="27" name="Prostokąt 26">
            <a:extLst>
              <a:ext uri="{FF2B5EF4-FFF2-40B4-BE49-F238E27FC236}">
                <a16:creationId xmlns:a16="http://schemas.microsoft.com/office/drawing/2014/main" id="{2122738B-0AAB-4726-8734-3145BA84C5A0}"/>
              </a:ext>
            </a:extLst>
          </p:cNvPr>
          <p:cNvSpPr/>
          <p:nvPr/>
        </p:nvSpPr>
        <p:spPr>
          <a:xfrm>
            <a:off x="7781057" y="4577362"/>
            <a:ext cx="736092" cy="73609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latin typeface="Montserrat"/>
              <a:ea typeface="+mn-ea"/>
              <a:cs typeface="+mn-cs"/>
            </a:endParaRPr>
          </a:p>
        </p:txBody>
      </p:sp>
      <p:sp>
        <p:nvSpPr>
          <p:cNvPr id="29" name="pole tekstowe 28">
            <a:extLst>
              <a:ext uri="{FF2B5EF4-FFF2-40B4-BE49-F238E27FC236}">
                <a16:creationId xmlns:a16="http://schemas.microsoft.com/office/drawing/2014/main" id="{12EDD8BD-DE5C-483D-8B2A-63C6B6B41F1C}"/>
              </a:ext>
            </a:extLst>
          </p:cNvPr>
          <p:cNvSpPr txBox="1"/>
          <p:nvPr/>
        </p:nvSpPr>
        <p:spPr>
          <a:xfrm>
            <a:off x="8699416" y="4622242"/>
            <a:ext cx="23622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1" i="0" u="none" strike="noStrike" kern="0" cap="none" spc="0" normalizeH="0" baseline="0" noProof="0" dirty="0">
                <a:ln>
                  <a:noFill/>
                </a:ln>
                <a:solidFill>
                  <a:srgbClr val="FFFFFF"/>
                </a:solidFill>
                <a:effectLst/>
                <a:uLnTx/>
                <a:uFillTx/>
                <a:latin typeface="Montserrat"/>
              </a:rPr>
              <a:t>BADAN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1" i="0" u="none" strike="noStrike" kern="0" cap="none" spc="0" normalizeH="0" baseline="0" noProof="0" dirty="0">
                <a:ln>
                  <a:noFill/>
                </a:ln>
                <a:solidFill>
                  <a:srgbClr val="FFFFFF"/>
                </a:solidFill>
                <a:effectLst/>
                <a:uLnTx/>
                <a:uFillTx/>
                <a:latin typeface="Montserrat"/>
              </a:rPr>
              <a:t>NAUKOWE</a:t>
            </a:r>
          </a:p>
        </p:txBody>
      </p:sp>
      <p:sp>
        <p:nvSpPr>
          <p:cNvPr id="31" name="Tytuł 1">
            <a:extLst>
              <a:ext uri="{FF2B5EF4-FFF2-40B4-BE49-F238E27FC236}">
                <a16:creationId xmlns:a16="http://schemas.microsoft.com/office/drawing/2014/main" id="{EE05876C-9A74-4CEB-A06A-41F09BB9B9ED}"/>
              </a:ext>
            </a:extLst>
          </p:cNvPr>
          <p:cNvSpPr>
            <a:spLocks noGrp="1"/>
          </p:cNvSpPr>
          <p:nvPr/>
        </p:nvSpPr>
        <p:spPr>
          <a:xfrm>
            <a:off x="609600" y="735621"/>
            <a:ext cx="10515600" cy="1008186"/>
          </a:xfrm>
          <a:prstGeom prst="rect">
            <a:avLst/>
          </a:prstGeom>
        </p:spPr>
        <p:txBody>
          <a:bodyPr vert="horz" lIns="91440" tIns="45720" rIns="91440" bIns="45720" rtlCol="0" anchor="t">
            <a:normAutofit/>
          </a:bodyPr>
          <a:lstStyle>
            <a:lvl1pPr lvl="0" algn="l" rtl="0">
              <a:lnSpc>
                <a:spcPct val="90000"/>
              </a:lnSpc>
              <a:spcBef>
                <a:spcPct val="0"/>
              </a:spcBef>
              <a:buNone/>
              <a:defRPr lang="en-US" sz="3000" b="1" i="0" dirty="0">
                <a:solidFill>
                  <a:schemeClr val="accent1"/>
                </a:solidFill>
                <a:latin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l-PL" sz="3000" b="1" i="0" u="none" strike="noStrike" kern="0" cap="none" spc="0" normalizeH="0" baseline="0" noProof="0" dirty="0">
                <a:ln>
                  <a:noFill/>
                </a:ln>
                <a:solidFill>
                  <a:srgbClr val="C8102E"/>
                </a:solidFill>
                <a:effectLst/>
                <a:uLnTx/>
                <a:uFillTx/>
                <a:latin typeface="Hepta Slab SemiBold"/>
              </a:rPr>
              <a:t>GŁÓWNE OBSZARY NASZEJ DZIAŁALNOŚCI</a:t>
            </a:r>
          </a:p>
        </p:txBody>
      </p:sp>
    </p:spTree>
    <p:extLst>
      <p:ext uri="{BB962C8B-B14F-4D97-AF65-F5344CB8AC3E}">
        <p14:creationId xmlns:p14="http://schemas.microsoft.com/office/powerpoint/2010/main" val="37416961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BD89D3B-C827-48D3-B377-1ACDBA6E44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3" imgH="416" progId="TCLayout.ActiveDocument.1">
                  <p:embed/>
                </p:oleObj>
              </mc:Choice>
              <mc:Fallback>
                <p:oleObj name="think-cell Slide" r:id="rId5" imgW="413" imgH="416" progId="TCLayout.ActiveDocument.1">
                  <p:embed/>
                  <p:pic>
                    <p:nvPicPr>
                      <p:cNvPr id="8" name="Object 7" hidden="1">
                        <a:extLst>
                          <a:ext uri="{FF2B5EF4-FFF2-40B4-BE49-F238E27FC236}">
                            <a16:creationId xmlns:a16="http://schemas.microsoft.com/office/drawing/2014/main" id="{1BD89D3B-C827-48D3-B377-1ACDBA6E44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4416A3F3-2D1B-4782-926F-9365729F0C9B}"/>
              </a:ext>
            </a:extLst>
          </p:cNvPr>
          <p:cNvSpPr/>
          <p:nvPr>
            <p:custDataLst>
              <p:tags r:id="rId2"/>
            </p:custDataLst>
          </p:nvPr>
        </p:nvSpPr>
        <p:spPr bwMode="auto">
          <a:xfrm>
            <a:off x="0" y="0"/>
            <a:ext cx="158750" cy="158750"/>
          </a:xfrm>
          <a:prstGeom prst="rect">
            <a:avLst/>
          </a:prstGeom>
          <a:solidFill>
            <a:schemeClr val="tx2"/>
          </a:solidFill>
          <a:ln w="317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222222"/>
              </a:solidFill>
              <a:effectLst/>
              <a:uLnTx/>
              <a:uFillTx/>
              <a:latin typeface="Arial" panose="020B0604020202020204" pitchFamily="34" charset="0"/>
              <a:ea typeface="+mn-ea"/>
              <a:cs typeface="+mn-cs"/>
              <a:sym typeface="Arial" panose="020B0604020202020204" pitchFamily="34" charset="0"/>
            </a:endParaRPr>
          </a:p>
        </p:txBody>
      </p:sp>
      <p:pic>
        <p:nvPicPr>
          <p:cNvPr id="9" name="Bildplatzhalter 8" descr="Ein Bild, das draußen, Gebäude, Gras, spielend enthält.&#10;&#10;Automatisch generierte Beschreibung">
            <a:extLst>
              <a:ext uri="{FF2B5EF4-FFF2-40B4-BE49-F238E27FC236}">
                <a16:creationId xmlns:a16="http://schemas.microsoft.com/office/drawing/2014/main" id="{61BBE2D7-4A6B-4F77-ACFB-6307A1D02BA1}"/>
              </a:ext>
            </a:extLst>
          </p:cNvPr>
          <p:cNvPicPr>
            <a:picLocks noGrp="1" noChangeAspect="1"/>
          </p:cNvPicPr>
          <p:nvPr>
            <p:ph type="pic" sz="quarter" idx="11"/>
          </p:nvPr>
        </p:nvPicPr>
        <p:blipFill rotWithShape="1">
          <a:blip r:embed="rId7" cstate="screen">
            <a:extLst>
              <a:ext uri="{28A0092B-C50C-407E-A947-70E740481C1C}">
                <a14:useLocalDpi xmlns:a14="http://schemas.microsoft.com/office/drawing/2010/main"/>
              </a:ext>
            </a:extLst>
          </a:blip>
          <a:srcRect/>
          <a:stretch/>
        </p:blipFill>
        <p:spPr>
          <a:xfrm>
            <a:off x="5560459" y="1"/>
            <a:ext cx="6631541" cy="6857999"/>
          </a:xfrm>
        </p:spPr>
      </p:pic>
      <p:sp>
        <p:nvSpPr>
          <p:cNvPr id="4" name="Titel 3">
            <a:extLst>
              <a:ext uri="{FF2B5EF4-FFF2-40B4-BE49-F238E27FC236}">
                <a16:creationId xmlns:a16="http://schemas.microsoft.com/office/drawing/2014/main" id="{A4620572-A926-4E96-AA8F-E4669A3EA7C7}"/>
              </a:ext>
            </a:extLst>
          </p:cNvPr>
          <p:cNvSpPr>
            <a:spLocks noGrp="1"/>
          </p:cNvSpPr>
          <p:nvPr>
            <p:ph type="title"/>
          </p:nvPr>
        </p:nvSpPr>
        <p:spPr/>
        <p:txBody>
          <a:bodyPr/>
          <a:lstStyle/>
          <a:p>
            <a:r>
              <a:rPr lang="pl-PL" dirty="0">
                <a:sym typeface="+mj-lt"/>
              </a:rPr>
              <a:t>Bohaterowie w każdym rozmiarze</a:t>
            </a:r>
            <a:br>
              <a:rPr lang="en-US" dirty="0">
                <a:sym typeface="+mj-lt"/>
              </a:rPr>
            </a:br>
            <a:br>
              <a:rPr lang="en-US" sz="1600" dirty="0">
                <a:sym typeface="+mj-lt"/>
              </a:rPr>
            </a:br>
            <a:r>
              <a:rPr lang="en-US" sz="1600" b="0" dirty="0">
                <a:sym typeface="+mj-lt"/>
              </a:rPr>
              <a:t>Thermo Scientific </a:t>
            </a:r>
            <a:r>
              <a:rPr lang="en-US" sz="1600" b="0" dirty="0" err="1">
                <a:sym typeface="+mj-lt"/>
              </a:rPr>
              <a:t>Indiko</a:t>
            </a:r>
            <a:r>
              <a:rPr lang="en-US" sz="1600" b="0" dirty="0">
                <a:sym typeface="+mj-lt"/>
              </a:rPr>
              <a:t> </a:t>
            </a:r>
            <a:r>
              <a:rPr lang="pl-PL" sz="1600" b="0" dirty="0">
                <a:sym typeface="+mj-lt"/>
              </a:rPr>
              <a:t>i</a:t>
            </a:r>
            <a:r>
              <a:rPr lang="en-US" sz="1600" b="0" dirty="0">
                <a:sym typeface="+mj-lt"/>
              </a:rPr>
              <a:t> </a:t>
            </a:r>
            <a:r>
              <a:rPr lang="en-US" sz="1600" b="0" dirty="0" err="1">
                <a:sym typeface="+mj-lt"/>
              </a:rPr>
              <a:t>Indiko</a:t>
            </a:r>
            <a:r>
              <a:rPr lang="en-US" sz="1600" b="0" dirty="0">
                <a:sym typeface="+mj-lt"/>
              </a:rPr>
              <a:t> Plus</a:t>
            </a:r>
            <a:r>
              <a:rPr lang="pl-PL" sz="1600" b="0" dirty="0">
                <a:sym typeface="+mj-lt"/>
              </a:rPr>
              <a:t>, analizatory do rutynowych oraz specjalistycznych badań chemii klinicznej</a:t>
            </a:r>
            <a:endParaRPr lang="en-US" sz="1600" dirty="0">
              <a:sym typeface="+mj-lt"/>
            </a:endParaRPr>
          </a:p>
        </p:txBody>
      </p:sp>
    </p:spTree>
    <p:extLst>
      <p:ext uri="{BB962C8B-B14F-4D97-AF65-F5344CB8AC3E}">
        <p14:creationId xmlns:p14="http://schemas.microsoft.com/office/powerpoint/2010/main" val="42283771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7">
            <a:extLst>
              <a:ext uri="{FF2B5EF4-FFF2-40B4-BE49-F238E27FC236}">
                <a16:creationId xmlns:a16="http://schemas.microsoft.com/office/drawing/2014/main" id="{DE64F3F5-6549-DDEC-AD98-5E445CD2BAA8}"/>
              </a:ext>
            </a:extLst>
          </p:cNvPr>
          <p:cNvSpPr txBox="1">
            <a:spLocks/>
          </p:cNvSpPr>
          <p:nvPr/>
        </p:nvSpPr>
        <p:spPr>
          <a:xfrm>
            <a:off x="304801" y="304799"/>
            <a:ext cx="9753600" cy="381001"/>
          </a:xfrm>
          <a:prstGeom prst="rect">
            <a:avLst/>
          </a:prstGeom>
        </p:spPr>
        <p:txBody>
          <a:bodyPr/>
          <a:lstStyle>
            <a:lvl1pPr lvl="0" algn="l" rtl="0">
              <a:lnSpc>
                <a:spcPct val="90000"/>
              </a:lnSpc>
              <a:spcBef>
                <a:spcPct val="0"/>
              </a:spcBef>
              <a:buNone/>
              <a:defRPr lang="en-US" sz="4400" dirty="0">
                <a:solidFill>
                  <a:schemeClr val="tx1"/>
                </a:solidFill>
                <a:latin typeface="+mj-lt"/>
              </a:defRPr>
            </a:lvl1pPr>
          </a:lstStyle>
          <a:p>
            <a:pPr algn="ctr"/>
            <a:r>
              <a:rPr lang="pl-PL" sz="3600" dirty="0">
                <a:solidFill>
                  <a:srgbClr val="C00000"/>
                </a:solidFill>
                <a:sym typeface="+mj-lt"/>
              </a:rPr>
              <a:t>Wyposaż swoje laboratorium w analizatory </a:t>
            </a:r>
            <a:r>
              <a:rPr lang="pl-PL" sz="3600" dirty="0" err="1">
                <a:solidFill>
                  <a:srgbClr val="C00000"/>
                </a:solidFill>
                <a:sym typeface="+mj-lt"/>
              </a:rPr>
              <a:t>Indiko</a:t>
            </a:r>
            <a:endParaRPr lang="pl-PL" sz="3600" dirty="0">
              <a:solidFill>
                <a:srgbClr val="C00000"/>
              </a:solidFill>
              <a:sym typeface="+mj-lt"/>
            </a:endParaRPr>
          </a:p>
          <a:p>
            <a:endParaRPr lang="en-US" dirty="0">
              <a:sym typeface="+mj-lt"/>
            </a:endParaRPr>
          </a:p>
        </p:txBody>
      </p:sp>
      <p:sp>
        <p:nvSpPr>
          <p:cNvPr id="5" name="Foliennummernplatzhalter 5">
            <a:extLst>
              <a:ext uri="{FF2B5EF4-FFF2-40B4-BE49-F238E27FC236}">
                <a16:creationId xmlns:a16="http://schemas.microsoft.com/office/drawing/2014/main" id="{5BA469AA-E031-9232-C2A1-7018C4133816}"/>
              </a:ext>
            </a:extLst>
          </p:cNvPr>
          <p:cNvSpPr txBox="1">
            <a:spLocks/>
          </p:cNvSpPr>
          <p:nvPr/>
        </p:nvSpPr>
        <p:spPr>
          <a:xfrm>
            <a:off x="1" y="6553200"/>
            <a:ext cx="304799" cy="304799"/>
          </a:xfrm>
          <a:prstGeom prst="rect">
            <a:avLst/>
          </a:prstGeom>
        </p:spPr>
        <p:txBody>
          <a:bodyPr/>
          <a:lstStyle>
            <a:defPPr>
              <a:defRPr lang="en-US"/>
            </a:defPPr>
            <a:lvl1pPr lvl="0" algn="l" rtl="0">
              <a:defRPr lang="en-US" sz="1800" dirty="0">
                <a:solidFill>
                  <a:schemeClr val="tx1"/>
                </a:solidFill>
                <a:latin typeface="+mn-lt"/>
              </a:defRPr>
            </a:lvl1pPr>
            <a:lvl2pPr marL="457200" lvl="1" algn="l" rtl="0">
              <a:defRPr lang="en-US" sz="1800" dirty="0">
                <a:solidFill>
                  <a:schemeClr val="tx1"/>
                </a:solidFill>
                <a:latin typeface="+mn-lt"/>
              </a:defRPr>
            </a:lvl2pPr>
            <a:lvl3pPr marL="914400" lvl="2" algn="l" rtl="0">
              <a:defRPr lang="en-US" sz="1800" dirty="0">
                <a:solidFill>
                  <a:schemeClr val="tx1"/>
                </a:solidFill>
                <a:latin typeface="+mn-lt"/>
              </a:defRPr>
            </a:lvl3pPr>
            <a:lvl4pPr marL="1371600" lvl="3" algn="l" rtl="0">
              <a:defRPr lang="en-US" sz="1800" dirty="0">
                <a:solidFill>
                  <a:schemeClr val="tx1"/>
                </a:solidFill>
                <a:latin typeface="+mn-lt"/>
              </a:defRPr>
            </a:lvl4pPr>
            <a:lvl5pPr marL="1828800" lvl="4" algn="l" rtl="0">
              <a:defRPr lang="en-US" sz="1800" dirty="0">
                <a:solidFill>
                  <a:schemeClr val="tx1"/>
                </a:solidFill>
                <a:latin typeface="+mn-lt"/>
              </a:defRPr>
            </a:lvl5pPr>
            <a:lvl6pPr marL="2286000" lvl="5" algn="l" rtl="0">
              <a:defRPr lang="en-US" sz="1800" dirty="0">
                <a:solidFill>
                  <a:schemeClr val="tx1"/>
                </a:solidFill>
                <a:latin typeface="+mn-lt"/>
              </a:defRPr>
            </a:lvl6pPr>
            <a:lvl7pPr marL="2743200" lvl="6" algn="l" rtl="0">
              <a:defRPr lang="en-US" sz="1800" dirty="0">
                <a:solidFill>
                  <a:schemeClr val="tx1"/>
                </a:solidFill>
                <a:latin typeface="+mn-lt"/>
              </a:defRPr>
            </a:lvl7pPr>
            <a:lvl8pPr marL="3200400" lvl="7" algn="l" rtl="0">
              <a:defRPr lang="en-US" sz="1800" dirty="0">
                <a:solidFill>
                  <a:schemeClr val="tx1"/>
                </a:solidFill>
                <a:latin typeface="+mn-lt"/>
              </a:defRPr>
            </a:lvl8pPr>
            <a:lvl9pPr marL="3657600" lvl="8" algn="l" rtl="0">
              <a:defRPr lang="en-US" sz="1800" dirty="0">
                <a:solidFill>
                  <a:schemeClr val="tx1"/>
                </a:solidFill>
                <a:latin typeface="+mn-lt"/>
              </a:defRPr>
            </a:lvl9pPr>
          </a:lstStyle>
          <a:p>
            <a:fld id="{89006F1E-66CD-4A4B-9370-B4A3080F0E6C}" type="slidenum">
              <a:rPr lang="pl-PL" smtClean="0">
                <a:sym typeface="+mn-lt"/>
              </a:rPr>
              <a:pPr/>
              <a:t>6</a:t>
            </a:fld>
            <a:endParaRPr lang="pl-PL">
              <a:sym typeface="+mn-lt"/>
            </a:endParaRPr>
          </a:p>
        </p:txBody>
      </p:sp>
      <p:sp>
        <p:nvSpPr>
          <p:cNvPr id="6" name="Fußzeilenplatzhalter 4">
            <a:extLst>
              <a:ext uri="{FF2B5EF4-FFF2-40B4-BE49-F238E27FC236}">
                <a16:creationId xmlns:a16="http://schemas.microsoft.com/office/drawing/2014/main" id="{D4997147-CB24-9EBD-D8F2-FB5EA8BB6C20}"/>
              </a:ext>
            </a:extLst>
          </p:cNvPr>
          <p:cNvSpPr txBox="1">
            <a:spLocks/>
          </p:cNvSpPr>
          <p:nvPr/>
        </p:nvSpPr>
        <p:spPr>
          <a:xfrm>
            <a:off x="226975" y="6485105"/>
            <a:ext cx="11582399" cy="304800"/>
          </a:xfrm>
          <a:prstGeom prst="rect">
            <a:avLst/>
          </a:prstGeom>
        </p:spPr>
        <p:txBody>
          <a:bodyPr/>
          <a:lstStyle>
            <a:defPPr>
              <a:defRPr lang="en-US"/>
            </a:defPPr>
            <a:lvl1pPr lvl="0" algn="l" rtl="0">
              <a:defRPr lang="en-US" sz="1800" dirty="0">
                <a:solidFill>
                  <a:schemeClr val="tx1"/>
                </a:solidFill>
                <a:latin typeface="+mn-lt"/>
              </a:defRPr>
            </a:lvl1pPr>
            <a:lvl2pPr marL="457200" lvl="1" algn="l" rtl="0">
              <a:defRPr lang="en-US" sz="1800" dirty="0">
                <a:solidFill>
                  <a:schemeClr val="tx1"/>
                </a:solidFill>
                <a:latin typeface="+mn-lt"/>
              </a:defRPr>
            </a:lvl2pPr>
            <a:lvl3pPr marL="914400" lvl="2" algn="l" rtl="0">
              <a:defRPr lang="en-US" sz="1800" dirty="0">
                <a:solidFill>
                  <a:schemeClr val="tx1"/>
                </a:solidFill>
                <a:latin typeface="+mn-lt"/>
              </a:defRPr>
            </a:lvl3pPr>
            <a:lvl4pPr marL="1371600" lvl="3" algn="l" rtl="0">
              <a:defRPr lang="en-US" sz="1800" dirty="0">
                <a:solidFill>
                  <a:schemeClr val="tx1"/>
                </a:solidFill>
                <a:latin typeface="+mn-lt"/>
              </a:defRPr>
            </a:lvl4pPr>
            <a:lvl5pPr marL="1828800" lvl="4" algn="l" rtl="0">
              <a:defRPr lang="en-US" sz="1800" dirty="0">
                <a:solidFill>
                  <a:schemeClr val="tx1"/>
                </a:solidFill>
                <a:latin typeface="+mn-lt"/>
              </a:defRPr>
            </a:lvl5pPr>
            <a:lvl6pPr marL="2286000" lvl="5" algn="l" rtl="0">
              <a:defRPr lang="en-US" sz="1800" dirty="0">
                <a:solidFill>
                  <a:schemeClr val="tx1"/>
                </a:solidFill>
                <a:latin typeface="+mn-lt"/>
              </a:defRPr>
            </a:lvl6pPr>
            <a:lvl7pPr marL="2743200" lvl="6" algn="l" rtl="0">
              <a:defRPr lang="en-US" sz="1800" dirty="0">
                <a:solidFill>
                  <a:schemeClr val="tx1"/>
                </a:solidFill>
                <a:latin typeface="+mn-lt"/>
              </a:defRPr>
            </a:lvl7pPr>
            <a:lvl8pPr marL="3200400" lvl="7" algn="l" rtl="0">
              <a:defRPr lang="en-US" sz="1800" dirty="0">
                <a:solidFill>
                  <a:schemeClr val="tx1"/>
                </a:solidFill>
                <a:latin typeface="+mn-lt"/>
              </a:defRPr>
            </a:lvl8pPr>
            <a:lvl9pPr marL="3657600" lvl="8" algn="l" rtl="0">
              <a:defRPr lang="en-US" sz="1800" dirty="0">
                <a:solidFill>
                  <a:schemeClr val="tx1"/>
                </a:solidFill>
                <a:latin typeface="+mn-lt"/>
              </a:defRPr>
            </a:lvl9pPr>
          </a:lstStyle>
          <a:p>
            <a:endParaRPr lang="en-US"/>
          </a:p>
          <a:p>
            <a:r>
              <a:rPr lang="en-US"/>
              <a:t>Thermo Fisher Scientific products are distributed globally, so uses, applications, and availability of product in each country depend on local regulatory marketing authorization status. </a:t>
            </a:r>
            <a:r>
              <a:rPr lang="en-US">
                <a:sym typeface="+mn-lt"/>
              </a:rPr>
              <a:t>| system.support.fi@thermofisher.com | </a:t>
            </a:r>
            <a:r>
              <a:rPr lang="en-US"/>
              <a:t>September 2020</a:t>
            </a:r>
            <a:endParaRPr lang="en-US">
              <a:sym typeface="+mn-lt"/>
            </a:endParaRPr>
          </a:p>
        </p:txBody>
      </p:sp>
      <p:pic>
        <p:nvPicPr>
          <p:cNvPr id="7" name="Inhaltsplatzhalter 8" descr="Ein Bild, das Drucker, sitzend, klein, Tisch enthält.&#10;&#10;Automatisch generierte Beschreibung">
            <a:extLst>
              <a:ext uri="{FF2B5EF4-FFF2-40B4-BE49-F238E27FC236}">
                <a16:creationId xmlns:a16="http://schemas.microsoft.com/office/drawing/2014/main" id="{530E3FCC-7E27-C73F-E157-D8A8F7E52C5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auto">
          <a:xfrm>
            <a:off x="1295400" y="1419515"/>
            <a:ext cx="3385593" cy="2562490"/>
          </a:xfrm>
          <a:prstGeom prst="rect">
            <a:avLst/>
          </a:prstGeom>
          <a:noFill/>
          <a:ln w="9525">
            <a:noFill/>
            <a:miter lim="800000"/>
            <a:headEnd/>
            <a:tailEnd/>
          </a:ln>
        </p:spPr>
      </p:pic>
      <p:pic>
        <p:nvPicPr>
          <p:cNvPr id="8" name="Grafik 11" descr="Ein Bild, das Drucker, Elektronik enthält.&#10;&#10;Automatisch generierte Beschreibung">
            <a:extLst>
              <a:ext uri="{FF2B5EF4-FFF2-40B4-BE49-F238E27FC236}">
                <a16:creationId xmlns:a16="http://schemas.microsoft.com/office/drawing/2014/main" id="{2BC4C1FD-69C2-9CDE-8456-538386D71BE1}"/>
              </a:ext>
            </a:extLst>
          </p:cNvPr>
          <p:cNvPicPr>
            <a:picLocks noChangeAspect="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018173" y="1419515"/>
            <a:ext cx="4301741" cy="2660191"/>
          </a:xfrm>
          <a:prstGeom prst="rect">
            <a:avLst/>
          </a:prstGeom>
        </p:spPr>
      </p:pic>
      <p:sp>
        <p:nvSpPr>
          <p:cNvPr id="9" name="Inhaltsplatzhalter 1">
            <a:extLst>
              <a:ext uri="{FF2B5EF4-FFF2-40B4-BE49-F238E27FC236}">
                <a16:creationId xmlns:a16="http://schemas.microsoft.com/office/drawing/2014/main" id="{55FD67CA-AFE8-2A27-24AE-46B910ACBB68}"/>
              </a:ext>
            </a:extLst>
          </p:cNvPr>
          <p:cNvSpPr txBox="1">
            <a:spLocks/>
          </p:cNvSpPr>
          <p:nvPr/>
        </p:nvSpPr>
        <p:spPr bwMode="auto">
          <a:xfrm>
            <a:off x="1600200" y="4034130"/>
            <a:ext cx="2916820"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188913" indent="-188913" algn="l" defTabSz="171450" rtl="0" eaLnBrk="1" fontAlgn="base" hangingPunct="1">
              <a:spcBef>
                <a:spcPct val="0"/>
              </a:spcBef>
              <a:spcAft>
                <a:spcPts val="600"/>
              </a:spcAft>
              <a:buClr>
                <a:schemeClr val="accent4"/>
              </a:buClr>
              <a:buChar char="•"/>
              <a:defRPr sz="2000" b="0">
                <a:solidFill>
                  <a:schemeClr val="tx1"/>
                </a:solidFill>
                <a:latin typeface="+mn-lt"/>
                <a:ea typeface="ＭＳ Ｐゴシック" pitchFamily="-60" charset="-128"/>
                <a:cs typeface="ＭＳ Ｐゴシック" pitchFamily="-60" charset="-128"/>
              </a:defRPr>
            </a:lvl1pPr>
            <a:lvl2pPr marL="342900" indent="-171450" algn="l" defTabSz="342900" rtl="0" eaLnBrk="1" fontAlgn="base" hangingPunct="1">
              <a:spcBef>
                <a:spcPct val="0"/>
              </a:spcBef>
              <a:spcAft>
                <a:spcPts val="600"/>
              </a:spcAft>
              <a:buClr>
                <a:schemeClr val="accent5">
                  <a:lumMod val="75000"/>
                </a:schemeClr>
              </a:buClr>
              <a:buFont typeface="Arial" pitchFamily="34" charset="0"/>
              <a:buChar char="•"/>
              <a:defRPr sz="1800" baseline="0">
                <a:solidFill>
                  <a:schemeClr val="tx1"/>
                </a:solidFill>
                <a:latin typeface="+mn-lt"/>
                <a:ea typeface="ＭＳ Ｐゴシック" pitchFamily="124" charset="-128"/>
              </a:defRPr>
            </a:lvl2pPr>
            <a:lvl3pPr marL="571500" indent="-171450" algn="l" defTabSz="571500" rtl="0" eaLnBrk="1" fontAlgn="base" hangingPunct="1">
              <a:spcBef>
                <a:spcPct val="0"/>
              </a:spcBef>
              <a:spcAft>
                <a:spcPts val="600"/>
              </a:spcAft>
              <a:buClr>
                <a:schemeClr val="accent5">
                  <a:lumMod val="75000"/>
                </a:schemeClr>
              </a:buClr>
              <a:buFont typeface="Arial" pitchFamily="34" charset="0"/>
              <a:buChar char="•"/>
              <a:defRPr sz="1600">
                <a:solidFill>
                  <a:schemeClr val="tx1"/>
                </a:solidFill>
                <a:latin typeface="+mn-lt"/>
                <a:ea typeface="ＭＳ Ｐゴシック" pitchFamily="124" charset="-128"/>
              </a:defRPr>
            </a:lvl3pPr>
            <a:lvl4pPr marL="1317625" indent="-203200" algn="l" rtl="0" eaLnBrk="1" fontAlgn="base" hangingPunct="1">
              <a:spcBef>
                <a:spcPct val="0"/>
              </a:spcBef>
              <a:spcAft>
                <a:spcPct val="20000"/>
              </a:spcAft>
              <a:buFont typeface="Symbol" pitchFamily="18" charset="2"/>
              <a:buChar char="-"/>
              <a:defRPr sz="1600">
                <a:solidFill>
                  <a:schemeClr val="tx1"/>
                </a:solidFill>
                <a:latin typeface="+mn-lt"/>
                <a:ea typeface="ＭＳ Ｐゴシック" pitchFamily="124" charset="-128"/>
              </a:defRPr>
            </a:lvl4pPr>
            <a:lvl5pPr marL="17160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5pPr>
            <a:lvl6pPr marL="21732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6pPr>
            <a:lvl7pPr marL="26304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7pPr>
            <a:lvl8pPr marL="30876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8pPr>
            <a:lvl9pPr marL="35448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9pPr>
          </a:lstStyle>
          <a:p>
            <a:pPr marL="0" indent="0" algn="ctr">
              <a:buFontTx/>
              <a:buNone/>
            </a:pPr>
            <a:r>
              <a:rPr lang="en-US" sz="1600" b="1" kern="0" dirty="0">
                <a:ea typeface="+mn-ea"/>
                <a:cs typeface="+mn-cs"/>
                <a:sym typeface="+mn-lt"/>
              </a:rPr>
              <a:t>Thermo Scientific </a:t>
            </a:r>
            <a:r>
              <a:rPr lang="en-US" sz="1600" b="1" kern="0" dirty="0" err="1">
                <a:ea typeface="+mn-ea"/>
                <a:cs typeface="+mn-cs"/>
                <a:sym typeface="+mn-lt"/>
              </a:rPr>
              <a:t>Indiko</a:t>
            </a:r>
            <a:endParaRPr lang="en-US" sz="1600" b="1" kern="0" dirty="0">
              <a:ea typeface="+mn-ea"/>
              <a:cs typeface="+mn-cs"/>
              <a:sym typeface="+mn-lt"/>
            </a:endParaRPr>
          </a:p>
        </p:txBody>
      </p:sp>
      <p:sp>
        <p:nvSpPr>
          <p:cNvPr id="10" name="Inhaltsplatzhalter 1">
            <a:extLst>
              <a:ext uri="{FF2B5EF4-FFF2-40B4-BE49-F238E27FC236}">
                <a16:creationId xmlns:a16="http://schemas.microsoft.com/office/drawing/2014/main" id="{235365DC-B538-3196-3A1F-EF25141226E3}"/>
              </a:ext>
            </a:extLst>
          </p:cNvPr>
          <p:cNvSpPr txBox="1">
            <a:spLocks/>
          </p:cNvSpPr>
          <p:nvPr/>
        </p:nvSpPr>
        <p:spPr bwMode="auto">
          <a:xfrm>
            <a:off x="6276582" y="4034130"/>
            <a:ext cx="3784922"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188913" indent="-188913" algn="l" defTabSz="171450" rtl="0" eaLnBrk="1" fontAlgn="base" hangingPunct="1">
              <a:spcBef>
                <a:spcPct val="0"/>
              </a:spcBef>
              <a:spcAft>
                <a:spcPts val="600"/>
              </a:spcAft>
              <a:buClr>
                <a:schemeClr val="accent4"/>
              </a:buClr>
              <a:buChar char="•"/>
              <a:defRPr sz="2000" b="0">
                <a:solidFill>
                  <a:schemeClr val="tx1"/>
                </a:solidFill>
                <a:latin typeface="+mn-lt"/>
                <a:ea typeface="ＭＳ Ｐゴシック" pitchFamily="-60" charset="-128"/>
                <a:cs typeface="ＭＳ Ｐゴシック" pitchFamily="-60" charset="-128"/>
              </a:defRPr>
            </a:lvl1pPr>
            <a:lvl2pPr marL="342900" indent="-171450" algn="l" defTabSz="342900" rtl="0" eaLnBrk="1" fontAlgn="base" hangingPunct="1">
              <a:spcBef>
                <a:spcPct val="0"/>
              </a:spcBef>
              <a:spcAft>
                <a:spcPts val="600"/>
              </a:spcAft>
              <a:buClr>
                <a:schemeClr val="accent5">
                  <a:lumMod val="75000"/>
                </a:schemeClr>
              </a:buClr>
              <a:buFont typeface="Arial" pitchFamily="34" charset="0"/>
              <a:buChar char="•"/>
              <a:defRPr sz="1800" baseline="0">
                <a:solidFill>
                  <a:schemeClr val="tx1"/>
                </a:solidFill>
                <a:latin typeface="+mn-lt"/>
                <a:ea typeface="ＭＳ Ｐゴシック" pitchFamily="124" charset="-128"/>
              </a:defRPr>
            </a:lvl2pPr>
            <a:lvl3pPr marL="571500" indent="-171450" algn="l" defTabSz="571500" rtl="0" eaLnBrk="1" fontAlgn="base" hangingPunct="1">
              <a:spcBef>
                <a:spcPct val="0"/>
              </a:spcBef>
              <a:spcAft>
                <a:spcPts val="600"/>
              </a:spcAft>
              <a:buClr>
                <a:schemeClr val="accent5">
                  <a:lumMod val="75000"/>
                </a:schemeClr>
              </a:buClr>
              <a:buFont typeface="Arial" pitchFamily="34" charset="0"/>
              <a:buChar char="•"/>
              <a:defRPr sz="1600">
                <a:solidFill>
                  <a:schemeClr val="tx1"/>
                </a:solidFill>
                <a:latin typeface="+mn-lt"/>
                <a:ea typeface="ＭＳ Ｐゴシック" pitchFamily="124" charset="-128"/>
              </a:defRPr>
            </a:lvl3pPr>
            <a:lvl4pPr marL="1317625" indent="-203200" algn="l" rtl="0" eaLnBrk="1" fontAlgn="base" hangingPunct="1">
              <a:spcBef>
                <a:spcPct val="0"/>
              </a:spcBef>
              <a:spcAft>
                <a:spcPct val="20000"/>
              </a:spcAft>
              <a:buFont typeface="Symbol" pitchFamily="18" charset="2"/>
              <a:buChar char="-"/>
              <a:defRPr sz="1600">
                <a:solidFill>
                  <a:schemeClr val="tx1"/>
                </a:solidFill>
                <a:latin typeface="+mn-lt"/>
                <a:ea typeface="ＭＳ Ｐゴシック" pitchFamily="124" charset="-128"/>
              </a:defRPr>
            </a:lvl4pPr>
            <a:lvl5pPr marL="17160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5pPr>
            <a:lvl6pPr marL="21732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6pPr>
            <a:lvl7pPr marL="26304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7pPr>
            <a:lvl8pPr marL="30876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8pPr>
            <a:lvl9pPr marL="35448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9pPr>
          </a:lstStyle>
          <a:p>
            <a:pPr marL="0" indent="0" algn="ctr">
              <a:buFontTx/>
              <a:buNone/>
            </a:pPr>
            <a:r>
              <a:rPr lang="en-US" sz="1600" b="1" kern="0" dirty="0">
                <a:ea typeface="+mn-ea"/>
                <a:cs typeface="+mn-cs"/>
                <a:sym typeface="+mn-lt"/>
              </a:rPr>
              <a:t>Thermo Scientific </a:t>
            </a:r>
            <a:r>
              <a:rPr lang="en-US" sz="1600" b="1" kern="0" dirty="0" err="1">
                <a:ea typeface="+mn-ea"/>
                <a:cs typeface="+mn-cs"/>
                <a:sym typeface="+mn-lt"/>
              </a:rPr>
              <a:t>Indiko</a:t>
            </a:r>
            <a:r>
              <a:rPr lang="en-US" sz="1600" b="1" kern="0" dirty="0">
                <a:ea typeface="+mn-ea"/>
                <a:cs typeface="+mn-cs"/>
                <a:sym typeface="+mn-lt"/>
              </a:rPr>
              <a:t> Plus</a:t>
            </a:r>
          </a:p>
        </p:txBody>
      </p:sp>
      <p:sp>
        <p:nvSpPr>
          <p:cNvPr id="11" name="Parallelogram 47">
            <a:extLst>
              <a:ext uri="{FF2B5EF4-FFF2-40B4-BE49-F238E27FC236}">
                <a16:creationId xmlns:a16="http://schemas.microsoft.com/office/drawing/2014/main" id="{A45508EC-47CC-B895-84D4-03A0FF3FFDBB}"/>
              </a:ext>
            </a:extLst>
          </p:cNvPr>
          <p:cNvSpPr/>
          <p:nvPr/>
        </p:nvSpPr>
        <p:spPr bwMode="auto">
          <a:xfrm>
            <a:off x="226975" y="4354163"/>
            <a:ext cx="11582397" cy="1502176"/>
          </a:xfrm>
          <a:prstGeom prst="parallelogram">
            <a:avLst>
              <a:gd name="adj" fmla="val 31844"/>
            </a:avLst>
          </a:prstGeom>
          <a:solidFill>
            <a:schemeClr val="accent1"/>
          </a:solidFill>
          <a:ln w="317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indent="0" algn="ctr">
              <a:lnSpc>
                <a:spcPct val="120000"/>
              </a:lnSpc>
              <a:buNone/>
            </a:pPr>
            <a:r>
              <a:rPr lang="en-US" sz="2000" dirty="0">
                <a:solidFill>
                  <a:schemeClr val="bg1"/>
                </a:solidFill>
                <a:sym typeface="+mn-lt"/>
              </a:rPr>
              <a:t>Thermo Scientific</a:t>
            </a:r>
            <a:r>
              <a:rPr lang="en-US" sz="2000" baseline="30000" dirty="0">
                <a:solidFill>
                  <a:schemeClr val="bg1"/>
                </a:solidFill>
                <a:sym typeface="+mn-lt"/>
              </a:rPr>
              <a:t>™</a:t>
            </a:r>
            <a:r>
              <a:rPr lang="en-US" sz="2000" dirty="0">
                <a:solidFill>
                  <a:schemeClr val="bg1"/>
                </a:solidFill>
                <a:sym typeface="+mn-lt"/>
              </a:rPr>
              <a:t> </a:t>
            </a:r>
            <a:r>
              <a:rPr lang="en-US" sz="2000" dirty="0" err="1">
                <a:solidFill>
                  <a:schemeClr val="bg1"/>
                </a:solidFill>
                <a:sym typeface="+mn-lt"/>
              </a:rPr>
              <a:t>Indiko</a:t>
            </a:r>
            <a:r>
              <a:rPr lang="en-US" sz="2000" baseline="30000" dirty="0">
                <a:solidFill>
                  <a:schemeClr val="bg1"/>
                </a:solidFill>
                <a:sym typeface="+mn-lt"/>
              </a:rPr>
              <a:t>™</a:t>
            </a:r>
            <a:r>
              <a:rPr lang="en-US" sz="2000" dirty="0">
                <a:solidFill>
                  <a:schemeClr val="bg1"/>
                </a:solidFill>
                <a:sym typeface="+mn-lt"/>
              </a:rPr>
              <a:t> </a:t>
            </a:r>
            <a:r>
              <a:rPr lang="pl-PL" sz="2000" dirty="0">
                <a:solidFill>
                  <a:schemeClr val="bg1"/>
                </a:solidFill>
                <a:sym typeface="+mn-lt"/>
              </a:rPr>
              <a:t>i</a:t>
            </a:r>
            <a:r>
              <a:rPr lang="en-US" sz="2000" dirty="0">
                <a:solidFill>
                  <a:schemeClr val="bg1"/>
                </a:solidFill>
                <a:sym typeface="+mn-lt"/>
              </a:rPr>
              <a:t> </a:t>
            </a:r>
            <a:r>
              <a:rPr lang="en-US" sz="2000" dirty="0" err="1">
                <a:solidFill>
                  <a:schemeClr val="bg1"/>
                </a:solidFill>
                <a:sym typeface="+mn-lt"/>
              </a:rPr>
              <a:t>Indiko</a:t>
            </a:r>
            <a:r>
              <a:rPr lang="en-US" sz="2000" dirty="0">
                <a:solidFill>
                  <a:schemeClr val="bg1"/>
                </a:solidFill>
                <a:sym typeface="+mn-lt"/>
              </a:rPr>
              <a:t> Plus </a:t>
            </a:r>
            <a:r>
              <a:rPr lang="pl-PL" sz="2000" dirty="0">
                <a:solidFill>
                  <a:schemeClr val="bg1"/>
                </a:solidFill>
                <a:sym typeface="+mn-lt"/>
              </a:rPr>
              <a:t>to w pełni automatyczne analizatory </a:t>
            </a:r>
            <a:r>
              <a:rPr lang="pl-PL" sz="2000" dirty="0" err="1">
                <a:solidFill>
                  <a:schemeClr val="bg1"/>
                </a:solidFill>
                <a:sym typeface="+mn-lt"/>
              </a:rPr>
              <a:t>nablatowe</a:t>
            </a:r>
            <a:r>
              <a:rPr lang="pl-PL" sz="2000" dirty="0">
                <a:solidFill>
                  <a:schemeClr val="bg1"/>
                </a:solidFill>
                <a:sym typeface="+mn-lt"/>
              </a:rPr>
              <a:t> wolnego dostępu dla laboratoriów każdego rozmiaru. Oferują maksymalną wygodę pracy, wiarygodność i oszczędność </a:t>
            </a:r>
            <a:r>
              <a:rPr lang="en-US" sz="2000" dirty="0">
                <a:solidFill>
                  <a:schemeClr val="bg1"/>
                </a:solidFill>
                <a:sym typeface="+mn-lt"/>
              </a:rPr>
              <a:t>.</a:t>
            </a:r>
          </a:p>
        </p:txBody>
      </p:sp>
    </p:spTree>
    <p:extLst>
      <p:ext uri="{BB962C8B-B14F-4D97-AF65-F5344CB8AC3E}">
        <p14:creationId xmlns:p14="http://schemas.microsoft.com/office/powerpoint/2010/main" val="14450870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3CFC270-5488-40F8-B22B-69033B6A4F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11" name="Object 10" hidden="1">
                        <a:extLst>
                          <a:ext uri="{FF2B5EF4-FFF2-40B4-BE49-F238E27FC236}">
                            <a16:creationId xmlns:a16="http://schemas.microsoft.com/office/drawing/2014/main" id="{33CFC270-5488-40F8-B22B-69033B6A4F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Bildplatzhalter 11" descr="Ein Bild, das drinnen, Person, Schrank, Küche enthält.&#10;&#10;Automatisch generierte Beschreibung">
            <a:extLst>
              <a:ext uri="{FF2B5EF4-FFF2-40B4-BE49-F238E27FC236}">
                <a16:creationId xmlns:a16="http://schemas.microsoft.com/office/drawing/2014/main" id="{C28694F3-6B1A-498B-99E0-1FAB60E32914}"/>
              </a:ext>
            </a:extLst>
          </p:cNvPr>
          <p:cNvPicPr>
            <a:picLocks noGrp="1" noChangeAspect="1"/>
          </p:cNvPicPr>
          <p:nvPr>
            <p:ph type="pic" sz="quarter" idx="13"/>
          </p:nvPr>
        </p:nvPicPr>
        <p:blipFill rotWithShape="1">
          <a:blip r:embed="rId6" cstate="screen">
            <a:extLst>
              <a:ext uri="{28A0092B-C50C-407E-A947-70E740481C1C}">
                <a14:useLocalDpi xmlns:a14="http://schemas.microsoft.com/office/drawing/2010/main"/>
              </a:ext>
            </a:extLst>
          </a:blip>
          <a:srcRect/>
          <a:stretch/>
        </p:blipFill>
        <p:spPr/>
      </p:pic>
      <p:sp>
        <p:nvSpPr>
          <p:cNvPr id="9" name="Inhaltsplatzhalter 8">
            <a:extLst>
              <a:ext uri="{FF2B5EF4-FFF2-40B4-BE49-F238E27FC236}">
                <a16:creationId xmlns:a16="http://schemas.microsoft.com/office/drawing/2014/main" id="{8177147F-6D2D-41D9-9808-5E957F7895C4}"/>
              </a:ext>
            </a:extLst>
          </p:cNvPr>
          <p:cNvSpPr>
            <a:spLocks noGrp="1"/>
          </p:cNvSpPr>
          <p:nvPr>
            <p:ph sz="quarter" idx="15"/>
          </p:nvPr>
        </p:nvSpPr>
        <p:spPr>
          <a:xfrm>
            <a:off x="0" y="4129990"/>
            <a:ext cx="6096000" cy="683264"/>
          </a:xfrm>
        </p:spPr>
        <p:txBody>
          <a:bodyPr>
            <a:spAutoFit/>
          </a:bodyPr>
          <a:lstStyle/>
          <a:p>
            <a:r>
              <a:rPr lang="en-US" dirty="0">
                <a:sym typeface="+mn-lt"/>
              </a:rPr>
              <a:t>1. </a:t>
            </a:r>
            <a:r>
              <a:rPr lang="pl-PL" dirty="0">
                <a:sym typeface="+mn-lt"/>
              </a:rPr>
              <a:t>Analizatory </a:t>
            </a:r>
            <a:r>
              <a:rPr lang="pl-PL" dirty="0" err="1">
                <a:sym typeface="+mn-lt"/>
              </a:rPr>
              <a:t>Indiko</a:t>
            </a:r>
            <a:endParaRPr lang="en-US" dirty="0">
              <a:sym typeface="+mn-lt"/>
            </a:endParaRPr>
          </a:p>
        </p:txBody>
      </p:sp>
      <p:sp>
        <p:nvSpPr>
          <p:cNvPr id="10" name="Inhaltsplatzhalter 9">
            <a:extLst>
              <a:ext uri="{FF2B5EF4-FFF2-40B4-BE49-F238E27FC236}">
                <a16:creationId xmlns:a16="http://schemas.microsoft.com/office/drawing/2014/main" id="{0D5C8036-21FC-4ED7-8B95-5417D2EF43B7}"/>
              </a:ext>
            </a:extLst>
          </p:cNvPr>
          <p:cNvSpPr>
            <a:spLocks noGrp="1"/>
          </p:cNvSpPr>
          <p:nvPr>
            <p:ph sz="quarter" idx="16"/>
          </p:nvPr>
        </p:nvSpPr>
        <p:spPr>
          <a:xfrm>
            <a:off x="0" y="4813254"/>
            <a:ext cx="6096000" cy="603242"/>
          </a:xfrm>
        </p:spPr>
        <p:txBody>
          <a:bodyPr>
            <a:spAutoFit/>
          </a:bodyPr>
          <a:lstStyle/>
          <a:p>
            <a:r>
              <a:rPr lang="en-US">
                <a:sym typeface="+mn-lt"/>
              </a:rPr>
              <a:t> </a:t>
            </a:r>
            <a:endParaRPr lang="en-US" dirty="0">
              <a:sym typeface="+mn-lt"/>
            </a:endParaRPr>
          </a:p>
        </p:txBody>
      </p:sp>
    </p:spTree>
    <p:extLst>
      <p:ext uri="{BB962C8B-B14F-4D97-AF65-F5344CB8AC3E}">
        <p14:creationId xmlns:p14="http://schemas.microsoft.com/office/powerpoint/2010/main" val="36688325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F1EDC2DB-A507-12FC-5AE2-D106D11C6040}"/>
              </a:ext>
            </a:extLst>
          </p:cNvPr>
          <p:cNvSpPr txBox="1">
            <a:spLocks/>
          </p:cNvSpPr>
          <p:nvPr/>
        </p:nvSpPr>
        <p:spPr>
          <a:xfrm>
            <a:off x="304801" y="304799"/>
            <a:ext cx="9753600" cy="381001"/>
          </a:xfrm>
          <a:prstGeom prst="rect">
            <a:avLst/>
          </a:prstGeom>
        </p:spPr>
        <p:txBody>
          <a:bodyPr/>
          <a:lstStyle>
            <a:lvl1pPr lvl="0" algn="l" rtl="0">
              <a:lnSpc>
                <a:spcPct val="90000"/>
              </a:lnSpc>
              <a:spcBef>
                <a:spcPct val="0"/>
              </a:spcBef>
              <a:buNone/>
              <a:defRPr lang="en-US" sz="4400" dirty="0">
                <a:solidFill>
                  <a:schemeClr val="tx1"/>
                </a:solidFill>
                <a:latin typeface="+mj-lt"/>
              </a:defRPr>
            </a:lvl1pPr>
          </a:lstStyle>
          <a:p>
            <a:r>
              <a:rPr lang="pl-PL" dirty="0">
                <a:solidFill>
                  <a:srgbClr val="C00000"/>
                </a:solidFill>
                <a:sym typeface="+mj-lt"/>
              </a:rPr>
              <a:t>Rodzina analizatorów </a:t>
            </a:r>
            <a:r>
              <a:rPr lang="pl-PL" dirty="0" err="1">
                <a:solidFill>
                  <a:srgbClr val="C00000"/>
                </a:solidFill>
                <a:sym typeface="+mj-lt"/>
              </a:rPr>
              <a:t>Indiko</a:t>
            </a:r>
            <a:endParaRPr lang="pl-PL" dirty="0">
              <a:solidFill>
                <a:srgbClr val="C00000"/>
              </a:solidFill>
              <a:sym typeface="+mj-lt"/>
            </a:endParaRPr>
          </a:p>
        </p:txBody>
      </p:sp>
      <p:grpSp>
        <p:nvGrpSpPr>
          <p:cNvPr id="9" name="Group 22">
            <a:extLst>
              <a:ext uri="{FF2B5EF4-FFF2-40B4-BE49-F238E27FC236}">
                <a16:creationId xmlns:a16="http://schemas.microsoft.com/office/drawing/2014/main" id="{F913B353-BECF-E52B-AFC5-B0BF4780E6DC}"/>
              </a:ext>
            </a:extLst>
          </p:cNvPr>
          <p:cNvGrpSpPr>
            <a:grpSpLocks noChangeAspect="1"/>
          </p:cNvGrpSpPr>
          <p:nvPr/>
        </p:nvGrpSpPr>
        <p:grpSpPr>
          <a:xfrm>
            <a:off x="2743200" y="2514600"/>
            <a:ext cx="8059948" cy="3949559"/>
            <a:chOff x="-696562" y="2155437"/>
            <a:chExt cx="31406506" cy="15389903"/>
          </a:xfrm>
        </p:grpSpPr>
        <p:pic>
          <p:nvPicPr>
            <p:cNvPr id="10" name="Picture 19">
              <a:extLst>
                <a:ext uri="{FF2B5EF4-FFF2-40B4-BE49-F238E27FC236}">
                  <a16:creationId xmlns:a16="http://schemas.microsoft.com/office/drawing/2014/main" id="{C6542212-124A-ED5B-9010-6AAE8023471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43542" y="2155437"/>
              <a:ext cx="23066402" cy="15389903"/>
            </a:xfrm>
            <a:prstGeom prst="rect">
              <a:avLst/>
            </a:prstGeom>
          </p:spPr>
        </p:pic>
        <p:pic>
          <p:nvPicPr>
            <p:cNvPr id="11" name="Picture 21" descr="A picture containing sitting, table, small, front&#10;&#10;Description automatically generated">
              <a:extLst>
                <a:ext uri="{FF2B5EF4-FFF2-40B4-BE49-F238E27FC236}">
                  <a16:creationId xmlns:a16="http://schemas.microsoft.com/office/drawing/2014/main" id="{A832EF64-67BE-C60C-C799-7D63D4D849F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96562" y="4873664"/>
              <a:ext cx="13986133" cy="11171586"/>
            </a:xfrm>
            <a:prstGeom prst="rect">
              <a:avLst/>
            </a:prstGeom>
          </p:spPr>
        </p:pic>
      </p:grpSp>
      <p:sp>
        <p:nvSpPr>
          <p:cNvPr id="12" name="Inhaltsplatzhalter 1">
            <a:extLst>
              <a:ext uri="{FF2B5EF4-FFF2-40B4-BE49-F238E27FC236}">
                <a16:creationId xmlns:a16="http://schemas.microsoft.com/office/drawing/2014/main" id="{67DDD4A8-8C11-2861-E388-0737320A27FD}"/>
              </a:ext>
            </a:extLst>
          </p:cNvPr>
          <p:cNvSpPr txBox="1">
            <a:spLocks/>
          </p:cNvSpPr>
          <p:nvPr/>
        </p:nvSpPr>
        <p:spPr bwMode="auto">
          <a:xfrm>
            <a:off x="3596195" y="5922054"/>
            <a:ext cx="1913148" cy="18466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n-US"/>
            </a:defPPr>
            <a:lvl1pPr indent="0" algn="ctr" defTabSz="171450" fontAlgn="base">
              <a:spcBef>
                <a:spcPct val="0"/>
              </a:spcBef>
              <a:spcAft>
                <a:spcPts val="600"/>
              </a:spcAft>
              <a:buClr>
                <a:schemeClr val="accent4"/>
              </a:buClr>
              <a:buFontTx/>
              <a:buNone/>
              <a:defRPr sz="1600" b="1" kern="0"/>
            </a:lvl1pPr>
            <a:lvl2pPr marL="342900" indent="-171450" defTabSz="342900" fontAlgn="base">
              <a:spcBef>
                <a:spcPct val="0"/>
              </a:spcBef>
              <a:spcAft>
                <a:spcPts val="600"/>
              </a:spcAft>
              <a:buClr>
                <a:schemeClr val="accent5">
                  <a:lumMod val="75000"/>
                </a:schemeClr>
              </a:buClr>
              <a:buFont typeface="Arial" pitchFamily="34" charset="0"/>
              <a:buChar char="•"/>
              <a:defRPr baseline="0">
                <a:ea typeface="ＭＳ Ｐゴシック" pitchFamily="124" charset="-128"/>
              </a:defRPr>
            </a:lvl2pPr>
            <a:lvl3pPr marL="571500" indent="-171450" defTabSz="571500" fontAlgn="base">
              <a:spcBef>
                <a:spcPct val="0"/>
              </a:spcBef>
              <a:spcAft>
                <a:spcPts val="600"/>
              </a:spcAft>
              <a:buClr>
                <a:schemeClr val="accent5">
                  <a:lumMod val="75000"/>
                </a:schemeClr>
              </a:buClr>
              <a:buFont typeface="Arial" pitchFamily="34" charset="0"/>
              <a:buChar char="•"/>
              <a:defRPr sz="1600">
                <a:ea typeface="ＭＳ Ｐゴシック" pitchFamily="124" charset="-128"/>
              </a:defRPr>
            </a:lvl3pPr>
            <a:lvl4pPr marL="1317625" indent="-203200" fontAlgn="base">
              <a:spcBef>
                <a:spcPct val="0"/>
              </a:spcBef>
              <a:spcAft>
                <a:spcPct val="20000"/>
              </a:spcAft>
              <a:buFont typeface="Symbol" pitchFamily="18" charset="2"/>
              <a:buChar char="-"/>
              <a:defRPr sz="1600">
                <a:ea typeface="ＭＳ Ｐゴシック" pitchFamily="124" charset="-128"/>
              </a:defRPr>
            </a:lvl4pPr>
            <a:lvl5pPr marL="1716088" indent="-182563" fontAlgn="base">
              <a:spcBef>
                <a:spcPct val="0"/>
              </a:spcBef>
              <a:spcAft>
                <a:spcPct val="20000"/>
              </a:spcAft>
              <a:buChar char="•"/>
              <a:defRPr sz="1500">
                <a:ea typeface="ＭＳ Ｐゴシック" pitchFamily="124" charset="-128"/>
              </a:defRPr>
            </a:lvl5pPr>
            <a:lvl6pPr marL="2173288" indent="-182563" fontAlgn="base">
              <a:spcBef>
                <a:spcPct val="0"/>
              </a:spcBef>
              <a:spcAft>
                <a:spcPct val="20000"/>
              </a:spcAft>
              <a:buChar char="•"/>
              <a:defRPr sz="1500">
                <a:ea typeface="ＭＳ Ｐゴシック" pitchFamily="124" charset="-128"/>
              </a:defRPr>
            </a:lvl6pPr>
            <a:lvl7pPr marL="2630488" indent="-182563" fontAlgn="base">
              <a:spcBef>
                <a:spcPct val="0"/>
              </a:spcBef>
              <a:spcAft>
                <a:spcPct val="20000"/>
              </a:spcAft>
              <a:buChar char="•"/>
              <a:defRPr sz="1500">
                <a:ea typeface="ＭＳ Ｐゴシック" pitchFamily="124" charset="-128"/>
              </a:defRPr>
            </a:lvl7pPr>
            <a:lvl8pPr marL="3087688" indent="-182563" fontAlgn="base">
              <a:spcBef>
                <a:spcPct val="0"/>
              </a:spcBef>
              <a:spcAft>
                <a:spcPct val="20000"/>
              </a:spcAft>
              <a:buChar char="•"/>
              <a:defRPr sz="1500">
                <a:ea typeface="ＭＳ Ｐゴシック" pitchFamily="124" charset="-128"/>
              </a:defRPr>
            </a:lvl8pPr>
            <a:lvl9pPr marL="3544888" indent="-182563" fontAlgn="base">
              <a:spcBef>
                <a:spcPct val="0"/>
              </a:spcBef>
              <a:spcAft>
                <a:spcPct val="20000"/>
              </a:spcAft>
              <a:buChar char="•"/>
              <a:defRPr sz="1500">
                <a:ea typeface="ＭＳ Ｐゴシック" pitchFamily="124" charset="-128"/>
              </a:defRPr>
            </a:lvl9pPr>
          </a:lstStyle>
          <a:p>
            <a:pPr algn="l"/>
            <a:r>
              <a:rPr lang="en-US" sz="1200" dirty="0">
                <a:sym typeface="+mn-lt"/>
              </a:rPr>
              <a:t>Thermo Scientific </a:t>
            </a:r>
            <a:r>
              <a:rPr lang="en-US" sz="1200" dirty="0" err="1">
                <a:sym typeface="+mn-lt"/>
              </a:rPr>
              <a:t>Indiko</a:t>
            </a:r>
            <a:endParaRPr lang="en-US" sz="1200" dirty="0">
              <a:sym typeface="+mn-lt"/>
            </a:endParaRPr>
          </a:p>
        </p:txBody>
      </p:sp>
      <p:sp>
        <p:nvSpPr>
          <p:cNvPr id="13" name="Inhaltsplatzhalter 1">
            <a:extLst>
              <a:ext uri="{FF2B5EF4-FFF2-40B4-BE49-F238E27FC236}">
                <a16:creationId xmlns:a16="http://schemas.microsoft.com/office/drawing/2014/main" id="{16BA46A3-17A4-EA07-299A-3A414329CC4D}"/>
              </a:ext>
            </a:extLst>
          </p:cNvPr>
          <p:cNvSpPr txBox="1">
            <a:spLocks/>
          </p:cNvSpPr>
          <p:nvPr/>
        </p:nvSpPr>
        <p:spPr bwMode="auto">
          <a:xfrm>
            <a:off x="6246734" y="5829721"/>
            <a:ext cx="2321091" cy="18466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n-US"/>
            </a:defPPr>
            <a:lvl1pPr indent="0" algn="ctr" defTabSz="171450" fontAlgn="base">
              <a:spcBef>
                <a:spcPct val="0"/>
              </a:spcBef>
              <a:spcAft>
                <a:spcPts val="600"/>
              </a:spcAft>
              <a:buClr>
                <a:schemeClr val="accent4"/>
              </a:buClr>
              <a:buFontTx/>
              <a:buNone/>
              <a:defRPr sz="1600" b="1" kern="0"/>
            </a:lvl1pPr>
            <a:lvl2pPr marL="342900" indent="-171450" defTabSz="342900" fontAlgn="base">
              <a:spcBef>
                <a:spcPct val="0"/>
              </a:spcBef>
              <a:spcAft>
                <a:spcPts val="600"/>
              </a:spcAft>
              <a:buClr>
                <a:schemeClr val="accent5">
                  <a:lumMod val="75000"/>
                </a:schemeClr>
              </a:buClr>
              <a:buFont typeface="Arial" pitchFamily="34" charset="0"/>
              <a:buChar char="•"/>
              <a:defRPr baseline="0">
                <a:ea typeface="ＭＳ Ｐゴシック" pitchFamily="124" charset="-128"/>
              </a:defRPr>
            </a:lvl2pPr>
            <a:lvl3pPr marL="571500" indent="-171450" defTabSz="571500" fontAlgn="base">
              <a:spcBef>
                <a:spcPct val="0"/>
              </a:spcBef>
              <a:spcAft>
                <a:spcPts val="600"/>
              </a:spcAft>
              <a:buClr>
                <a:schemeClr val="accent5">
                  <a:lumMod val="75000"/>
                </a:schemeClr>
              </a:buClr>
              <a:buFont typeface="Arial" pitchFamily="34" charset="0"/>
              <a:buChar char="•"/>
              <a:defRPr sz="1600">
                <a:ea typeface="ＭＳ Ｐゴシック" pitchFamily="124" charset="-128"/>
              </a:defRPr>
            </a:lvl3pPr>
            <a:lvl4pPr marL="1317625" indent="-203200" fontAlgn="base">
              <a:spcBef>
                <a:spcPct val="0"/>
              </a:spcBef>
              <a:spcAft>
                <a:spcPct val="20000"/>
              </a:spcAft>
              <a:buFont typeface="Symbol" pitchFamily="18" charset="2"/>
              <a:buChar char="-"/>
              <a:defRPr sz="1600">
                <a:ea typeface="ＭＳ Ｐゴシック" pitchFamily="124" charset="-128"/>
              </a:defRPr>
            </a:lvl4pPr>
            <a:lvl5pPr marL="1716088" indent="-182563" fontAlgn="base">
              <a:spcBef>
                <a:spcPct val="0"/>
              </a:spcBef>
              <a:spcAft>
                <a:spcPct val="20000"/>
              </a:spcAft>
              <a:buChar char="•"/>
              <a:defRPr sz="1500">
                <a:ea typeface="ＭＳ Ｐゴシック" pitchFamily="124" charset="-128"/>
              </a:defRPr>
            </a:lvl5pPr>
            <a:lvl6pPr marL="2173288" indent="-182563" fontAlgn="base">
              <a:spcBef>
                <a:spcPct val="0"/>
              </a:spcBef>
              <a:spcAft>
                <a:spcPct val="20000"/>
              </a:spcAft>
              <a:buChar char="•"/>
              <a:defRPr sz="1500">
                <a:ea typeface="ＭＳ Ｐゴシック" pitchFamily="124" charset="-128"/>
              </a:defRPr>
            </a:lvl6pPr>
            <a:lvl7pPr marL="2630488" indent="-182563" fontAlgn="base">
              <a:spcBef>
                <a:spcPct val="0"/>
              </a:spcBef>
              <a:spcAft>
                <a:spcPct val="20000"/>
              </a:spcAft>
              <a:buChar char="•"/>
              <a:defRPr sz="1500">
                <a:ea typeface="ＭＳ Ｐゴシック" pitchFamily="124" charset="-128"/>
              </a:defRPr>
            </a:lvl7pPr>
            <a:lvl8pPr marL="3087688" indent="-182563" fontAlgn="base">
              <a:spcBef>
                <a:spcPct val="0"/>
              </a:spcBef>
              <a:spcAft>
                <a:spcPct val="20000"/>
              </a:spcAft>
              <a:buChar char="•"/>
              <a:defRPr sz="1500">
                <a:ea typeface="ＭＳ Ｐゴシック" pitchFamily="124" charset="-128"/>
              </a:defRPr>
            </a:lvl8pPr>
            <a:lvl9pPr marL="3544888" indent="-182563" fontAlgn="base">
              <a:spcBef>
                <a:spcPct val="0"/>
              </a:spcBef>
              <a:spcAft>
                <a:spcPct val="20000"/>
              </a:spcAft>
              <a:buChar char="•"/>
              <a:defRPr sz="1500">
                <a:ea typeface="ＭＳ Ｐゴシック" pitchFamily="124" charset="-128"/>
              </a:defRPr>
            </a:lvl9pPr>
          </a:lstStyle>
          <a:p>
            <a:pPr algn="l"/>
            <a:r>
              <a:rPr lang="en-US" sz="1200" dirty="0">
                <a:sym typeface="+mn-lt"/>
              </a:rPr>
              <a:t>Thermo Scientific </a:t>
            </a:r>
            <a:r>
              <a:rPr lang="en-US" sz="1200" dirty="0" err="1">
                <a:sym typeface="+mn-lt"/>
              </a:rPr>
              <a:t>Indiko</a:t>
            </a:r>
            <a:r>
              <a:rPr lang="en-US" sz="1200" dirty="0">
                <a:sym typeface="+mn-lt"/>
              </a:rPr>
              <a:t> Plus</a:t>
            </a:r>
          </a:p>
        </p:txBody>
      </p:sp>
      <p:sp>
        <p:nvSpPr>
          <p:cNvPr id="14" name="Inhaltsplatzhalter 9">
            <a:extLst>
              <a:ext uri="{FF2B5EF4-FFF2-40B4-BE49-F238E27FC236}">
                <a16:creationId xmlns:a16="http://schemas.microsoft.com/office/drawing/2014/main" id="{97DF1B1B-6D14-E0B3-4E98-BEB09F2296ED}"/>
              </a:ext>
            </a:extLst>
          </p:cNvPr>
          <p:cNvSpPr txBox="1">
            <a:spLocks/>
          </p:cNvSpPr>
          <p:nvPr/>
        </p:nvSpPr>
        <p:spPr>
          <a:xfrm>
            <a:off x="300038" y="1447800"/>
            <a:ext cx="11587162" cy="1920269"/>
          </a:xfrm>
          <a:prstGeom prst="rect">
            <a:avLst/>
          </a:prstGeom>
        </p:spPr>
        <p:txBody>
          <a:bodyPr vert="horz" lIns="0" tIns="0" rIns="0" bIns="0" rtlCol="0">
            <a:spAutoFit/>
          </a:bodyPr>
          <a:lstStyle>
            <a:lvl1pPr marL="287338" indent="-287338" algn="l" defTabSz="914400" rtl="0" eaLnBrk="1" latinLnBrk="0" hangingPunct="1">
              <a:lnSpc>
                <a:spcPct val="120000"/>
              </a:lnSpc>
              <a:spcBef>
                <a:spcPts val="200"/>
              </a:spcBef>
              <a:buClr>
                <a:schemeClr val="tx2"/>
              </a:buClr>
              <a:buSzPct val="100000"/>
              <a:buFont typeface="Arial" panose="020B0604020202020204" pitchFamily="34" charset="0"/>
              <a:buChar char="•"/>
              <a:tabLst/>
              <a:defRPr sz="2000" b="0" kern="1200">
                <a:solidFill>
                  <a:schemeClr val="tx1"/>
                </a:solidFill>
                <a:latin typeface="+mn-lt"/>
                <a:ea typeface="+mn-ea"/>
                <a:cs typeface="+mn-cs"/>
                <a:sym typeface="+mn-lt"/>
              </a:defRPr>
            </a:lvl1pPr>
            <a:lvl2pPr marL="519113" marR="0" indent="-284163"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sym typeface="+mn-lt"/>
              </a:defRPr>
            </a:lvl2pPr>
            <a:lvl3pPr marL="692150" marR="0" indent="-22860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sym typeface="+mn-lt"/>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sym typeface="+mn-lt"/>
              </a:defRPr>
            </a:lvl4pPr>
            <a:lvl5pPr marL="1079500" marR="0" indent="-157163"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sym typeface="+mn-l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t>W pełni zautomatyzowane analizatory</a:t>
            </a:r>
            <a:endParaRPr lang="en-US" dirty="0"/>
          </a:p>
          <a:p>
            <a:r>
              <a:rPr lang="pl-PL" dirty="0"/>
              <a:t>Analiza zorientowana na próbki </a:t>
            </a:r>
            <a:endParaRPr lang="en-US" dirty="0"/>
          </a:p>
          <a:p>
            <a:r>
              <a:rPr lang="pl-PL" dirty="0"/>
              <a:t>Sprawdzona wiarygodna technologia pomiaru</a:t>
            </a:r>
            <a:endParaRPr lang="en-US" dirty="0"/>
          </a:p>
          <a:p>
            <a:r>
              <a:rPr lang="pl-PL" dirty="0"/>
              <a:t>Kuwety reakcyjne o niskiej objętości</a:t>
            </a:r>
          </a:p>
          <a:p>
            <a:r>
              <a:rPr lang="pl-PL" dirty="0"/>
              <a:t>Opcjonalna przystawka ISE dla pomiarów</a:t>
            </a:r>
            <a:r>
              <a:rPr lang="en-US" dirty="0"/>
              <a:t> Na</a:t>
            </a:r>
            <a:r>
              <a:rPr lang="en-US" baseline="30000" dirty="0"/>
              <a:t>+</a:t>
            </a:r>
            <a:r>
              <a:rPr lang="en-US" dirty="0"/>
              <a:t>, K</a:t>
            </a:r>
            <a:r>
              <a:rPr lang="en-US" baseline="30000" dirty="0"/>
              <a:t>+</a:t>
            </a:r>
            <a:r>
              <a:rPr lang="en-US" dirty="0"/>
              <a:t>, </a:t>
            </a:r>
            <a:r>
              <a:rPr lang="pl-PL" dirty="0"/>
              <a:t>oraz</a:t>
            </a:r>
            <a:r>
              <a:rPr lang="en-US" dirty="0"/>
              <a:t> Cl</a:t>
            </a:r>
            <a:r>
              <a:rPr lang="en-US" baseline="30000" dirty="0"/>
              <a:t>-</a:t>
            </a:r>
            <a:endParaRPr lang="en-US" dirty="0"/>
          </a:p>
        </p:txBody>
      </p:sp>
    </p:spTree>
    <p:extLst>
      <p:ext uri="{BB962C8B-B14F-4D97-AF65-F5344CB8AC3E}">
        <p14:creationId xmlns:p14="http://schemas.microsoft.com/office/powerpoint/2010/main" val="900122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8898B8ED-E932-5F1D-EC00-83C27F1B7C12}"/>
              </a:ext>
            </a:extLst>
          </p:cNvPr>
          <p:cNvSpPr txBox="1">
            <a:spLocks/>
          </p:cNvSpPr>
          <p:nvPr/>
        </p:nvSpPr>
        <p:spPr>
          <a:xfrm>
            <a:off x="420023" y="304800"/>
            <a:ext cx="9753600" cy="381001"/>
          </a:xfrm>
          <a:prstGeom prst="rect">
            <a:avLst/>
          </a:prstGeom>
        </p:spPr>
        <p:txBody>
          <a:bodyPr/>
          <a:lstStyle>
            <a:lvl1pPr lvl="0" algn="l" rtl="0">
              <a:lnSpc>
                <a:spcPct val="90000"/>
              </a:lnSpc>
              <a:spcBef>
                <a:spcPct val="0"/>
              </a:spcBef>
              <a:buNone/>
              <a:defRPr lang="en-US" sz="4400" dirty="0">
                <a:solidFill>
                  <a:schemeClr val="tx1"/>
                </a:solidFill>
                <a:latin typeface="+mj-lt"/>
              </a:defRPr>
            </a:lvl1pPr>
          </a:lstStyle>
          <a:p>
            <a:r>
              <a:rPr lang="pl-PL" dirty="0">
                <a:solidFill>
                  <a:srgbClr val="C00000"/>
                </a:solidFill>
                <a:sym typeface="+mj-lt"/>
              </a:rPr>
              <a:t>Docelowe segmenty rynku</a:t>
            </a:r>
          </a:p>
        </p:txBody>
      </p:sp>
      <p:sp>
        <p:nvSpPr>
          <p:cNvPr id="6" name="Rounded Rectangle 7">
            <a:extLst>
              <a:ext uri="{FF2B5EF4-FFF2-40B4-BE49-F238E27FC236}">
                <a16:creationId xmlns:a16="http://schemas.microsoft.com/office/drawing/2014/main" id="{1C2A4222-C5A1-6CAE-CACC-90C8EFAC31FC}"/>
              </a:ext>
            </a:extLst>
          </p:cNvPr>
          <p:cNvSpPr/>
          <p:nvPr/>
        </p:nvSpPr>
        <p:spPr bwMode="auto">
          <a:xfrm>
            <a:off x="4038600" y="3550800"/>
            <a:ext cx="6902450" cy="612000"/>
          </a:xfrm>
          <a:prstGeom prst="roundRect">
            <a:avLst>
              <a:gd name="adj" fmla="val 0"/>
            </a:avLst>
          </a:prstGeom>
          <a:gradFill flip="none" rotWithShape="1">
            <a:gsLst>
              <a:gs pos="0">
                <a:schemeClr val="accent5">
                  <a:lumMod val="20000"/>
                  <a:lumOff val="80000"/>
                </a:schemeClr>
              </a:gs>
              <a:gs pos="47000">
                <a:srgbClr val="FFFFFF"/>
              </a:gs>
            </a:gsLst>
            <a:lin ang="10800000" scaled="1"/>
            <a:tileRect/>
          </a:gradFill>
          <a:ln w="15875" cap="flat" algn="ctr">
            <a:solidFill>
              <a:schemeClr val="bg2"/>
            </a:solidFill>
            <a:round/>
            <a:headEnd type="none" w="med" len="med"/>
            <a:tailEnd type="none" w="med" len="med"/>
          </a:ln>
          <a:effectLst/>
        </p:spPr>
        <p:txBody>
          <a:bodyPr vert="horz" wrap="square" lIns="720000" tIns="0" rIns="720000" bIns="0" numCol="1" anchor="ctr" anchorCtr="0" compatLnSpc="1">
            <a:prstTxWarp prst="textNoShape">
              <a:avLst/>
            </a:prstTxWarp>
            <a:noAutofit/>
          </a:bodyPr>
          <a:lstStyle/>
          <a:p>
            <a:pPr defTabSz="171450" fontAlgn="base">
              <a:spcBef>
                <a:spcPct val="0"/>
              </a:spcBef>
              <a:spcAft>
                <a:spcPts val="600"/>
              </a:spcAft>
              <a:buClr>
                <a:srgbClr val="EE3134"/>
              </a:buClr>
              <a:buSzPct val="100000"/>
            </a:pPr>
            <a:r>
              <a:rPr lang="pl-PL" sz="1600" dirty="0">
                <a:sym typeface="+mn-lt"/>
              </a:rPr>
              <a:t>Monitoring poziomu leków immunosupresyjnych u pacjentów około transplantacji w celu zapobiegania odrzucenia przeszczepu  </a:t>
            </a:r>
            <a:endParaRPr lang="en-US" sz="1600" dirty="0">
              <a:sym typeface="+mn-lt"/>
            </a:endParaRPr>
          </a:p>
        </p:txBody>
      </p:sp>
      <p:sp>
        <p:nvSpPr>
          <p:cNvPr id="7" name="Parallelogram 24">
            <a:extLst>
              <a:ext uri="{FF2B5EF4-FFF2-40B4-BE49-F238E27FC236}">
                <a16:creationId xmlns:a16="http://schemas.microsoft.com/office/drawing/2014/main" id="{0932DA99-DB5F-D1C7-273D-E44C1E346E61}"/>
              </a:ext>
            </a:extLst>
          </p:cNvPr>
          <p:cNvSpPr/>
          <p:nvPr/>
        </p:nvSpPr>
        <p:spPr bwMode="auto">
          <a:xfrm>
            <a:off x="632093" y="3468910"/>
            <a:ext cx="3951556" cy="720000"/>
          </a:xfrm>
          <a:prstGeom prst="parallelogram">
            <a:avLst>
              <a:gd name="adj" fmla="val 31844"/>
            </a:avLst>
          </a:prstGeom>
          <a:solidFill>
            <a:schemeClr val="accent3"/>
          </a:solidFill>
          <a:ln w="317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r>
              <a:rPr lang="pl-PL" sz="1800" b="1" dirty="0">
                <a:solidFill>
                  <a:schemeClr val="bg1"/>
                </a:solidFill>
                <a:sym typeface="+mn-lt"/>
              </a:rPr>
              <a:t>Monitoring leków </a:t>
            </a:r>
          </a:p>
          <a:p>
            <a:pPr algn="ctr" defTabSz="914400" eaLnBrk="0" fontAlgn="base" hangingPunct="0">
              <a:spcBef>
                <a:spcPct val="0"/>
              </a:spcBef>
              <a:spcAft>
                <a:spcPct val="0"/>
              </a:spcAft>
            </a:pPr>
            <a:r>
              <a:rPr lang="pl-PL" sz="1800" b="1" dirty="0">
                <a:solidFill>
                  <a:schemeClr val="bg1"/>
                </a:solidFill>
                <a:sym typeface="+mn-lt"/>
              </a:rPr>
              <a:t>immunosupresyjnych</a:t>
            </a:r>
            <a:endParaRPr lang="en-US" sz="1800" b="1" dirty="0">
              <a:solidFill>
                <a:schemeClr val="bg1"/>
              </a:solidFill>
              <a:sym typeface="+mn-lt"/>
            </a:endParaRPr>
          </a:p>
        </p:txBody>
      </p:sp>
      <p:sp>
        <p:nvSpPr>
          <p:cNvPr id="10" name="Rounded Rectangle 6">
            <a:extLst>
              <a:ext uri="{FF2B5EF4-FFF2-40B4-BE49-F238E27FC236}">
                <a16:creationId xmlns:a16="http://schemas.microsoft.com/office/drawing/2014/main" id="{52A1530D-9991-EC13-0F6D-3C2507E80191}"/>
              </a:ext>
            </a:extLst>
          </p:cNvPr>
          <p:cNvSpPr/>
          <p:nvPr/>
        </p:nvSpPr>
        <p:spPr bwMode="auto">
          <a:xfrm>
            <a:off x="4038600" y="4495800"/>
            <a:ext cx="6902450" cy="612000"/>
          </a:xfrm>
          <a:prstGeom prst="roundRect">
            <a:avLst>
              <a:gd name="adj" fmla="val 0"/>
            </a:avLst>
          </a:prstGeom>
          <a:gradFill flip="none" rotWithShape="1">
            <a:gsLst>
              <a:gs pos="0">
                <a:schemeClr val="accent5">
                  <a:lumMod val="20000"/>
                  <a:lumOff val="80000"/>
                </a:schemeClr>
              </a:gs>
              <a:gs pos="47000">
                <a:srgbClr val="FFFFFF"/>
              </a:gs>
            </a:gsLst>
            <a:lin ang="10800000" scaled="1"/>
            <a:tileRect/>
          </a:gradFill>
          <a:ln w="15875" cap="flat" algn="ctr">
            <a:solidFill>
              <a:schemeClr val="bg2"/>
            </a:solidFill>
            <a:round/>
            <a:headEnd type="none" w="med" len="med"/>
            <a:tailEnd type="none" w="med" len="med"/>
          </a:ln>
          <a:effectLst/>
        </p:spPr>
        <p:txBody>
          <a:bodyPr vert="horz" wrap="square" lIns="720000" tIns="0" rIns="720000" bIns="0" numCol="1" anchor="ctr" anchorCtr="0" compatLnSpc="1">
            <a:prstTxWarp prst="textNoShape">
              <a:avLst/>
            </a:prstTxWarp>
            <a:noAutofit/>
          </a:bodyPr>
          <a:lstStyle/>
          <a:p>
            <a:pPr defTabSz="171450" fontAlgn="base">
              <a:spcBef>
                <a:spcPct val="0"/>
              </a:spcBef>
              <a:spcAft>
                <a:spcPts val="600"/>
              </a:spcAft>
              <a:buClr>
                <a:srgbClr val="EE3134"/>
              </a:buClr>
              <a:buSzPct val="100000"/>
            </a:pPr>
            <a:r>
              <a:rPr lang="pl-PL" sz="1600" dirty="0">
                <a:sym typeface="+mn-lt"/>
              </a:rPr>
              <a:t>Monitorowanie leków w celu dobrania odpowiedniej dawki</a:t>
            </a:r>
            <a:endParaRPr lang="en-US" sz="1600" dirty="0">
              <a:sym typeface="+mn-lt"/>
            </a:endParaRPr>
          </a:p>
        </p:txBody>
      </p:sp>
      <p:sp>
        <p:nvSpPr>
          <p:cNvPr id="11" name="Parallelogram 25">
            <a:extLst>
              <a:ext uri="{FF2B5EF4-FFF2-40B4-BE49-F238E27FC236}">
                <a16:creationId xmlns:a16="http://schemas.microsoft.com/office/drawing/2014/main" id="{7C7CD35F-B61E-0F8B-F59E-C70DC573DBEE}"/>
              </a:ext>
            </a:extLst>
          </p:cNvPr>
          <p:cNvSpPr/>
          <p:nvPr/>
        </p:nvSpPr>
        <p:spPr bwMode="auto">
          <a:xfrm>
            <a:off x="632093" y="4441800"/>
            <a:ext cx="3711308" cy="720000"/>
          </a:xfrm>
          <a:prstGeom prst="parallelogram">
            <a:avLst>
              <a:gd name="adj" fmla="val 31844"/>
            </a:avLst>
          </a:prstGeom>
          <a:solidFill>
            <a:schemeClr val="accent4"/>
          </a:solidFill>
          <a:ln w="317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r>
              <a:rPr lang="pl-PL" sz="1800" b="1" dirty="0">
                <a:solidFill>
                  <a:schemeClr val="bg1"/>
                </a:solidFill>
                <a:sym typeface="+mn-lt"/>
              </a:rPr>
              <a:t>Monitorowanie</a:t>
            </a:r>
          </a:p>
          <a:p>
            <a:pPr algn="ctr" defTabSz="914400" eaLnBrk="0" fontAlgn="base" hangingPunct="0">
              <a:spcBef>
                <a:spcPct val="0"/>
              </a:spcBef>
              <a:spcAft>
                <a:spcPct val="0"/>
              </a:spcAft>
            </a:pPr>
            <a:r>
              <a:rPr lang="pl-PL" sz="1800" b="1" dirty="0">
                <a:solidFill>
                  <a:schemeClr val="bg1"/>
                </a:solidFill>
                <a:sym typeface="+mn-lt"/>
              </a:rPr>
              <a:t> leków</a:t>
            </a:r>
            <a:endParaRPr lang="en-US" sz="1800" b="1" dirty="0">
              <a:solidFill>
                <a:schemeClr val="bg1"/>
              </a:solidFill>
              <a:sym typeface="+mn-lt"/>
            </a:endParaRPr>
          </a:p>
        </p:txBody>
      </p:sp>
      <p:sp>
        <p:nvSpPr>
          <p:cNvPr id="12" name="Rounded Rectangle 5">
            <a:extLst>
              <a:ext uri="{FF2B5EF4-FFF2-40B4-BE49-F238E27FC236}">
                <a16:creationId xmlns:a16="http://schemas.microsoft.com/office/drawing/2014/main" id="{B5382DB7-3FE6-FA8D-D17A-189E544C5F23}"/>
              </a:ext>
            </a:extLst>
          </p:cNvPr>
          <p:cNvSpPr/>
          <p:nvPr/>
        </p:nvSpPr>
        <p:spPr bwMode="auto">
          <a:xfrm>
            <a:off x="4038600" y="2550020"/>
            <a:ext cx="6902450" cy="612000"/>
          </a:xfrm>
          <a:prstGeom prst="roundRect">
            <a:avLst>
              <a:gd name="adj" fmla="val 0"/>
            </a:avLst>
          </a:prstGeom>
          <a:gradFill flip="none" rotWithShape="1">
            <a:gsLst>
              <a:gs pos="0">
                <a:schemeClr val="accent5">
                  <a:lumMod val="20000"/>
                  <a:lumOff val="80000"/>
                </a:schemeClr>
              </a:gs>
              <a:gs pos="47000">
                <a:srgbClr val="FFFFFF"/>
              </a:gs>
            </a:gsLst>
            <a:lin ang="10800000" scaled="1"/>
            <a:tileRect/>
          </a:gradFill>
          <a:ln w="15875" cap="flat" algn="ctr">
            <a:solidFill>
              <a:schemeClr val="bg2"/>
            </a:solidFill>
            <a:round/>
            <a:headEnd type="none" w="med" len="med"/>
            <a:tailEnd type="none" w="med" len="med"/>
          </a:ln>
          <a:effectLst/>
        </p:spPr>
        <p:txBody>
          <a:bodyPr vert="horz" wrap="square" lIns="720000" tIns="0" rIns="720000" bIns="0" numCol="1" anchor="ctr" anchorCtr="0" compatLnSpc="1">
            <a:prstTxWarp prst="textNoShape">
              <a:avLst/>
            </a:prstTxWarp>
            <a:noAutofit/>
          </a:bodyPr>
          <a:lstStyle/>
          <a:p>
            <a:pPr defTabSz="171450" fontAlgn="base">
              <a:spcBef>
                <a:spcPct val="0"/>
              </a:spcBef>
              <a:spcAft>
                <a:spcPts val="600"/>
              </a:spcAft>
              <a:buClr>
                <a:srgbClr val="EE3134"/>
              </a:buClr>
              <a:buSzPct val="100000"/>
            </a:pPr>
            <a:r>
              <a:rPr lang="pl-PL" sz="1600" dirty="0">
                <a:sym typeface="+mn-lt"/>
              </a:rPr>
              <a:t>Monitoring nielegalnych i zakazanych substancji </a:t>
            </a:r>
            <a:endParaRPr lang="en-US" sz="1600" dirty="0">
              <a:sym typeface="+mn-lt"/>
            </a:endParaRPr>
          </a:p>
        </p:txBody>
      </p:sp>
      <p:sp>
        <p:nvSpPr>
          <p:cNvPr id="13" name="Parallelogram 23">
            <a:extLst>
              <a:ext uri="{FF2B5EF4-FFF2-40B4-BE49-F238E27FC236}">
                <a16:creationId xmlns:a16="http://schemas.microsoft.com/office/drawing/2014/main" id="{947C911A-F38E-CEE4-4DB5-9815C34A0B5B}"/>
              </a:ext>
            </a:extLst>
          </p:cNvPr>
          <p:cNvSpPr/>
          <p:nvPr/>
        </p:nvSpPr>
        <p:spPr bwMode="auto">
          <a:xfrm>
            <a:off x="632093" y="2496020"/>
            <a:ext cx="3711308" cy="720000"/>
          </a:xfrm>
          <a:prstGeom prst="parallelogram">
            <a:avLst>
              <a:gd name="adj" fmla="val 31844"/>
            </a:avLst>
          </a:prstGeom>
          <a:solidFill>
            <a:schemeClr val="accent2"/>
          </a:solidFill>
          <a:ln w="317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r>
              <a:rPr lang="pl-PL" b="1" dirty="0">
                <a:solidFill>
                  <a:schemeClr val="bg1"/>
                </a:solidFill>
                <a:sym typeface="+mn-lt"/>
              </a:rPr>
              <a:t>Substancje uzależniające</a:t>
            </a:r>
            <a:endParaRPr lang="en-US" sz="1800" b="1" dirty="0">
              <a:solidFill>
                <a:schemeClr val="bg1"/>
              </a:solidFill>
              <a:sym typeface="+mn-lt"/>
            </a:endParaRPr>
          </a:p>
        </p:txBody>
      </p:sp>
      <p:sp>
        <p:nvSpPr>
          <p:cNvPr id="14" name="Rounded Rectangle 4">
            <a:extLst>
              <a:ext uri="{FF2B5EF4-FFF2-40B4-BE49-F238E27FC236}">
                <a16:creationId xmlns:a16="http://schemas.microsoft.com/office/drawing/2014/main" id="{18B99B4E-E702-E225-D1ED-7A3A9442FE2D}"/>
              </a:ext>
            </a:extLst>
          </p:cNvPr>
          <p:cNvSpPr/>
          <p:nvPr/>
        </p:nvSpPr>
        <p:spPr bwMode="auto">
          <a:xfrm>
            <a:off x="4038600" y="1577130"/>
            <a:ext cx="6902450" cy="612000"/>
          </a:xfrm>
          <a:prstGeom prst="roundRect">
            <a:avLst>
              <a:gd name="adj" fmla="val 0"/>
            </a:avLst>
          </a:prstGeom>
          <a:gradFill flip="none" rotWithShape="1">
            <a:gsLst>
              <a:gs pos="0">
                <a:schemeClr val="accent5">
                  <a:lumMod val="20000"/>
                  <a:lumOff val="80000"/>
                </a:schemeClr>
              </a:gs>
              <a:gs pos="47000">
                <a:srgbClr val="FFFFFF"/>
              </a:gs>
            </a:gsLst>
            <a:lin ang="10800000" scaled="1"/>
            <a:tileRect/>
          </a:gradFill>
          <a:ln w="15875" cap="flat" algn="ctr">
            <a:solidFill>
              <a:schemeClr val="bg2"/>
            </a:solidFill>
            <a:round/>
            <a:headEnd type="none" w="med" len="med"/>
            <a:tailEnd type="none" w="med" len="med"/>
          </a:ln>
          <a:effectLst/>
        </p:spPr>
        <p:txBody>
          <a:bodyPr vert="horz" wrap="square" lIns="720000" tIns="0" rIns="720000" bIns="0" numCol="1" anchor="ctr" anchorCtr="0" compatLnSpc="1">
            <a:prstTxWarp prst="textNoShape">
              <a:avLst/>
            </a:prstTxWarp>
            <a:noAutofit/>
          </a:bodyPr>
          <a:lstStyle/>
          <a:p>
            <a:pPr defTabSz="171450" fontAlgn="base">
              <a:spcBef>
                <a:spcPct val="0"/>
              </a:spcBef>
              <a:spcAft>
                <a:spcPts val="600"/>
              </a:spcAft>
              <a:buClr>
                <a:srgbClr val="EE3134"/>
              </a:buClr>
              <a:buSzPct val="100000"/>
            </a:pPr>
            <a:r>
              <a:rPr lang="pl-PL" sz="1600" dirty="0">
                <a:sym typeface="+mn-lt"/>
              </a:rPr>
              <a:t>Pomiary koncentracji substancji w celach diagnostycznych i terapeutycznych</a:t>
            </a:r>
            <a:endParaRPr lang="en-US" sz="1600" dirty="0">
              <a:sym typeface="+mn-lt"/>
            </a:endParaRPr>
          </a:p>
        </p:txBody>
      </p:sp>
      <p:sp>
        <p:nvSpPr>
          <p:cNvPr id="15" name="Parallelogram 22">
            <a:extLst>
              <a:ext uri="{FF2B5EF4-FFF2-40B4-BE49-F238E27FC236}">
                <a16:creationId xmlns:a16="http://schemas.microsoft.com/office/drawing/2014/main" id="{08E67CA1-9227-E431-A8D2-423615E436B1}"/>
              </a:ext>
            </a:extLst>
          </p:cNvPr>
          <p:cNvSpPr/>
          <p:nvPr/>
        </p:nvSpPr>
        <p:spPr bwMode="auto">
          <a:xfrm>
            <a:off x="632093" y="1523130"/>
            <a:ext cx="3711308" cy="720000"/>
          </a:xfrm>
          <a:prstGeom prst="parallelogram">
            <a:avLst>
              <a:gd name="adj" fmla="val 31844"/>
            </a:avLst>
          </a:prstGeom>
          <a:solidFill>
            <a:schemeClr val="accent1"/>
          </a:solidFill>
          <a:ln w="317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r>
              <a:rPr lang="pl-PL" b="1" dirty="0">
                <a:solidFill>
                  <a:schemeClr val="bg1"/>
                </a:solidFill>
                <a:sym typeface="+mn-lt"/>
              </a:rPr>
              <a:t>Chemia Kliniczna</a:t>
            </a:r>
            <a:endParaRPr lang="en-US" sz="1800" b="1" dirty="0">
              <a:solidFill>
                <a:schemeClr val="bg1"/>
              </a:solidFill>
              <a:sym typeface="+mn-lt"/>
            </a:endParaRPr>
          </a:p>
        </p:txBody>
      </p:sp>
      <p:grpSp>
        <p:nvGrpSpPr>
          <p:cNvPr id="16" name="Group 47">
            <a:extLst>
              <a:ext uri="{FF2B5EF4-FFF2-40B4-BE49-F238E27FC236}">
                <a16:creationId xmlns:a16="http://schemas.microsoft.com/office/drawing/2014/main" id="{96797521-4B5E-F66B-8514-851EAC105047}"/>
              </a:ext>
            </a:extLst>
          </p:cNvPr>
          <p:cNvGrpSpPr/>
          <p:nvPr/>
        </p:nvGrpSpPr>
        <p:grpSpPr>
          <a:xfrm>
            <a:off x="359846" y="1433130"/>
            <a:ext cx="900000" cy="900000"/>
            <a:chOff x="805398" y="1364043"/>
            <a:chExt cx="900000" cy="900000"/>
          </a:xfrm>
        </p:grpSpPr>
        <p:sp>
          <p:nvSpPr>
            <p:cNvPr id="17" name="Ellipse 17">
              <a:extLst>
                <a:ext uri="{FF2B5EF4-FFF2-40B4-BE49-F238E27FC236}">
                  <a16:creationId xmlns:a16="http://schemas.microsoft.com/office/drawing/2014/main" id="{DAEEB9EF-4495-FE21-4CE4-3685D19F0416}"/>
                </a:ext>
              </a:extLst>
            </p:cNvPr>
            <p:cNvSpPr/>
            <p:nvPr/>
          </p:nvSpPr>
          <p:spPr bwMode="auto">
            <a:xfrm>
              <a:off x="805398" y="1364043"/>
              <a:ext cx="900000" cy="900000"/>
            </a:xfrm>
            <a:prstGeom prst="ellipse">
              <a:avLst/>
            </a:prstGeom>
            <a:solidFill>
              <a:schemeClr val="accent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dirty="0">
                <a:solidFill>
                  <a:schemeClr val="tx1">
                    <a:lumMod val="50000"/>
                    <a:lumOff val="50000"/>
                  </a:schemeClr>
                </a:solidFill>
                <a:sym typeface="+mn-lt"/>
              </a:endParaRPr>
            </a:p>
          </p:txBody>
        </p:sp>
        <p:pic>
          <p:nvPicPr>
            <p:cNvPr id="18" name="Graphic 31">
              <a:extLst>
                <a:ext uri="{FF2B5EF4-FFF2-40B4-BE49-F238E27FC236}">
                  <a16:creationId xmlns:a16="http://schemas.microsoft.com/office/drawing/2014/main" id="{2AEB87D7-D8B6-7A22-397B-7C05B79847A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03398" y="1562043"/>
              <a:ext cx="504000" cy="504000"/>
            </a:xfrm>
            <a:prstGeom prst="rect">
              <a:avLst/>
            </a:prstGeom>
          </p:spPr>
        </p:pic>
      </p:grpSp>
      <p:grpSp>
        <p:nvGrpSpPr>
          <p:cNvPr id="19" name="Group 28">
            <a:extLst>
              <a:ext uri="{FF2B5EF4-FFF2-40B4-BE49-F238E27FC236}">
                <a16:creationId xmlns:a16="http://schemas.microsoft.com/office/drawing/2014/main" id="{095446F7-B77C-6702-7A2D-BCB8B10B297B}"/>
              </a:ext>
            </a:extLst>
          </p:cNvPr>
          <p:cNvGrpSpPr/>
          <p:nvPr/>
        </p:nvGrpSpPr>
        <p:grpSpPr>
          <a:xfrm>
            <a:off x="359846" y="4351800"/>
            <a:ext cx="900000" cy="900000"/>
            <a:chOff x="805398" y="4282713"/>
            <a:chExt cx="900000" cy="900000"/>
          </a:xfrm>
        </p:grpSpPr>
        <p:sp>
          <p:nvSpPr>
            <p:cNvPr id="20" name="Ellipse 20">
              <a:extLst>
                <a:ext uri="{FF2B5EF4-FFF2-40B4-BE49-F238E27FC236}">
                  <a16:creationId xmlns:a16="http://schemas.microsoft.com/office/drawing/2014/main" id="{85597022-A294-B8A0-CE7C-AC4E81543EE4}"/>
                </a:ext>
              </a:extLst>
            </p:cNvPr>
            <p:cNvSpPr/>
            <p:nvPr/>
          </p:nvSpPr>
          <p:spPr bwMode="auto">
            <a:xfrm>
              <a:off x="805398" y="4282713"/>
              <a:ext cx="900000" cy="900000"/>
            </a:xfrm>
            <a:prstGeom prst="ellipse">
              <a:avLst/>
            </a:prstGeom>
            <a:solidFill>
              <a:schemeClr val="accent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dirty="0">
                <a:solidFill>
                  <a:schemeClr val="tx1">
                    <a:lumMod val="50000"/>
                    <a:lumOff val="50000"/>
                  </a:schemeClr>
                </a:solidFill>
                <a:sym typeface="+mn-lt"/>
              </a:endParaRPr>
            </a:p>
          </p:txBody>
        </p:sp>
        <p:pic>
          <p:nvPicPr>
            <p:cNvPr id="21" name="Graphic 33">
              <a:extLst>
                <a:ext uri="{FF2B5EF4-FFF2-40B4-BE49-F238E27FC236}">
                  <a16:creationId xmlns:a16="http://schemas.microsoft.com/office/drawing/2014/main" id="{7539DD32-BD0B-FE8D-5880-59BDB5E7D92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7475" y="4372713"/>
              <a:ext cx="612000" cy="612000"/>
            </a:xfrm>
            <a:prstGeom prst="rect">
              <a:avLst/>
            </a:prstGeom>
          </p:spPr>
        </p:pic>
        <p:pic>
          <p:nvPicPr>
            <p:cNvPr id="22" name="Graphic 35">
              <a:extLst>
                <a:ext uri="{FF2B5EF4-FFF2-40B4-BE49-F238E27FC236}">
                  <a16:creationId xmlns:a16="http://schemas.microsoft.com/office/drawing/2014/main" id="{60FE1F2A-4F78-5953-6038-6BF42923893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89435" y="4614738"/>
              <a:ext cx="442864" cy="442864"/>
            </a:xfrm>
            <a:prstGeom prst="rect">
              <a:avLst/>
            </a:prstGeom>
          </p:spPr>
        </p:pic>
      </p:grpSp>
      <p:grpSp>
        <p:nvGrpSpPr>
          <p:cNvPr id="23" name="Group 27">
            <a:extLst>
              <a:ext uri="{FF2B5EF4-FFF2-40B4-BE49-F238E27FC236}">
                <a16:creationId xmlns:a16="http://schemas.microsoft.com/office/drawing/2014/main" id="{5D394CE4-737E-06BD-7DC8-B44F7DC1196D}"/>
              </a:ext>
            </a:extLst>
          </p:cNvPr>
          <p:cNvGrpSpPr/>
          <p:nvPr/>
        </p:nvGrpSpPr>
        <p:grpSpPr>
          <a:xfrm>
            <a:off x="359846" y="3378910"/>
            <a:ext cx="900000" cy="900000"/>
            <a:chOff x="805398" y="3309823"/>
            <a:chExt cx="900000" cy="900000"/>
          </a:xfrm>
        </p:grpSpPr>
        <p:sp>
          <p:nvSpPr>
            <p:cNvPr id="24" name="Ellipse 19">
              <a:extLst>
                <a:ext uri="{FF2B5EF4-FFF2-40B4-BE49-F238E27FC236}">
                  <a16:creationId xmlns:a16="http://schemas.microsoft.com/office/drawing/2014/main" id="{43228B00-A800-0B32-64BC-D68779646AD6}"/>
                </a:ext>
              </a:extLst>
            </p:cNvPr>
            <p:cNvSpPr/>
            <p:nvPr/>
          </p:nvSpPr>
          <p:spPr bwMode="auto">
            <a:xfrm>
              <a:off x="805398" y="3309823"/>
              <a:ext cx="900000" cy="900000"/>
            </a:xfrm>
            <a:prstGeom prst="ellipse">
              <a:avLst/>
            </a:prstGeom>
            <a:solidFill>
              <a:schemeClr val="accent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dirty="0">
                <a:solidFill>
                  <a:schemeClr val="tx1">
                    <a:lumMod val="50000"/>
                    <a:lumOff val="50000"/>
                  </a:schemeClr>
                </a:solidFill>
                <a:sym typeface="+mn-lt"/>
              </a:endParaRPr>
            </a:p>
          </p:txBody>
        </p:sp>
        <p:pic>
          <p:nvPicPr>
            <p:cNvPr id="25" name="Grafik 11">
              <a:extLst>
                <a:ext uri="{FF2B5EF4-FFF2-40B4-BE49-F238E27FC236}">
                  <a16:creationId xmlns:a16="http://schemas.microsoft.com/office/drawing/2014/main" id="{A9B3DB61-2FC4-48C2-E5FF-A95899D7638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50598" y="3455023"/>
              <a:ext cx="609600" cy="609600"/>
            </a:xfrm>
            <a:prstGeom prst="rect">
              <a:avLst/>
            </a:prstGeom>
          </p:spPr>
        </p:pic>
      </p:grpSp>
      <p:grpSp>
        <p:nvGrpSpPr>
          <p:cNvPr id="27" name="Gruppieren 39">
            <a:extLst>
              <a:ext uri="{FF2B5EF4-FFF2-40B4-BE49-F238E27FC236}">
                <a16:creationId xmlns:a16="http://schemas.microsoft.com/office/drawing/2014/main" id="{15EE308B-5665-0C12-D79E-E5D11D73044B}"/>
              </a:ext>
            </a:extLst>
          </p:cNvPr>
          <p:cNvGrpSpPr/>
          <p:nvPr/>
        </p:nvGrpSpPr>
        <p:grpSpPr>
          <a:xfrm>
            <a:off x="359846" y="2406020"/>
            <a:ext cx="900000" cy="900000"/>
            <a:chOff x="805398" y="2336933"/>
            <a:chExt cx="900000" cy="900000"/>
          </a:xfrm>
        </p:grpSpPr>
        <p:sp>
          <p:nvSpPr>
            <p:cNvPr id="28" name="Ellipse 18">
              <a:extLst>
                <a:ext uri="{FF2B5EF4-FFF2-40B4-BE49-F238E27FC236}">
                  <a16:creationId xmlns:a16="http://schemas.microsoft.com/office/drawing/2014/main" id="{6DEA287B-7F8F-CA65-839D-07D256CEC075}"/>
                </a:ext>
              </a:extLst>
            </p:cNvPr>
            <p:cNvSpPr/>
            <p:nvPr/>
          </p:nvSpPr>
          <p:spPr bwMode="auto">
            <a:xfrm>
              <a:off x="805398" y="2336933"/>
              <a:ext cx="900000" cy="900000"/>
            </a:xfrm>
            <a:prstGeom prst="ellipse">
              <a:avLst/>
            </a:prstGeom>
            <a:solidFill>
              <a:schemeClr val="accent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dirty="0">
                <a:solidFill>
                  <a:schemeClr val="tx1">
                    <a:lumMod val="50000"/>
                    <a:lumOff val="50000"/>
                  </a:schemeClr>
                </a:solidFill>
                <a:sym typeface="+mn-lt"/>
              </a:endParaRPr>
            </a:p>
          </p:txBody>
        </p:sp>
        <p:pic>
          <p:nvPicPr>
            <p:cNvPr id="29" name="Grafik 38">
              <a:extLst>
                <a:ext uri="{FF2B5EF4-FFF2-40B4-BE49-F238E27FC236}">
                  <a16:creationId xmlns:a16="http://schemas.microsoft.com/office/drawing/2014/main" id="{48A156D9-E4DF-0025-0ED1-FC5CD4F17EF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48198" y="2499823"/>
              <a:ext cx="612000" cy="612000"/>
            </a:xfrm>
            <a:prstGeom prst="rect">
              <a:avLst/>
            </a:prstGeom>
          </p:spPr>
        </p:pic>
      </p:grpSp>
    </p:spTree>
    <p:extLst>
      <p:ext uri="{BB962C8B-B14F-4D97-AF65-F5344CB8AC3E}">
        <p14:creationId xmlns:p14="http://schemas.microsoft.com/office/powerpoint/2010/main" val="42259684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dFq3tlPca7AKCcNHd0c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mJ3eGCPXpL87KjExkyk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i7Df.aMMxzJw8G4F5.g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ClGHSF3s.v3O97p0frZ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DRiDK4gdrn7whvgHc8qe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wBdXassZJVdhZuLaG0N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iUmVAtJnUJvoH7hW4Fc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wNp5WTw64xB.7Yi89Cx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ev_j_hKZcvFgzt7dld24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BTttOJdCj.h3LtFzTzbK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0BAHR22xL7tlttE2k.Dl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1AhX2NmJ4v5wPvgT5Kq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1Ly7KMTRuEeTr6C_ticr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otyw pakietu Office">
  <a:themeElements>
    <a:clrScheme name="ARGENTA">
      <a:dk1>
        <a:srgbClr val="171717"/>
      </a:dk1>
      <a:lt1>
        <a:srgbClr val="FFFFFF"/>
      </a:lt1>
      <a:dk2>
        <a:srgbClr val="3C3834"/>
      </a:dk2>
      <a:lt2>
        <a:srgbClr val="E3E3E2"/>
      </a:lt2>
      <a:accent1>
        <a:srgbClr val="C8102E"/>
      </a:accent1>
      <a:accent2>
        <a:srgbClr val="D3342E"/>
      </a:accent2>
      <a:accent3>
        <a:srgbClr val="DE592C"/>
      </a:accent3>
      <a:accent4>
        <a:srgbClr val="E97E2C"/>
      </a:accent4>
      <a:accent5>
        <a:srgbClr val="F3A22C"/>
      </a:accent5>
      <a:accent6>
        <a:srgbClr val="FFC72C"/>
      </a:accent6>
      <a:hlink>
        <a:srgbClr val="C8102E"/>
      </a:hlink>
      <a:folHlink>
        <a:srgbClr val="F3A22C"/>
      </a:folHlink>
    </a:clrScheme>
    <a:fontScheme name="ARGENTA">
      <a:majorFont>
        <a:latin typeface="Hepta Slab SemiBold"/>
        <a:ea typeface=""/>
        <a:cs typeface=""/>
      </a:majorFont>
      <a:minorFont>
        <a:latin typeface="Montserrat"/>
        <a:ea typeface=""/>
        <a:cs typeface=""/>
      </a:minorFont>
    </a:fontScheme>
    <a:fmtScheme name="Pakiet Office">
      <a:fillStyleLst>
        <a:solidFill>
          <a:schemeClr val="phClr"/>
        </a:solidFill>
        <a:gradFill rotWithShape="1">
          <a:gsLst>
            <a:gs pos="0">
              <a:schemeClr val="phClr">
                <a:tint val="67000"/>
                <a:satMod val="104999"/>
                <a:lumMod val="110000"/>
              </a:schemeClr>
            </a:gs>
            <a:gs pos="50000">
              <a:schemeClr val="phClr">
                <a:tint val="73000"/>
                <a:satMod val="103000"/>
                <a:lumMod val="104999"/>
              </a:schemeClr>
            </a:gs>
            <a:gs pos="100000">
              <a:schemeClr val="phClr">
                <a:tint val="81000"/>
                <a:satMod val="109000"/>
                <a:lumMod val="104999"/>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a:solidFill>
            <a:schemeClr val="phClr"/>
          </a:solidFill>
          <a:prstDash val="solid"/>
          <a:miter lim="800000"/>
        </a:ln>
        <a:ln w="12700" cap="flat">
          <a:solidFill>
            <a:schemeClr val="phClr"/>
          </a:solidFill>
          <a:prstDash val="solid"/>
          <a:miter lim="800000"/>
        </a:ln>
        <a:ln w="19050" cap="flat">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Thermo 1">
  <a:themeElements>
    <a:clrScheme name="TFS 2020">
      <a:dk1>
        <a:srgbClr val="222222"/>
      </a:dk1>
      <a:lt1>
        <a:srgbClr val="FFFFFF"/>
      </a:lt1>
      <a:dk2>
        <a:srgbClr val="E61316"/>
      </a:dk2>
      <a:lt2>
        <a:srgbClr val="E2E3E3"/>
      </a:lt2>
      <a:accent1>
        <a:srgbClr val="262160"/>
      </a:accent1>
      <a:accent2>
        <a:srgbClr val="9AD3DC"/>
      </a:accent2>
      <a:accent3>
        <a:srgbClr val="F0B234"/>
      </a:accent3>
      <a:accent4>
        <a:srgbClr val="EA7600"/>
      </a:accent4>
      <a:accent5>
        <a:srgbClr val="545859"/>
      </a:accent5>
      <a:accent6>
        <a:srgbClr val="B4BD01"/>
      </a:accent6>
      <a:hlink>
        <a:srgbClr val="00677F"/>
      </a:hlink>
      <a:folHlink>
        <a:srgbClr val="512C6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tx2"/>
        </a:solidFill>
        <a:ln w="3175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algn="ctr" defTabSz="914400" eaLnBrk="0" fontAlgn="base" hangingPunct="0">
          <a:spcBef>
            <a:spcPct val="0"/>
          </a:spcBef>
          <a:spcAft>
            <a:spcPct val="0"/>
          </a:spcAft>
          <a:defRPr sz="1800" dirty="0">
            <a:latin typeface="Arial" pitchFamily="124" charset="0"/>
          </a:defRPr>
        </a:defPPr>
      </a:lstStyle>
    </a:spDef>
    <a:txDef>
      <a:spPr>
        <a:noFill/>
      </a:spPr>
      <a:bodyPr wrap="square" lIns="0" tIns="0" rIns="0" bIns="0" rtlCol="0">
        <a:normAutofit/>
      </a:bodyPr>
      <a:lstStyle>
        <a:defPPr marL="287338" indent="-287338" algn="l" defTabSz="914400">
          <a:lnSpc>
            <a:spcPct val="120000"/>
          </a:lnSpc>
          <a:spcBef>
            <a:spcPts val="200"/>
          </a:spcBef>
          <a:buClr>
            <a:schemeClr val="tx2"/>
          </a:buClr>
          <a:buSzPct val="100000"/>
          <a:buFont typeface="Arial" panose="020B0604020202020204" pitchFamily="34" charset="0"/>
          <a:buChar char="•"/>
          <a:defRPr sz="2000" dirty="0" smtClean="0"/>
        </a:defPPr>
      </a:lstStyle>
    </a:txDef>
  </a:objectDefaults>
  <a:extraClrSchemeLst/>
  <a:extLst>
    <a:ext uri="{05A4C25C-085E-4340-85A3-A5531E510DB2}">
      <thm15:themeFamily xmlns:thm15="http://schemas.microsoft.com/office/thememl/2012/main" name="Presentation2" id="{0A3AF59E-B783-4B37-B4CA-8AF5E342F910}" vid="{409D2D3A-C389-43EB-946B-D7A0DE524F97}"/>
    </a:ext>
  </a:extLst>
</a:theme>
</file>

<file path=ppt/theme/theme3.xml><?xml version="1.0" encoding="utf-8"?>
<a:theme xmlns:a="http://schemas.openxmlformats.org/drawingml/2006/main" name="Motyw pakietu Office">
  <a:themeElements>
    <a:clrScheme name="Niestandardowy 1">
      <a:dk1>
        <a:srgbClr val="000000"/>
      </a:dk1>
      <a:lt1>
        <a:srgbClr val="FFFFFF"/>
      </a:lt1>
      <a:dk2>
        <a:srgbClr val="582C83"/>
      </a:dk2>
      <a:lt2>
        <a:srgbClr val="E3E3E2"/>
      </a:lt2>
      <a:accent1>
        <a:srgbClr val="F07F09"/>
      </a:accent1>
      <a:accent2>
        <a:srgbClr val="582C83"/>
      </a:accent2>
      <a:accent3>
        <a:srgbClr val="6BCABA"/>
      </a:accent3>
      <a:accent4>
        <a:srgbClr val="C964CF"/>
      </a:accent4>
      <a:accent5>
        <a:srgbClr val="FFBF3F"/>
      </a:accent5>
      <a:accent6>
        <a:srgbClr val="385E9D"/>
      </a:accent6>
      <a:hlink>
        <a:srgbClr val="385E9D"/>
      </a:hlink>
      <a:folHlink>
        <a:srgbClr val="8DA0BF"/>
      </a:folHlink>
    </a:clrScheme>
    <a:fontScheme name="Pakiet Office">
      <a:majorFont>
        <a:latin typeface="Calibri Light"/>
        <a:ea typeface=""/>
        <a:cs typeface=""/>
      </a:majorFont>
      <a:minorFont>
        <a:latin typeface="Calibri"/>
        <a:ea typeface=""/>
        <a:cs typeface=""/>
      </a:minorFont>
    </a:fontScheme>
    <a:fmtScheme name="Pakiet Office">
      <a:fillStyleLst>
        <a:solidFill>
          <a:schemeClr val="phClr"/>
        </a:solidFill>
        <a:gradFill rotWithShape="1">
          <a:gsLst>
            <a:gs pos="0">
              <a:schemeClr val="phClr">
                <a:tint val="67000"/>
                <a:satMod val="104999"/>
                <a:lumMod val="110000"/>
              </a:schemeClr>
            </a:gs>
            <a:gs pos="50000">
              <a:schemeClr val="phClr">
                <a:tint val="73000"/>
                <a:satMod val="103000"/>
                <a:lumMod val="104999"/>
              </a:schemeClr>
            </a:gs>
            <a:gs pos="100000">
              <a:schemeClr val="phClr">
                <a:tint val="81000"/>
                <a:satMod val="109000"/>
                <a:lumMod val="104999"/>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a:solidFill>
            <a:schemeClr val="phClr"/>
          </a:solidFill>
          <a:prstDash val="solid"/>
          <a:miter lim="800000"/>
        </a:ln>
        <a:ln w="12700" cap="flat">
          <a:solidFill>
            <a:schemeClr val="phClr"/>
          </a:solidFill>
          <a:prstDash val="solid"/>
          <a:miter lim="800000"/>
        </a:ln>
        <a:ln w="19050" cap="flat">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FE205C4D542BFA4594A6B8E5BF180645" ma:contentTypeVersion="17" ma:contentTypeDescription="Utwórz nowy dokument." ma:contentTypeScope="" ma:versionID="a53f4fd957ee3061735683434ea75540">
  <xsd:schema xmlns:xsd="http://www.w3.org/2001/XMLSchema" xmlns:xs="http://www.w3.org/2001/XMLSchema" xmlns:p="http://schemas.microsoft.com/office/2006/metadata/properties" xmlns:ns1="http://schemas.microsoft.com/sharepoint/v3" xmlns:ns2="b9f036bd-f9d3-45ab-a4e5-23cc059592a2" xmlns:ns3="5fcdc26d-7b16-4870-983e-20693221cbd6" targetNamespace="http://schemas.microsoft.com/office/2006/metadata/properties" ma:root="true" ma:fieldsID="5b0e1244816fc87bbf430a5f0578a84c" ns1:_="" ns2:_="" ns3:_="">
    <xsd:import namespace="http://schemas.microsoft.com/sharepoint/v3"/>
    <xsd:import namespace="b9f036bd-f9d3-45ab-a4e5-23cc059592a2"/>
    <xsd:import namespace="5fcdc26d-7b16-4870-983e-20693221cbd6"/>
    <xsd:element name="properties">
      <xsd:complexType>
        <xsd:sequence>
          <xsd:element name="documentManagement">
            <xsd:complexType>
              <xsd:all>
                <xsd:element ref="ns2:MediaServiceMetadata" minOccurs="0"/>
                <xsd:element ref="ns2:MediaServiceFastMetadata" minOccurs="0"/>
                <xsd:element ref="ns1:PublishingStartDate" minOccurs="0"/>
                <xsd:element ref="ns1:PublishingExpirationDate" minOccurs="0"/>
                <xsd:element ref="ns2:DoxPromo"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0" nillable="true" ma:displayName="Planowana data rozpoczęcia" ma:description="Kolumna Planowana data rozpoczęcia to kolumna witryny utworzona przez funkcję publikowania. Jest ona używana w celu określenia daty i godziny pierwszego wyświetlenia tej strony dla osób odwiedzających witrynę." ma:hidden="true" ma:internalName="PublishingStartDate" ma:readOnly="false">
      <xsd:simpleType>
        <xsd:restriction base="dms:Unknown"/>
      </xsd:simpleType>
    </xsd:element>
    <xsd:element name="PublishingExpirationDate" ma:index="11" nillable="true" ma:displayName="Planowana data zakończenia" ma:description="Kolumna Planowana data zakończenia to kolumna witryny utworzona przez funkcję publikowania. Jest ona używana w celu określenia daty i godziny, od której ta strona nie będzie więcej wyświetlana dla osób odwiedzających witrynę." ma:hidden="true" ma:internalName="PublishingExpirationDate" ma:readOnly="fals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9f036bd-f9d3-45ab-a4e5-23cc059592a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DoxPromo" ma:index="12" nillable="true" ma:displayName="Ustaw jako ważny" ma:default="0" ma:description="Po zaznaczeniu tego parametru, ten dokument wyświetli się na stronie głównej. O ile nie ma przynajmniej 6 nowszych dokumentów oznaczonych jako ważny." ma:indexed="true" ma:internalName="DoxPromo">
      <xsd:simpleType>
        <xsd:restriction base="dms:Boolea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LengthInSeconds" ma:index="23"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fcdc26d-7b16-4870-983e-20693221cbd6" elementFormDefault="qualified">
    <xsd:import namespace="http://schemas.microsoft.com/office/2006/documentManagement/types"/>
    <xsd:import namespace="http://schemas.microsoft.com/office/infopath/2007/PartnerControls"/>
    <xsd:element name="SharedWithUsers" ma:index="21" nillable="true" ma:displayName="Udostępniani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Udostępnione dla — szczegóły"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zawartości"/>
        <xsd:element ref="dc:title" minOccurs="0" maxOccurs="1" ma:index="4" ma:displayName="Tytuł"/>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oxPromo xmlns="b9f036bd-f9d3-45ab-a4e5-23cc059592a2">false</DoxPromo>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378B397-7240-4635-BB7E-97E098F60E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9f036bd-f9d3-45ab-a4e5-23cc059592a2"/>
    <ds:schemaRef ds:uri="5fcdc26d-7b16-4870-983e-20693221cb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2A81221-33CD-4961-9DAC-31EFD64E9F31}">
  <ds:schemaRefs>
    <ds:schemaRef ds:uri="http://schemas.microsoft.com/office/2006/metadata/properties"/>
    <ds:schemaRef ds:uri="http://schemas.microsoft.com/office/infopath/2007/PartnerControls"/>
    <ds:schemaRef ds:uri="b9f036bd-f9d3-45ab-a4e5-23cc059592a2"/>
    <ds:schemaRef ds:uri="http://schemas.microsoft.com/sharepoint/v3"/>
  </ds:schemaRefs>
</ds:datastoreItem>
</file>

<file path=customXml/itemProps3.xml><?xml version="1.0" encoding="utf-8"?>
<ds:datastoreItem xmlns:ds="http://schemas.openxmlformats.org/officeDocument/2006/customXml" ds:itemID="{BFB4A97D-288A-4437-A9A5-7BF831D8D4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477</TotalTime>
  <Words>1254</Words>
  <Application>Microsoft Office PowerPoint</Application>
  <PresentationFormat>Panoramiczny</PresentationFormat>
  <Paragraphs>335</Paragraphs>
  <Slides>25</Slides>
  <Notes>24</Notes>
  <HiddenSlides>0</HiddenSlides>
  <MMClips>0</MMClips>
  <ScaleCrop>false</ScaleCrop>
  <HeadingPairs>
    <vt:vector size="8" baseType="variant">
      <vt:variant>
        <vt:lpstr>Używane czcionki</vt:lpstr>
      </vt:variant>
      <vt:variant>
        <vt:i4>9</vt:i4>
      </vt:variant>
      <vt:variant>
        <vt:lpstr>Motyw</vt:lpstr>
      </vt:variant>
      <vt:variant>
        <vt:i4>2</vt:i4>
      </vt:variant>
      <vt:variant>
        <vt:lpstr>Osadzone serwery OLE</vt:lpstr>
      </vt:variant>
      <vt:variant>
        <vt:i4>1</vt:i4>
      </vt:variant>
      <vt:variant>
        <vt:lpstr>Tytuły slajdów</vt:lpstr>
      </vt:variant>
      <vt:variant>
        <vt:i4>25</vt:i4>
      </vt:variant>
    </vt:vector>
  </HeadingPairs>
  <TitlesOfParts>
    <vt:vector size="37" baseType="lpstr">
      <vt:lpstr>Arial</vt:lpstr>
      <vt:lpstr>Verdana</vt:lpstr>
      <vt:lpstr>Cambria</vt:lpstr>
      <vt:lpstr>Hepta Slab SemiBold</vt:lpstr>
      <vt:lpstr>Calibri</vt:lpstr>
      <vt:lpstr>Open Sans</vt:lpstr>
      <vt:lpstr>Muli Medium</vt:lpstr>
      <vt:lpstr>Montserrat</vt:lpstr>
      <vt:lpstr>Wingdings</vt:lpstr>
      <vt:lpstr>Motyw pakietu Office</vt:lpstr>
      <vt:lpstr>Thermo 1</vt:lpstr>
      <vt:lpstr>think-cell Slide</vt:lpstr>
      <vt:lpstr>Profesjonalne rozwiązanie dla rutynowych i specjalistycznych badań chemii klinicznej </vt:lpstr>
      <vt:lpstr>Argenta to 30 lat doświadczenia na rynku diagnostyki oraz wyposażenia laboratorium, rzetelność i innowacja w działaniu.</vt:lpstr>
      <vt:lpstr>Prezentacja programu PowerPoint</vt:lpstr>
      <vt:lpstr>Prezentacja programu PowerPoint</vt:lpstr>
      <vt:lpstr>Bohaterowie w każdym rozmiarze  Thermo Scientific Indiko i Indiko Plus, analizatory do rutynowych oraz specjalistycznych badań chemii klinicznej</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vector>
  </TitlesOfParts>
  <Company>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Łukasz Pacanowski</dc:creator>
  <cp:lastModifiedBy>Bartosz Wiza</cp:lastModifiedBy>
  <cp:revision>279</cp:revision>
  <dcterms:created xsi:type="dcterms:W3CDTF">2020-06-17T14:10:00Z</dcterms:created>
  <dcterms:modified xsi:type="dcterms:W3CDTF">2024-03-21T08:4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05C4D542BFA4594A6B8E5BF180645</vt:lpwstr>
  </property>
</Properties>
</file>